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2.xml" ContentType="application/vnd.openxmlformats-officedocument.presentationml.notesSlide+xml"/>
  <Override PartName="/ppt/tags/tag63.xml" ContentType="application/vnd.openxmlformats-officedocument.presentationml.tags+xml"/>
  <Override PartName="/ppt/notesSlides/notesSlide3.xml" ContentType="application/vnd.openxmlformats-officedocument.presentationml.notesSlide+xml"/>
  <Override PartName="/ppt/tags/tag64.xml" ContentType="application/vnd.openxmlformats-officedocument.presentationml.tags+xml"/>
  <Override PartName="/ppt/notesSlides/notesSlide4.xml" ContentType="application/vnd.openxmlformats-officedocument.presentationml.notesSlide+xml"/>
  <Override PartName="/ppt/tags/tag65.xml" ContentType="application/vnd.openxmlformats-officedocument.presentationml.tags+xml"/>
  <Override PartName="/ppt/notesSlides/notesSlide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2" r:id="rId4"/>
  </p:sldMasterIdLst>
  <p:notesMasterIdLst>
    <p:notesMasterId r:id="rId15"/>
  </p:notesMasterIdLst>
  <p:handoutMasterIdLst>
    <p:handoutMasterId r:id="rId16"/>
  </p:handoutMasterIdLst>
  <p:sldIdLst>
    <p:sldId id="2147473857" r:id="rId5"/>
    <p:sldId id="2147473855" r:id="rId6"/>
    <p:sldId id="2147473756" r:id="rId7"/>
    <p:sldId id="2147473848" r:id="rId8"/>
    <p:sldId id="2147473847" r:id="rId9"/>
    <p:sldId id="2147473852" r:id="rId10"/>
    <p:sldId id="2147473861" r:id="rId11"/>
    <p:sldId id="2147473836" r:id="rId12"/>
    <p:sldId id="2147473837" r:id="rId13"/>
    <p:sldId id="2147473854" r:id="rId14"/>
  </p:sldIdLst>
  <p:sldSz cx="9144000" cy="5143500" type="screen16x9"/>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id="{E8A35AEB-E2B5-4B80-A779-9180D841AE1D}">
          <p14:sldIdLst>
            <p14:sldId id="2147473857"/>
          </p14:sldIdLst>
        </p14:section>
        <p14:section name="Introduction to INVEST" id="{7419A2C8-E1B7-4886-B29E-05E123E77559}">
          <p14:sldIdLst>
            <p14:sldId id="2147473855"/>
            <p14:sldId id="2147473756"/>
            <p14:sldId id="2147473848"/>
            <p14:sldId id="2147473847"/>
            <p14:sldId id="2147473852"/>
          </p14:sldIdLst>
        </p14:section>
        <p14:section name="WSME" id="{13BBCF97-5350-48B9-B883-3DECEC39DEA4}">
          <p14:sldIdLst>
            <p14:sldId id="2147473861"/>
            <p14:sldId id="2147473836"/>
            <p14:sldId id="2147473837"/>
            <p14:sldId id="2147473854"/>
          </p14:sldIdLst>
        </p14:section>
        <p14:section name="Backup slides" id="{014DD54D-F43F-4142-86CB-293988F1EAA6}">
          <p14:sldIdLst/>
        </p14:section>
      </p14:sectionLst>
    </p:ext>
    <p:ext uri="{EFAFB233-063F-42B5-8137-9DF3F51BA10A}">
      <p15:sldGuideLst xmlns:p15="http://schemas.microsoft.com/office/powerpoint/2012/main">
        <p15:guide id="1" orient="horz" pos="1620" userDrawn="1">
          <p15:clr>
            <a:srgbClr val="A4A3A4"/>
          </p15:clr>
        </p15:guide>
        <p15:guide id="4" pos="288" userDrawn="1">
          <p15:clr>
            <a:srgbClr val="A4A3A4"/>
          </p15:clr>
        </p15:guide>
        <p15:guide id="5" orient="horz" pos="2580" userDrawn="1">
          <p15:clr>
            <a:srgbClr val="A4A3A4"/>
          </p15:clr>
        </p15:guide>
        <p15:guide id="6" pos="4320" userDrawn="1">
          <p15:clr>
            <a:srgbClr val="A4A3A4"/>
          </p15:clr>
        </p15:guide>
        <p15:guide id="7" pos="5472" userDrawn="1">
          <p15:clr>
            <a:srgbClr val="A4A3A4"/>
          </p15:clr>
        </p15:guide>
        <p15:guide id="8" orient="horz" pos="5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12C1F03-79AE-25E1-8B21-DB21614303E1}" name="Sarita Garapati" initials="SG" userId="S::Sarita.Garapati@dalberg.com::b69d7fdf-a3bc-4d1e-b2d3-e7ec26c709f0" providerId="AD"/>
  <p188:author id="{A6CF5A0D-44C7-6547-A432-E3534D4AE024}" name="Kusi Hornberger" initials="KH" userId="S::Kusi.Hornberger@dalberg.com::74e3a126-ca62-4861-a447-3fe74efb89fe" providerId="AD"/>
  <p188:author id="{82B4CB69-DAE8-1137-4058-DF50B10E372F}" name="Kusi Hornberger" initials="KH" userId="S::kusi.hornberger@dalberg.com::74e3a126-ca62-4861-a447-3fe74efb89fe" providerId="AD"/>
  <p188:author id="{3D2EFB7B-AB16-8A53-CE9F-AABB13C18A53}" name="Mariana Noguera" initials="MNP" userId="Mariana Noguera" providerId="None"/>
  <p188:author id="{F7F48096-A0F8-C46A-2828-C17735A7819D}" name="Harry Devonshire" initials="HD" userId="S::h.devonshire@argidius.com::c4e25645-eaa4-46bd-ba00-b7568c851b4b" providerId="AD"/>
  <p188:author id="{371572A0-8267-E92A-CBDC-185A8A037F7D}" name="Karen Rodriguez" initials="KR" userId="S::karen.rodriguez@dalberg.com::94054890-9fff-4db7-bfa0-d073ba83a6c0" providerId="AD"/>
  <p188:author id="{C50F71B7-8E95-DD2A-DCC1-55FBC3444727}" name="Karen Rodriguez" initials="KR" userId="S::Karen.Rodriguez@dalberg.com::94054890-9fff-4db7-bfa0-d073ba83a6c0" providerId="AD"/>
  <p188:author id="{85E480BA-49C1-64A0-EA5C-4386C5AFA06D}" name="Guest User" initials="GU" userId="S::urn:spo:tenantanon#2cd64e87-ad90-4854-8faf-107d0f26187c::" providerId="AD"/>
  <p188:author id="{AD40BFF3-10CF-137C-C705-3D205921DEDC}" name="Adriana Rueda" initials="AR" userId="S::Adriana.Rueda@dalberg.com::b95016c1-493c-475d-981d-b6ee2aff780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CB1A9"/>
    <a:srgbClr val="E2F0D9"/>
    <a:srgbClr val="EDB805"/>
    <a:srgbClr val="C38F00"/>
    <a:srgbClr val="F8F8F8"/>
    <a:srgbClr val="8B8B8B"/>
    <a:srgbClr val="FEF2CB"/>
    <a:srgbClr val="D6D7D9"/>
    <a:srgbClr val="ECC115"/>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9FE428-DC04-4038-A4FF-A324B6D50B1F}" v="1466" dt="2026-03-25T23:37:44.730"/>
  </p1510:revLst>
</p1510:revInfo>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8" d="100"/>
          <a:sy n="88" d="100"/>
        </p:scale>
        <p:origin x="400" y="64"/>
      </p:cViewPr>
      <p:guideLst>
        <p:guide orient="horz" pos="1620"/>
        <p:guide pos="288"/>
        <p:guide orient="horz" pos="2580"/>
        <p:guide pos="4320"/>
        <p:guide pos="5472"/>
        <p:guide orient="horz" pos="5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059190031152601E-2"/>
          <c:y val="0.128630705394191"/>
          <c:w val="0.87725856697819304"/>
          <c:h val="0.78215767634854805"/>
        </c:manualLayout>
      </c:layout>
      <c:barChart>
        <c:barDir val="col"/>
        <c:grouping val="stacked"/>
        <c:varyColors val="0"/>
        <c:ser>
          <c:idx val="0"/>
          <c:order val="0"/>
          <c:spPr>
            <a:noFill/>
            <a:ln>
              <a:noFill/>
            </a:ln>
          </c:spPr>
          <c:invertIfNegative val="0"/>
          <c:dPt>
            <c:idx val="0"/>
            <c:invertIfNegative val="0"/>
            <c:bubble3D val="0"/>
            <c:spPr>
              <a:solidFill>
                <a:schemeClr val="accent1"/>
              </a:solidFill>
              <a:ln w="3175" cmpd="sng" algn="ctr">
                <a:solidFill>
                  <a:schemeClr val="tx1"/>
                </a:solidFill>
                <a:prstDash val="solid"/>
              </a:ln>
            </c:spPr>
            <c:extLst>
              <c:ext xmlns:c16="http://schemas.microsoft.com/office/drawing/2014/chart" uri="{C3380CC4-5D6E-409C-BE32-E72D297353CC}">
                <c16:uniqueId val="{00000001-69A1-4768-A475-5CB8E0AC2217}"/>
              </c:ext>
            </c:extLst>
          </c:dPt>
          <c:dPt>
            <c:idx val="2"/>
            <c:invertIfNegative val="0"/>
            <c:bubble3D val="0"/>
            <c:spPr>
              <a:solidFill>
                <a:srgbClr val="969696"/>
              </a:solidFill>
              <a:ln w="3175" cmpd="sng" algn="ctr">
                <a:solidFill>
                  <a:schemeClr val="tx1"/>
                </a:solidFill>
                <a:prstDash val="solid"/>
              </a:ln>
            </c:spPr>
            <c:extLst>
              <c:ext xmlns:c16="http://schemas.microsoft.com/office/drawing/2014/chart" uri="{C3380CC4-5D6E-409C-BE32-E72D297353CC}">
                <c16:uniqueId val="{00000003-69A1-4768-A475-5CB8E0AC2217}"/>
              </c:ext>
            </c:extLst>
          </c:dPt>
          <c:dLbls>
            <c:dLbl>
              <c:idx val="2"/>
              <c:layout>
                <c:manualLayout>
                  <c:x val="0"/>
                  <c:y val="-0.43084370677731698"/>
                </c:manualLayout>
              </c:layout>
              <c:tx>
                <c:rich>
                  <a:bodyPr wrap="none"/>
                  <a:lstStyle/>
                  <a:p>
                    <a:pPr>
                      <a:defRPr sz="900" kern="1200">
                        <a:solidFill>
                          <a:schemeClr val="tx1"/>
                        </a:solidFill>
                        <a:latin typeface="+mn-lt"/>
                        <a:ea typeface="+mn-ea"/>
                        <a:cs typeface="+mn-cs"/>
                      </a:defRPr>
                    </a:pPr>
                    <a:r>
                      <a:rPr lang="en-US"/>
                      <a:t>$10.3T</a:t>
                    </a:r>
                  </a:p>
                </c:rich>
              </c:tx>
              <c:numFmt formatCode="&quot;$&quot;#,##0.0&quot;T&quot;;&quot;-&quot;&quot;$&quot;#,##0.0&quot;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69A1-4768-A475-5CB8E0AC22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5999999999999996</c:v>
                </c:pt>
                <c:pt idx="1">
                  <c:v>4.5999999999999996</c:v>
                </c:pt>
                <c:pt idx="2">
                  <c:v>10.199999999999999</c:v>
                </c:pt>
              </c:numCache>
            </c:numRef>
          </c:val>
          <c:extLst>
            <c:ext xmlns:c16="http://schemas.microsoft.com/office/drawing/2014/chart" uri="{C3380CC4-5D6E-409C-BE32-E72D297353CC}">
              <c16:uniqueId val="{00000004-69A1-4768-A475-5CB8E0AC2217}"/>
            </c:ext>
          </c:extLst>
        </c:ser>
        <c:ser>
          <c:idx val="1"/>
          <c:order val="1"/>
          <c:spPr>
            <a:solidFill>
              <a:schemeClr val="accent5"/>
            </a:solidFill>
            <a:ln w="3175" cmpd="sng" algn="ctr">
              <a:solidFill>
                <a:schemeClr val="tx1"/>
              </a:solidFill>
              <a:prstDash val="solid"/>
            </a:ln>
          </c:spPr>
          <c:invertIfNegative val="0"/>
          <c:val>
            <c:numRef>
              <c:f>Sheet1!$A$2:$C$2</c:f>
              <c:numCache>
                <c:formatCode>General</c:formatCode>
                <c:ptCount val="3"/>
                <c:pt idx="1">
                  <c:v>3.7000000000000011</c:v>
                </c:pt>
              </c:numCache>
            </c:numRef>
          </c:val>
          <c:extLst>
            <c:ext xmlns:c16="http://schemas.microsoft.com/office/drawing/2014/chart" uri="{C3380CC4-5D6E-409C-BE32-E72D297353CC}">
              <c16:uniqueId val="{00000005-69A1-4768-A475-5CB8E0AC2217}"/>
            </c:ext>
          </c:extLst>
        </c:ser>
        <c:ser>
          <c:idx val="2"/>
          <c:order val="2"/>
          <c:spPr>
            <a:solidFill>
              <a:schemeClr val="accent2"/>
            </a:solidFill>
            <a:ln w="3175" cmpd="sng" algn="ctr">
              <a:solidFill>
                <a:schemeClr val="tx1"/>
              </a:solidFill>
              <a:prstDash val="solid"/>
            </a:ln>
          </c:spPr>
          <c:invertIfNegative val="0"/>
          <c:val>
            <c:numRef>
              <c:f>Sheet1!$A$3:$C$3</c:f>
              <c:numCache>
                <c:formatCode>General</c:formatCode>
                <c:ptCount val="3"/>
                <c:pt idx="1">
                  <c:v>1.8999999999999979</c:v>
                </c:pt>
              </c:numCache>
            </c:numRef>
          </c:val>
          <c:extLst>
            <c:ext xmlns:c16="http://schemas.microsoft.com/office/drawing/2014/chart" uri="{C3380CC4-5D6E-409C-BE32-E72D297353CC}">
              <c16:uniqueId val="{00000006-69A1-4768-A475-5CB8E0AC2217}"/>
            </c:ext>
          </c:extLst>
        </c:ser>
        <c:dLbls>
          <c:showLegendKey val="0"/>
          <c:showVal val="0"/>
          <c:showCatName val="0"/>
          <c:showSerName val="0"/>
          <c:showPercent val="0"/>
          <c:showBubbleSize val="0"/>
        </c:dLbls>
        <c:gapWidth val="80"/>
        <c:overlap val="100"/>
        <c:axId val="-2135244248"/>
        <c:axId val="-2135240760"/>
      </c:barChart>
      <c:catAx>
        <c:axId val="-213524424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2135240760"/>
        <c:crosses val="min"/>
        <c:auto val="0"/>
        <c:lblAlgn val="ctr"/>
        <c:lblOffset val="100"/>
        <c:noMultiLvlLbl val="0"/>
      </c:catAx>
      <c:valAx>
        <c:axId val="-2135240760"/>
        <c:scaling>
          <c:orientation val="minMax"/>
          <c:max val="10.199999999999999"/>
          <c:min val="0"/>
        </c:scaling>
        <c:delete val="1"/>
        <c:axPos val="l"/>
        <c:numFmt formatCode="General" sourceLinked="1"/>
        <c:majorTickMark val="out"/>
        <c:minorTickMark val="none"/>
        <c:tickLblPos val="nextTo"/>
        <c:crossAx val="-2135244248"/>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1AEB35A6-F901-35B3-12CC-C2900554A2F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Marcador de fecha 2">
            <a:extLst>
              <a:ext uri="{FF2B5EF4-FFF2-40B4-BE49-F238E27FC236}">
                <a16:creationId xmlns:a16="http://schemas.microsoft.com/office/drawing/2014/main" id="{68870191-91E0-7171-18ED-80283161EDC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AF7F587-1241-8A46-9C8A-9F9BCAF34C7C}" type="datetimeFigureOut">
              <a:rPr lang="es-MX" smtClean="0"/>
              <a:t>30/03/2026</a:t>
            </a:fld>
            <a:endParaRPr lang="es-MX"/>
          </a:p>
        </p:txBody>
      </p:sp>
      <p:sp>
        <p:nvSpPr>
          <p:cNvPr id="4" name="Marcador de pie de página 3">
            <a:extLst>
              <a:ext uri="{FF2B5EF4-FFF2-40B4-BE49-F238E27FC236}">
                <a16:creationId xmlns:a16="http://schemas.microsoft.com/office/drawing/2014/main" id="{73DCEEFC-5187-3BD7-89F3-BE0BC441E5D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5" name="Marcador de número de diapositiva 4">
            <a:extLst>
              <a:ext uri="{FF2B5EF4-FFF2-40B4-BE49-F238E27FC236}">
                <a16:creationId xmlns:a16="http://schemas.microsoft.com/office/drawing/2014/main" id="{0BDD3400-DCFF-948A-EB2B-03A21C520CB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5CA8F38-E500-C34B-81D8-4EA04BCC320F}" type="slidenum">
              <a:rPr lang="es-MX" smtClean="0"/>
              <a:t>‹#›</a:t>
            </a:fld>
            <a:endParaRPr lang="es-MX"/>
          </a:p>
        </p:txBody>
      </p:sp>
    </p:spTree>
    <p:extLst>
      <p:ext uri="{BB962C8B-B14F-4D97-AF65-F5344CB8AC3E}">
        <p14:creationId xmlns:p14="http://schemas.microsoft.com/office/powerpoint/2010/main" val="41605093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00F2458D-C98D-4BA6-8B38-80E0C464EF5D}" type="datetimeFigureOut">
              <a:rPr lang="en-US" smtClean="0"/>
              <a:pPr/>
              <a:t>3/30/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9B7484A1-137F-4DF8-9AC9-B67C74F5E02A}" type="slidenum">
              <a:rPr lang="en-US" smtClean="0"/>
              <a:pPr/>
              <a:t>‹#›</a:t>
            </a:fld>
            <a:endParaRPr lang="en-US"/>
          </a:p>
        </p:txBody>
      </p:sp>
    </p:spTree>
    <p:extLst>
      <p:ext uri="{BB962C8B-B14F-4D97-AF65-F5344CB8AC3E}">
        <p14:creationId xmlns:p14="http://schemas.microsoft.com/office/powerpoint/2010/main" val="31809262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smesegmentation.com/"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ea typeface="Lato"/>
              <a:cs typeface="Lato"/>
            </a:endParaRPr>
          </a:p>
        </p:txBody>
      </p:sp>
      <p:sp>
        <p:nvSpPr>
          <p:cNvPr id="4" name="Slide Number Placeholder 3"/>
          <p:cNvSpPr>
            <a:spLocks noGrp="1"/>
          </p:cNvSpPr>
          <p:nvPr>
            <p:ph type="sldNum" sz="quarter" idx="5"/>
          </p:nvPr>
        </p:nvSpPr>
        <p:spPr/>
        <p:txBody>
          <a:bodyPr/>
          <a:lstStyle/>
          <a:p>
            <a:fld id="{9B7484A1-137F-4DF8-9AC9-B67C74F5E02A}" type="slidenum">
              <a:rPr lang="en-US" smtClean="0"/>
              <a:pPr/>
              <a:t>2</a:t>
            </a:fld>
            <a:endParaRPr lang="en-US"/>
          </a:p>
        </p:txBody>
      </p:sp>
    </p:spTree>
    <p:extLst>
      <p:ext uri="{BB962C8B-B14F-4D97-AF65-F5344CB8AC3E}">
        <p14:creationId xmlns:p14="http://schemas.microsoft.com/office/powerpoint/2010/main" val="10142066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ighlight gender focus here</a:t>
            </a:r>
          </a:p>
        </p:txBody>
      </p:sp>
      <p:sp>
        <p:nvSpPr>
          <p:cNvPr id="4" name="Slide Number Placeholder 3"/>
          <p:cNvSpPr>
            <a:spLocks noGrp="1"/>
          </p:cNvSpPr>
          <p:nvPr>
            <p:ph type="sldNum" sz="quarter" idx="5"/>
          </p:nvPr>
        </p:nvSpPr>
        <p:spPr/>
        <p:txBody>
          <a:bodyPr/>
          <a:lstStyle/>
          <a:p>
            <a:fld id="{9B7484A1-137F-4DF8-9AC9-B67C74F5E02A}" type="slidenum">
              <a:rPr lang="en-US" smtClean="0"/>
              <a:pPr/>
              <a:t>5</a:t>
            </a:fld>
            <a:endParaRPr lang="en-US"/>
          </a:p>
        </p:txBody>
      </p:sp>
    </p:spTree>
    <p:extLst>
      <p:ext uri="{BB962C8B-B14F-4D97-AF65-F5344CB8AC3E}">
        <p14:creationId xmlns:p14="http://schemas.microsoft.com/office/powerpoint/2010/main" val="27447710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36D48-CD91-669B-C549-DC5460EDC8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194FF0-B1F7-88FA-2CCC-D8030FC262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9EF3F1-D63D-6379-9C48-92274F7B2D83}"/>
              </a:ext>
            </a:extLst>
          </p:cNvPr>
          <p:cNvSpPr>
            <a:spLocks noGrp="1"/>
          </p:cNvSpPr>
          <p:nvPr>
            <p:ph type="body" idx="1"/>
          </p:nvPr>
        </p:nvSpPr>
        <p:spPr/>
        <p:txBody>
          <a:bodyPr/>
          <a:lstStyle/>
          <a:p>
            <a:r>
              <a:rPr lang="en-US">
                <a:hlinkClick r:id="rId3" tooltip="https://wsmesegmentation.com/"/>
              </a:rPr>
              <a:t>https://wsmesegmentation.com/</a:t>
            </a:r>
            <a:endParaRPr lang="en-US"/>
          </a:p>
        </p:txBody>
      </p:sp>
      <p:sp>
        <p:nvSpPr>
          <p:cNvPr id="4" name="Slide Number Placeholder 3">
            <a:extLst>
              <a:ext uri="{FF2B5EF4-FFF2-40B4-BE49-F238E27FC236}">
                <a16:creationId xmlns:a16="http://schemas.microsoft.com/office/drawing/2014/main" id="{5D862089-5153-7654-07E1-62598096E59B}"/>
              </a:ext>
            </a:extLst>
          </p:cNvPr>
          <p:cNvSpPr>
            <a:spLocks noGrp="1"/>
          </p:cNvSpPr>
          <p:nvPr>
            <p:ph type="sldNum" sz="quarter" idx="5"/>
          </p:nvPr>
        </p:nvSpPr>
        <p:spPr/>
        <p:txBody>
          <a:bodyPr/>
          <a:lstStyle/>
          <a:p>
            <a:fld id="{9B7484A1-137F-4DF8-9AC9-B67C74F5E02A}" type="slidenum">
              <a:rPr lang="en-US" smtClean="0"/>
              <a:pPr/>
              <a:t>6</a:t>
            </a:fld>
            <a:endParaRPr lang="en-US"/>
          </a:p>
        </p:txBody>
      </p:sp>
    </p:spTree>
    <p:extLst>
      <p:ext uri="{BB962C8B-B14F-4D97-AF65-F5344CB8AC3E}">
        <p14:creationId xmlns:p14="http://schemas.microsoft.com/office/powerpoint/2010/main" val="14918605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7484A1-137F-4DF8-9AC9-B67C74F5E02A}" type="slidenum">
              <a:rPr lang="en-US" smtClean="0"/>
              <a:pPr/>
              <a:t>7</a:t>
            </a:fld>
            <a:endParaRPr lang="en-US"/>
          </a:p>
        </p:txBody>
      </p:sp>
    </p:spTree>
    <p:extLst>
      <p:ext uri="{BB962C8B-B14F-4D97-AF65-F5344CB8AC3E}">
        <p14:creationId xmlns:p14="http://schemas.microsoft.com/office/powerpoint/2010/main" val="11225657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7484A1-137F-4DF8-9AC9-B67C74F5E02A}" type="slidenum">
              <a:rPr lang="en-US" smtClean="0"/>
              <a:pPr/>
              <a:t>8</a:t>
            </a:fld>
            <a:endParaRPr lang="en-US"/>
          </a:p>
        </p:txBody>
      </p:sp>
    </p:spTree>
    <p:extLst>
      <p:ext uri="{BB962C8B-B14F-4D97-AF65-F5344CB8AC3E}">
        <p14:creationId xmlns:p14="http://schemas.microsoft.com/office/powerpoint/2010/main" val="28539229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4.png"/><Relationship Id="rId5" Type="http://schemas.openxmlformats.org/officeDocument/2006/relationships/image" Target="../media/image3.sv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3.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svg"/><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10.svg"/><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10.svg"/><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0.svg"/><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0.svg"/><Relationship Id="rId4" Type="http://schemas.openxmlformats.org/officeDocument/2006/relationships/image" Target="../media/image1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10.svg"/><Relationship Id="rId4" Type="http://schemas.openxmlformats.org/officeDocument/2006/relationships/image" Target="../media/image1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10.svg"/><Relationship Id="rId4" Type="http://schemas.openxmlformats.org/officeDocument/2006/relationships/image" Target="../media/image1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10.svg"/><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3.svg"/><Relationship Id="rId5" Type="http://schemas.openxmlformats.org/officeDocument/2006/relationships/image" Target="../media/image13.svg"/><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3.svg"/><Relationship Id="rId5" Type="http://schemas.openxmlformats.org/officeDocument/2006/relationships/image" Target="../media/image14.svg"/><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16.svg"/><Relationship Id="rId4" Type="http://schemas.openxmlformats.org/officeDocument/2006/relationships/image" Target="../media/image15.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16.svg"/><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16.svg"/><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7.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5.svg"/><Relationship Id="rId3" Type="http://schemas.openxmlformats.org/officeDocument/2006/relationships/oleObject" Target="../embeddings/oleObject34.bin"/><Relationship Id="rId7" Type="http://schemas.openxmlformats.org/officeDocument/2006/relationships/image" Target="../media/image20.svg"/><Relationship Id="rId12" Type="http://schemas.openxmlformats.org/officeDocument/2006/relationships/image" Target="../media/image24.svg"/><Relationship Id="rId17" Type="http://schemas.openxmlformats.org/officeDocument/2006/relationships/image" Target="../media/image29.svg"/><Relationship Id="rId2" Type="http://schemas.openxmlformats.org/officeDocument/2006/relationships/slideMaster" Target="../slideMasters/slideMaster1.xml"/><Relationship Id="rId16" Type="http://schemas.openxmlformats.org/officeDocument/2006/relationships/image" Target="../media/image28.svg"/><Relationship Id="rId1" Type="http://schemas.openxmlformats.org/officeDocument/2006/relationships/tags" Target="../tags/tag41.xml"/><Relationship Id="rId6" Type="http://schemas.openxmlformats.org/officeDocument/2006/relationships/image" Target="../media/image19.svg"/><Relationship Id="rId11" Type="http://schemas.openxmlformats.org/officeDocument/2006/relationships/image" Target="../media/image10.svg"/><Relationship Id="rId5" Type="http://schemas.openxmlformats.org/officeDocument/2006/relationships/image" Target="../media/image18.svg"/><Relationship Id="rId15" Type="http://schemas.openxmlformats.org/officeDocument/2006/relationships/image" Target="../media/image27.svg"/><Relationship Id="rId10" Type="http://schemas.openxmlformats.org/officeDocument/2006/relationships/image" Target="../media/image23.svg"/><Relationship Id="rId4" Type="http://schemas.openxmlformats.org/officeDocument/2006/relationships/image" Target="../media/image2.emf"/><Relationship Id="rId9" Type="http://schemas.openxmlformats.org/officeDocument/2006/relationships/image" Target="../media/image22.svg"/><Relationship Id="rId14" Type="http://schemas.openxmlformats.org/officeDocument/2006/relationships/image" Target="../media/image26.svg"/></Relationships>
</file>

<file path=ppt/slideLayouts/_rels/slideLayout41.xml.rels><?xml version="1.0" encoding="UTF-8" standalone="yes"?>
<Relationships xmlns="http://schemas.openxmlformats.org/package/2006/relationships"><Relationship Id="rId26" Type="http://schemas.openxmlformats.org/officeDocument/2006/relationships/image" Target="../media/image51.svg"/><Relationship Id="rId21" Type="http://schemas.openxmlformats.org/officeDocument/2006/relationships/image" Target="../media/image46.svg"/><Relationship Id="rId42" Type="http://schemas.openxmlformats.org/officeDocument/2006/relationships/image" Target="../media/image67.svg"/><Relationship Id="rId47" Type="http://schemas.openxmlformats.org/officeDocument/2006/relationships/image" Target="../media/image72.svg"/><Relationship Id="rId63" Type="http://schemas.openxmlformats.org/officeDocument/2006/relationships/image" Target="../media/image88.svg"/><Relationship Id="rId68" Type="http://schemas.openxmlformats.org/officeDocument/2006/relationships/image" Target="../media/image93.svg"/><Relationship Id="rId7" Type="http://schemas.openxmlformats.org/officeDocument/2006/relationships/image" Target="../media/image32.svg"/><Relationship Id="rId71" Type="http://schemas.openxmlformats.org/officeDocument/2006/relationships/image" Target="../media/image96.svg"/><Relationship Id="rId2" Type="http://schemas.openxmlformats.org/officeDocument/2006/relationships/slideMaster" Target="../slideMasters/slideMaster1.xml"/><Relationship Id="rId16" Type="http://schemas.openxmlformats.org/officeDocument/2006/relationships/image" Target="../media/image41.svg"/><Relationship Id="rId29" Type="http://schemas.openxmlformats.org/officeDocument/2006/relationships/image" Target="../media/image54.svg"/><Relationship Id="rId11" Type="http://schemas.openxmlformats.org/officeDocument/2006/relationships/image" Target="../media/image36.svg"/><Relationship Id="rId24" Type="http://schemas.openxmlformats.org/officeDocument/2006/relationships/image" Target="../media/image49.svg"/><Relationship Id="rId32" Type="http://schemas.openxmlformats.org/officeDocument/2006/relationships/image" Target="../media/image57.svg"/><Relationship Id="rId37" Type="http://schemas.openxmlformats.org/officeDocument/2006/relationships/image" Target="../media/image62.svg"/><Relationship Id="rId40" Type="http://schemas.openxmlformats.org/officeDocument/2006/relationships/image" Target="../media/image65.svg"/><Relationship Id="rId45" Type="http://schemas.openxmlformats.org/officeDocument/2006/relationships/image" Target="../media/image70.svg"/><Relationship Id="rId53" Type="http://schemas.openxmlformats.org/officeDocument/2006/relationships/image" Target="../media/image78.svg"/><Relationship Id="rId58" Type="http://schemas.openxmlformats.org/officeDocument/2006/relationships/image" Target="../media/image83.svg"/><Relationship Id="rId66" Type="http://schemas.openxmlformats.org/officeDocument/2006/relationships/image" Target="../media/image91.svg"/><Relationship Id="rId5" Type="http://schemas.openxmlformats.org/officeDocument/2006/relationships/image" Target="../media/image30.svg"/><Relationship Id="rId61" Type="http://schemas.openxmlformats.org/officeDocument/2006/relationships/image" Target="../media/image86.svg"/><Relationship Id="rId19" Type="http://schemas.openxmlformats.org/officeDocument/2006/relationships/image" Target="../media/image44.svg"/><Relationship Id="rId14" Type="http://schemas.openxmlformats.org/officeDocument/2006/relationships/image" Target="../media/image39.svg"/><Relationship Id="rId22" Type="http://schemas.openxmlformats.org/officeDocument/2006/relationships/image" Target="../media/image47.svg"/><Relationship Id="rId27" Type="http://schemas.openxmlformats.org/officeDocument/2006/relationships/image" Target="../media/image52.svg"/><Relationship Id="rId30" Type="http://schemas.openxmlformats.org/officeDocument/2006/relationships/image" Target="../media/image55.svg"/><Relationship Id="rId35" Type="http://schemas.openxmlformats.org/officeDocument/2006/relationships/image" Target="../media/image60.svg"/><Relationship Id="rId43" Type="http://schemas.openxmlformats.org/officeDocument/2006/relationships/image" Target="../media/image68.svg"/><Relationship Id="rId48" Type="http://schemas.openxmlformats.org/officeDocument/2006/relationships/image" Target="../media/image73.svg"/><Relationship Id="rId56" Type="http://schemas.openxmlformats.org/officeDocument/2006/relationships/image" Target="../media/image81.svg"/><Relationship Id="rId64" Type="http://schemas.openxmlformats.org/officeDocument/2006/relationships/image" Target="../media/image89.svg"/><Relationship Id="rId69" Type="http://schemas.openxmlformats.org/officeDocument/2006/relationships/image" Target="../media/image94.svg"/><Relationship Id="rId8" Type="http://schemas.openxmlformats.org/officeDocument/2006/relationships/image" Target="../media/image33.svg"/><Relationship Id="rId51" Type="http://schemas.openxmlformats.org/officeDocument/2006/relationships/image" Target="../media/image76.svg"/><Relationship Id="rId3" Type="http://schemas.openxmlformats.org/officeDocument/2006/relationships/oleObject" Target="../embeddings/oleObject35.bin"/><Relationship Id="rId12" Type="http://schemas.openxmlformats.org/officeDocument/2006/relationships/image" Target="../media/image37.svg"/><Relationship Id="rId17" Type="http://schemas.openxmlformats.org/officeDocument/2006/relationships/image" Target="../media/image42.svg"/><Relationship Id="rId25" Type="http://schemas.openxmlformats.org/officeDocument/2006/relationships/image" Target="../media/image50.svg"/><Relationship Id="rId33" Type="http://schemas.openxmlformats.org/officeDocument/2006/relationships/image" Target="../media/image58.svg"/><Relationship Id="rId38" Type="http://schemas.openxmlformats.org/officeDocument/2006/relationships/image" Target="../media/image63.svg"/><Relationship Id="rId46" Type="http://schemas.openxmlformats.org/officeDocument/2006/relationships/image" Target="../media/image71.svg"/><Relationship Id="rId59" Type="http://schemas.openxmlformats.org/officeDocument/2006/relationships/image" Target="../media/image84.svg"/><Relationship Id="rId67" Type="http://schemas.openxmlformats.org/officeDocument/2006/relationships/image" Target="../media/image92.svg"/><Relationship Id="rId20" Type="http://schemas.openxmlformats.org/officeDocument/2006/relationships/image" Target="../media/image45.svg"/><Relationship Id="rId41" Type="http://schemas.openxmlformats.org/officeDocument/2006/relationships/image" Target="../media/image66.svg"/><Relationship Id="rId54" Type="http://schemas.openxmlformats.org/officeDocument/2006/relationships/image" Target="../media/image79.svg"/><Relationship Id="rId62" Type="http://schemas.openxmlformats.org/officeDocument/2006/relationships/image" Target="../media/image87.svg"/><Relationship Id="rId70" Type="http://schemas.openxmlformats.org/officeDocument/2006/relationships/image" Target="../media/image95.svg"/><Relationship Id="rId1" Type="http://schemas.openxmlformats.org/officeDocument/2006/relationships/tags" Target="../tags/tag42.xml"/><Relationship Id="rId6" Type="http://schemas.openxmlformats.org/officeDocument/2006/relationships/image" Target="../media/image31.svg"/><Relationship Id="rId15" Type="http://schemas.openxmlformats.org/officeDocument/2006/relationships/image" Target="../media/image40.svg"/><Relationship Id="rId23" Type="http://schemas.openxmlformats.org/officeDocument/2006/relationships/image" Target="../media/image48.svg"/><Relationship Id="rId28" Type="http://schemas.openxmlformats.org/officeDocument/2006/relationships/image" Target="../media/image53.svg"/><Relationship Id="rId36" Type="http://schemas.openxmlformats.org/officeDocument/2006/relationships/image" Target="../media/image61.svg"/><Relationship Id="rId49" Type="http://schemas.openxmlformats.org/officeDocument/2006/relationships/image" Target="../media/image74.svg"/><Relationship Id="rId57" Type="http://schemas.openxmlformats.org/officeDocument/2006/relationships/image" Target="../media/image82.svg"/><Relationship Id="rId10" Type="http://schemas.openxmlformats.org/officeDocument/2006/relationships/image" Target="../media/image35.svg"/><Relationship Id="rId31" Type="http://schemas.openxmlformats.org/officeDocument/2006/relationships/image" Target="../media/image56.svg"/><Relationship Id="rId44" Type="http://schemas.openxmlformats.org/officeDocument/2006/relationships/image" Target="../media/image69.svg"/><Relationship Id="rId52" Type="http://schemas.openxmlformats.org/officeDocument/2006/relationships/image" Target="../media/image77.svg"/><Relationship Id="rId60" Type="http://schemas.openxmlformats.org/officeDocument/2006/relationships/image" Target="../media/image85.svg"/><Relationship Id="rId65" Type="http://schemas.openxmlformats.org/officeDocument/2006/relationships/image" Target="../media/image90.svg"/><Relationship Id="rId4" Type="http://schemas.openxmlformats.org/officeDocument/2006/relationships/image" Target="../media/image2.emf"/><Relationship Id="rId9" Type="http://schemas.openxmlformats.org/officeDocument/2006/relationships/image" Target="../media/image34.svg"/><Relationship Id="rId13" Type="http://schemas.openxmlformats.org/officeDocument/2006/relationships/image" Target="../media/image38.svg"/><Relationship Id="rId18" Type="http://schemas.openxmlformats.org/officeDocument/2006/relationships/image" Target="../media/image43.svg"/><Relationship Id="rId39" Type="http://schemas.openxmlformats.org/officeDocument/2006/relationships/image" Target="../media/image64.svg"/><Relationship Id="rId34" Type="http://schemas.openxmlformats.org/officeDocument/2006/relationships/image" Target="../media/image59.svg"/><Relationship Id="rId50" Type="http://schemas.openxmlformats.org/officeDocument/2006/relationships/image" Target="../media/image75.svg"/><Relationship Id="rId55" Type="http://schemas.openxmlformats.org/officeDocument/2006/relationships/image" Target="../media/image80.svg"/></Relationships>
</file>

<file path=ppt/slideLayouts/_rels/slideLayout42.xml.rels><?xml version="1.0" encoding="UTF-8" standalone="yes"?>
<Relationships xmlns="http://schemas.openxmlformats.org/package/2006/relationships"><Relationship Id="rId26" Type="http://schemas.openxmlformats.org/officeDocument/2006/relationships/image" Target="../media/image118.svg"/><Relationship Id="rId21" Type="http://schemas.openxmlformats.org/officeDocument/2006/relationships/image" Target="../media/image113.svg"/><Relationship Id="rId34" Type="http://schemas.openxmlformats.org/officeDocument/2006/relationships/image" Target="../media/image126.svg"/><Relationship Id="rId42" Type="http://schemas.openxmlformats.org/officeDocument/2006/relationships/image" Target="../media/image134.svg"/><Relationship Id="rId47" Type="http://schemas.openxmlformats.org/officeDocument/2006/relationships/image" Target="../media/image139.svg"/><Relationship Id="rId50" Type="http://schemas.openxmlformats.org/officeDocument/2006/relationships/image" Target="../media/image142.svg"/><Relationship Id="rId55" Type="http://schemas.openxmlformats.org/officeDocument/2006/relationships/image" Target="../media/image147.svg"/><Relationship Id="rId63" Type="http://schemas.openxmlformats.org/officeDocument/2006/relationships/image" Target="../media/image155.svg"/><Relationship Id="rId68" Type="http://schemas.openxmlformats.org/officeDocument/2006/relationships/image" Target="../media/image160.svg"/><Relationship Id="rId7" Type="http://schemas.openxmlformats.org/officeDocument/2006/relationships/image" Target="../media/image99.svg"/><Relationship Id="rId2" Type="http://schemas.openxmlformats.org/officeDocument/2006/relationships/slideMaster" Target="../slideMasters/slideMaster1.xml"/><Relationship Id="rId16" Type="http://schemas.openxmlformats.org/officeDocument/2006/relationships/image" Target="../media/image108.svg"/><Relationship Id="rId29" Type="http://schemas.openxmlformats.org/officeDocument/2006/relationships/image" Target="../media/image121.svg"/><Relationship Id="rId11" Type="http://schemas.openxmlformats.org/officeDocument/2006/relationships/image" Target="../media/image103.svg"/><Relationship Id="rId24" Type="http://schemas.openxmlformats.org/officeDocument/2006/relationships/image" Target="../media/image116.svg"/><Relationship Id="rId32" Type="http://schemas.openxmlformats.org/officeDocument/2006/relationships/image" Target="../media/image124.svg"/><Relationship Id="rId37" Type="http://schemas.openxmlformats.org/officeDocument/2006/relationships/image" Target="../media/image129.svg"/><Relationship Id="rId40" Type="http://schemas.openxmlformats.org/officeDocument/2006/relationships/image" Target="../media/image132.svg"/><Relationship Id="rId45" Type="http://schemas.openxmlformats.org/officeDocument/2006/relationships/image" Target="../media/image137.svg"/><Relationship Id="rId53" Type="http://schemas.openxmlformats.org/officeDocument/2006/relationships/image" Target="../media/image145.svg"/><Relationship Id="rId58" Type="http://schemas.openxmlformats.org/officeDocument/2006/relationships/image" Target="../media/image150.svg"/><Relationship Id="rId66" Type="http://schemas.openxmlformats.org/officeDocument/2006/relationships/image" Target="../media/image158.svg"/><Relationship Id="rId5" Type="http://schemas.openxmlformats.org/officeDocument/2006/relationships/image" Target="../media/image97.svg"/><Relationship Id="rId61" Type="http://schemas.openxmlformats.org/officeDocument/2006/relationships/image" Target="../media/image153.svg"/><Relationship Id="rId19" Type="http://schemas.openxmlformats.org/officeDocument/2006/relationships/image" Target="../media/image111.svg"/><Relationship Id="rId14" Type="http://schemas.openxmlformats.org/officeDocument/2006/relationships/image" Target="../media/image106.svg"/><Relationship Id="rId22" Type="http://schemas.openxmlformats.org/officeDocument/2006/relationships/image" Target="../media/image114.svg"/><Relationship Id="rId27" Type="http://schemas.openxmlformats.org/officeDocument/2006/relationships/image" Target="../media/image119.svg"/><Relationship Id="rId30" Type="http://schemas.openxmlformats.org/officeDocument/2006/relationships/image" Target="../media/image122.svg"/><Relationship Id="rId35" Type="http://schemas.openxmlformats.org/officeDocument/2006/relationships/image" Target="../media/image127.svg"/><Relationship Id="rId43" Type="http://schemas.openxmlformats.org/officeDocument/2006/relationships/image" Target="../media/image135.svg"/><Relationship Id="rId48" Type="http://schemas.openxmlformats.org/officeDocument/2006/relationships/image" Target="../media/image140.svg"/><Relationship Id="rId56" Type="http://schemas.openxmlformats.org/officeDocument/2006/relationships/image" Target="../media/image148.svg"/><Relationship Id="rId64" Type="http://schemas.openxmlformats.org/officeDocument/2006/relationships/image" Target="../media/image156.svg"/><Relationship Id="rId8" Type="http://schemas.openxmlformats.org/officeDocument/2006/relationships/image" Target="../media/image100.svg"/><Relationship Id="rId51" Type="http://schemas.openxmlformats.org/officeDocument/2006/relationships/image" Target="../media/image143.svg"/><Relationship Id="rId3" Type="http://schemas.openxmlformats.org/officeDocument/2006/relationships/oleObject" Target="../embeddings/oleObject36.bin"/><Relationship Id="rId12" Type="http://schemas.openxmlformats.org/officeDocument/2006/relationships/image" Target="../media/image104.svg"/><Relationship Id="rId17" Type="http://schemas.openxmlformats.org/officeDocument/2006/relationships/image" Target="../media/image109.svg"/><Relationship Id="rId25" Type="http://schemas.openxmlformats.org/officeDocument/2006/relationships/image" Target="../media/image117.svg"/><Relationship Id="rId33" Type="http://schemas.openxmlformats.org/officeDocument/2006/relationships/image" Target="../media/image125.svg"/><Relationship Id="rId38" Type="http://schemas.openxmlformats.org/officeDocument/2006/relationships/image" Target="../media/image130.svg"/><Relationship Id="rId46" Type="http://schemas.openxmlformats.org/officeDocument/2006/relationships/image" Target="../media/image138.svg"/><Relationship Id="rId59" Type="http://schemas.openxmlformats.org/officeDocument/2006/relationships/image" Target="../media/image151.svg"/><Relationship Id="rId67" Type="http://schemas.openxmlformats.org/officeDocument/2006/relationships/image" Target="../media/image159.svg"/><Relationship Id="rId20" Type="http://schemas.openxmlformats.org/officeDocument/2006/relationships/image" Target="../media/image112.svg"/><Relationship Id="rId41" Type="http://schemas.openxmlformats.org/officeDocument/2006/relationships/image" Target="../media/image133.svg"/><Relationship Id="rId54" Type="http://schemas.openxmlformats.org/officeDocument/2006/relationships/image" Target="../media/image146.svg"/><Relationship Id="rId62" Type="http://schemas.openxmlformats.org/officeDocument/2006/relationships/image" Target="../media/image154.svg"/><Relationship Id="rId1" Type="http://schemas.openxmlformats.org/officeDocument/2006/relationships/tags" Target="../tags/tag43.xml"/><Relationship Id="rId6" Type="http://schemas.openxmlformats.org/officeDocument/2006/relationships/image" Target="../media/image98.svg"/><Relationship Id="rId15" Type="http://schemas.openxmlformats.org/officeDocument/2006/relationships/image" Target="../media/image107.svg"/><Relationship Id="rId23" Type="http://schemas.openxmlformats.org/officeDocument/2006/relationships/image" Target="../media/image115.svg"/><Relationship Id="rId28" Type="http://schemas.openxmlformats.org/officeDocument/2006/relationships/image" Target="../media/image120.svg"/><Relationship Id="rId36" Type="http://schemas.openxmlformats.org/officeDocument/2006/relationships/image" Target="../media/image128.svg"/><Relationship Id="rId49" Type="http://schemas.openxmlformats.org/officeDocument/2006/relationships/image" Target="../media/image141.svg"/><Relationship Id="rId57" Type="http://schemas.openxmlformats.org/officeDocument/2006/relationships/image" Target="../media/image149.svg"/><Relationship Id="rId10" Type="http://schemas.openxmlformats.org/officeDocument/2006/relationships/image" Target="../media/image102.svg"/><Relationship Id="rId31" Type="http://schemas.openxmlformats.org/officeDocument/2006/relationships/image" Target="../media/image123.svg"/><Relationship Id="rId44" Type="http://schemas.openxmlformats.org/officeDocument/2006/relationships/image" Target="../media/image136.svg"/><Relationship Id="rId52" Type="http://schemas.openxmlformats.org/officeDocument/2006/relationships/image" Target="../media/image144.svg"/><Relationship Id="rId60" Type="http://schemas.openxmlformats.org/officeDocument/2006/relationships/image" Target="../media/image152.svg"/><Relationship Id="rId65" Type="http://schemas.openxmlformats.org/officeDocument/2006/relationships/image" Target="../media/image157.svg"/><Relationship Id="rId4" Type="http://schemas.openxmlformats.org/officeDocument/2006/relationships/image" Target="../media/image2.emf"/><Relationship Id="rId9" Type="http://schemas.openxmlformats.org/officeDocument/2006/relationships/image" Target="../media/image101.svg"/><Relationship Id="rId13" Type="http://schemas.openxmlformats.org/officeDocument/2006/relationships/image" Target="../media/image105.svg"/><Relationship Id="rId18" Type="http://schemas.openxmlformats.org/officeDocument/2006/relationships/image" Target="../media/image110.svg"/><Relationship Id="rId39" Type="http://schemas.openxmlformats.org/officeDocument/2006/relationships/image" Target="../media/image131.sv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64.svg"/><Relationship Id="rId13" Type="http://schemas.openxmlformats.org/officeDocument/2006/relationships/image" Target="../media/image169.svg"/><Relationship Id="rId18" Type="http://schemas.openxmlformats.org/officeDocument/2006/relationships/image" Target="../media/image174.svg"/><Relationship Id="rId3" Type="http://schemas.openxmlformats.org/officeDocument/2006/relationships/oleObject" Target="../embeddings/oleObject37.bin"/><Relationship Id="rId7" Type="http://schemas.openxmlformats.org/officeDocument/2006/relationships/image" Target="../media/image163.svg"/><Relationship Id="rId12" Type="http://schemas.openxmlformats.org/officeDocument/2006/relationships/image" Target="../media/image168.svg"/><Relationship Id="rId17" Type="http://schemas.openxmlformats.org/officeDocument/2006/relationships/image" Target="../media/image173.svg"/><Relationship Id="rId2" Type="http://schemas.openxmlformats.org/officeDocument/2006/relationships/slideMaster" Target="../slideMasters/slideMaster1.xml"/><Relationship Id="rId16" Type="http://schemas.openxmlformats.org/officeDocument/2006/relationships/image" Target="../media/image172.svg"/><Relationship Id="rId1" Type="http://schemas.openxmlformats.org/officeDocument/2006/relationships/tags" Target="../tags/tag44.xml"/><Relationship Id="rId6" Type="http://schemas.openxmlformats.org/officeDocument/2006/relationships/image" Target="../media/image162.svg"/><Relationship Id="rId11" Type="http://schemas.openxmlformats.org/officeDocument/2006/relationships/image" Target="../media/image167.svg"/><Relationship Id="rId5" Type="http://schemas.openxmlformats.org/officeDocument/2006/relationships/image" Target="../media/image161.svg"/><Relationship Id="rId15" Type="http://schemas.openxmlformats.org/officeDocument/2006/relationships/image" Target="../media/image171.svg"/><Relationship Id="rId10" Type="http://schemas.openxmlformats.org/officeDocument/2006/relationships/image" Target="../media/image166.svg"/><Relationship Id="rId19" Type="http://schemas.openxmlformats.org/officeDocument/2006/relationships/image" Target="../media/image175.svg"/><Relationship Id="rId4" Type="http://schemas.openxmlformats.org/officeDocument/2006/relationships/image" Target="../media/image2.emf"/><Relationship Id="rId9" Type="http://schemas.openxmlformats.org/officeDocument/2006/relationships/image" Target="../media/image165.svg"/><Relationship Id="rId14" Type="http://schemas.openxmlformats.org/officeDocument/2006/relationships/image" Target="../media/image170.svg"/></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2.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E0B1AF4-94FB-43C5-8382-6B0F70BB6A9D}"/>
              </a:ext>
            </a:extLst>
          </p:cNvPr>
          <p:cNvGraphicFramePr>
            <a:graphicFrameLocks noChangeAspect="1"/>
          </p:cNvGraphicFramePr>
          <p:nvPr>
            <p:custDataLst>
              <p:tags r:id="rId1"/>
            </p:custDataLst>
            <p:extLst>
              <p:ext uri="{D42A27DB-BD31-4B8C-83A1-F6EECF244321}">
                <p14:modId xmlns:p14="http://schemas.microsoft.com/office/powerpoint/2010/main" val="1621795001"/>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DE0B1AF4-94FB-43C5-8382-6B0F70BB6A9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24CCE4-515D-454E-9959-12B3CC29235C}"/>
              </a:ext>
            </a:extLst>
          </p:cNvPr>
          <p:cNvSpPr>
            <a:spLocks noGrp="1"/>
          </p:cNvSpPr>
          <p:nvPr>
            <p:ph type="ctrTitle"/>
          </p:nvPr>
        </p:nvSpPr>
        <p:spPr>
          <a:xfrm>
            <a:off x="1143000" y="841772"/>
            <a:ext cx="6858000" cy="1790700"/>
          </a:xfrm>
        </p:spPr>
        <p:txBody>
          <a:bodyPr vert="horz"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91D0DF22-75C9-42B4-9C57-FDCFD6C7CA39}"/>
              </a:ext>
            </a:extLst>
          </p:cNvPr>
          <p:cNvSpPr>
            <a:spLocks noGrp="1"/>
          </p:cNvSpPr>
          <p:nvPr>
            <p:ph type="subTitle" idx="1"/>
          </p:nvPr>
        </p:nvSpPr>
        <p:spPr>
          <a:xfrm>
            <a:off x="1143000" y="2701528"/>
            <a:ext cx="6858000" cy="1241822"/>
          </a:xfrm>
        </p:spPr>
        <p:txBody>
          <a:bodyPr/>
          <a:lstStyle>
            <a:lvl1pPr marL="0" indent="0" algn="ctr">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EAAE2A17-B918-4F29-90E0-B713D6CA12E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6343FA7-2053-43B8-BAA5-6CDB70C611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FC4D79-AA5C-4598-A078-6D1AB0F4E4CC}"/>
              </a:ext>
            </a:extLst>
          </p:cNvPr>
          <p:cNvSpPr>
            <a:spLocks noGrp="1"/>
          </p:cNvSpPr>
          <p:nvPr>
            <p:ph type="sldNum" sz="quarter" idx="12"/>
          </p:nvPr>
        </p:nvSpPr>
        <p:spPr/>
        <p:txBody>
          <a:bodyPr/>
          <a:lstStyle/>
          <a:p>
            <a:fld id="{90F96069-64E7-4CF3-B7D3-20E8318ED9D6}" type="slidenum">
              <a:rPr lang="en-US" smtClean="0"/>
              <a:t>‹#›</a:t>
            </a:fld>
            <a:endParaRPr lang="en-US"/>
          </a:p>
        </p:txBody>
      </p:sp>
    </p:spTree>
    <p:extLst>
      <p:ext uri="{BB962C8B-B14F-4D97-AF65-F5344CB8AC3E}">
        <p14:creationId xmlns:p14="http://schemas.microsoft.com/office/powerpoint/2010/main" val="95095980"/>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176B847-7AB2-48BF-ABDB-4FC22DE44486}"/>
              </a:ext>
            </a:extLst>
          </p:cNvPr>
          <p:cNvGraphicFramePr>
            <a:graphicFrameLocks noChangeAspect="1"/>
          </p:cNvGraphicFramePr>
          <p:nvPr>
            <p:custDataLst>
              <p:tags r:id="rId1"/>
            </p:custDataLst>
            <p:extLst>
              <p:ext uri="{D42A27DB-BD31-4B8C-83A1-F6EECF244321}">
                <p14:modId xmlns:p14="http://schemas.microsoft.com/office/powerpoint/2010/main" val="3947980261"/>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C176B847-7AB2-48BF-ABDB-4FC22DE4448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B39392-A007-4A87-BCB8-F27EB51584C4}"/>
              </a:ext>
            </a:extLst>
          </p:cNvPr>
          <p:cNvSpPr>
            <a:spLocks noGrp="1"/>
          </p:cNvSpPr>
          <p:nvPr>
            <p:ph type="title"/>
          </p:nvPr>
        </p:nvSpPr>
        <p:spPr/>
        <p:txBody>
          <a:bodyPr vert="horz"/>
          <a:lstStyle/>
          <a:p>
            <a:r>
              <a:rPr lang="en-US"/>
              <a:t>Click to edit Master title style</a:t>
            </a:r>
          </a:p>
        </p:txBody>
      </p:sp>
      <p:sp>
        <p:nvSpPr>
          <p:cNvPr id="3" name="Date Placeholder 2">
            <a:extLst>
              <a:ext uri="{FF2B5EF4-FFF2-40B4-BE49-F238E27FC236}">
                <a16:creationId xmlns:a16="http://schemas.microsoft.com/office/drawing/2014/main" id="{6F534CAD-1693-482D-93E3-6B91858B82E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AB2ABDBB-6961-44B2-B25D-C36F0088567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4A6379-EA09-47DE-A96C-4E1B94542F50}"/>
              </a:ext>
            </a:extLst>
          </p:cNvPr>
          <p:cNvSpPr>
            <a:spLocks noGrp="1"/>
          </p:cNvSpPr>
          <p:nvPr>
            <p:ph type="sldNum" sz="quarter" idx="12"/>
          </p:nvPr>
        </p:nvSpPr>
        <p:spPr/>
        <p:txBody>
          <a:bodyPr/>
          <a:lstStyle/>
          <a:p>
            <a:fld id="{A90607E6-BCED-4FC1-A345-AB2A307AB80F}" type="slidenum">
              <a:rPr lang="en-US" sz="700" b="1" smtClean="0"/>
              <a:pPr/>
              <a:t>‹#›</a:t>
            </a:fld>
            <a:endParaRPr lang="en-US" b="1"/>
          </a:p>
        </p:txBody>
      </p:sp>
    </p:spTree>
    <p:extLst>
      <p:ext uri="{BB962C8B-B14F-4D97-AF65-F5344CB8AC3E}">
        <p14:creationId xmlns:p14="http://schemas.microsoft.com/office/powerpoint/2010/main" val="3110958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370CF7F-303B-47ED-A7FC-B6BA1BB6CB38}"/>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8B75A0FD-D04A-4054-A6C2-651D4210874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6B7AB3C-528C-482F-8906-BBE3E0A04A6F}"/>
              </a:ext>
            </a:extLst>
          </p:cNvPr>
          <p:cNvSpPr>
            <a:spLocks noGrp="1"/>
          </p:cNvSpPr>
          <p:nvPr>
            <p:ph type="sldNum" sz="quarter" idx="12"/>
          </p:nvPr>
        </p:nvSpPr>
        <p:spPr/>
        <p:txBody>
          <a:bodyPr/>
          <a:lstStyle/>
          <a:p>
            <a:fld id="{A90607E6-BCED-4FC1-A345-AB2A307AB80F}" type="slidenum">
              <a:rPr lang="en-US" sz="700" b="1" smtClean="0"/>
              <a:pPr/>
              <a:t>‹#›</a:t>
            </a:fld>
            <a:endParaRPr lang="en-US" b="1"/>
          </a:p>
        </p:txBody>
      </p:sp>
    </p:spTree>
    <p:extLst>
      <p:ext uri="{BB962C8B-B14F-4D97-AF65-F5344CB8AC3E}">
        <p14:creationId xmlns:p14="http://schemas.microsoft.com/office/powerpoint/2010/main" val="614165312"/>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B2A1B66-21E2-4F35-ABEF-D56FC497D2E3}"/>
              </a:ext>
            </a:extLst>
          </p:cNvPr>
          <p:cNvGraphicFramePr>
            <a:graphicFrameLocks noChangeAspect="1"/>
          </p:cNvGraphicFramePr>
          <p:nvPr>
            <p:custDataLst>
              <p:tags r:id="rId1"/>
            </p:custDataLst>
            <p:extLst>
              <p:ext uri="{D42A27DB-BD31-4B8C-83A1-F6EECF244321}">
                <p14:modId xmlns:p14="http://schemas.microsoft.com/office/powerpoint/2010/main" val="773198134"/>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EB2A1B66-21E2-4F35-ABEF-D56FC497D2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EB0BD9-F1B4-4EE1-B8EC-8838C57DC1E9}"/>
              </a:ext>
            </a:extLst>
          </p:cNvPr>
          <p:cNvSpPr>
            <a:spLocks noGrp="1"/>
          </p:cNvSpPr>
          <p:nvPr>
            <p:ph type="title"/>
          </p:nvPr>
        </p:nvSpPr>
        <p:spPr>
          <a:xfrm>
            <a:off x="629841" y="342900"/>
            <a:ext cx="2949178" cy="1200150"/>
          </a:xfrm>
        </p:spPr>
        <p:txBody>
          <a:bodyPr vert="horz"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3C5B7D59-AD83-4FDE-8B8E-742E370B18C1}"/>
              </a:ext>
            </a:extLst>
          </p:cNvPr>
          <p:cNvSpPr>
            <a:spLocks noGrp="1"/>
          </p:cNvSpPr>
          <p:nvPr>
            <p:ph idx="1"/>
          </p:nvPr>
        </p:nvSpPr>
        <p:spPr>
          <a:xfrm>
            <a:off x="3887391" y="740570"/>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3D19AAB-A275-4673-BD24-2B8AD6940532}"/>
              </a:ext>
            </a:extLst>
          </p:cNvPr>
          <p:cNvSpPr>
            <a:spLocks noGrp="1"/>
          </p:cNvSpPr>
          <p:nvPr>
            <p:ph type="body" sz="half" idx="2"/>
          </p:nvPr>
        </p:nvSpPr>
        <p:spPr>
          <a:xfrm>
            <a:off x="629841" y="1543051"/>
            <a:ext cx="2949178" cy="2858691"/>
          </a:xfrm>
        </p:spPr>
        <p:txBody>
          <a:bodyPr/>
          <a:lstStyle>
            <a:lvl1pPr marL="0" indent="0">
              <a:buNone/>
              <a:defRPr sz="12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F3112A35-746F-4B01-8E25-9C68B214D3C3}"/>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17FB4DBA-7CE3-48B4-A023-5D0D827983B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A184859-4274-4AC9-BA88-BD98CF755EA8}"/>
              </a:ext>
            </a:extLst>
          </p:cNvPr>
          <p:cNvSpPr>
            <a:spLocks noGrp="1"/>
          </p:cNvSpPr>
          <p:nvPr>
            <p:ph type="sldNum" sz="quarter" idx="12"/>
          </p:nvPr>
        </p:nvSpPr>
        <p:spPr/>
        <p:txBody>
          <a:bodyPr/>
          <a:lstStyle/>
          <a:p>
            <a:fld id="{A90607E6-BCED-4FC1-A345-AB2A307AB80F}" type="slidenum">
              <a:rPr lang="en-US" sz="700" b="1" smtClean="0"/>
              <a:pPr/>
              <a:t>‹#›</a:t>
            </a:fld>
            <a:endParaRPr lang="en-US" b="1"/>
          </a:p>
        </p:txBody>
      </p:sp>
    </p:spTree>
    <p:extLst>
      <p:ext uri="{BB962C8B-B14F-4D97-AF65-F5344CB8AC3E}">
        <p14:creationId xmlns:p14="http://schemas.microsoft.com/office/powerpoint/2010/main" val="18236333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D4F34AD-7DC5-4BB1-B712-87D042602C32}"/>
              </a:ext>
            </a:extLst>
          </p:cNvPr>
          <p:cNvGraphicFramePr>
            <a:graphicFrameLocks noChangeAspect="1"/>
          </p:cNvGraphicFramePr>
          <p:nvPr>
            <p:custDataLst>
              <p:tags r:id="rId1"/>
            </p:custDataLst>
            <p:extLst>
              <p:ext uri="{D42A27DB-BD31-4B8C-83A1-F6EECF244321}">
                <p14:modId xmlns:p14="http://schemas.microsoft.com/office/powerpoint/2010/main" val="676251753"/>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1D4F34AD-7DC5-4BB1-B712-87D042602C32}"/>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F78C043-A15C-4BA7-8FF8-AC055B090727}"/>
              </a:ext>
            </a:extLst>
          </p:cNvPr>
          <p:cNvSpPr>
            <a:spLocks noGrp="1"/>
          </p:cNvSpPr>
          <p:nvPr>
            <p:ph type="title"/>
          </p:nvPr>
        </p:nvSpPr>
        <p:spPr>
          <a:xfrm>
            <a:off x="629841" y="342900"/>
            <a:ext cx="2949178" cy="1200150"/>
          </a:xfrm>
        </p:spPr>
        <p:txBody>
          <a:bodyPr vert="horz"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B48B6419-990B-49FD-B191-C9553CCB97E7}"/>
              </a:ext>
            </a:extLst>
          </p:cNvPr>
          <p:cNvSpPr>
            <a:spLocks noGrp="1"/>
          </p:cNvSpPr>
          <p:nvPr>
            <p:ph type="pic" idx="1"/>
          </p:nvPr>
        </p:nvSpPr>
        <p:spPr>
          <a:xfrm>
            <a:off x="3887391" y="740570"/>
            <a:ext cx="4629150" cy="3655219"/>
          </a:xfrm>
        </p:spPr>
        <p:txBody>
          <a:bodyP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r>
              <a:rPr lang="en-US"/>
              <a:t>Click icon to add picture</a:t>
            </a:r>
          </a:p>
        </p:txBody>
      </p:sp>
      <p:sp>
        <p:nvSpPr>
          <p:cNvPr id="4" name="Text Placeholder 3">
            <a:extLst>
              <a:ext uri="{FF2B5EF4-FFF2-40B4-BE49-F238E27FC236}">
                <a16:creationId xmlns:a16="http://schemas.microsoft.com/office/drawing/2014/main" id="{CEEFC166-5256-426A-9832-864F7E3700C2}"/>
              </a:ext>
            </a:extLst>
          </p:cNvPr>
          <p:cNvSpPr>
            <a:spLocks noGrp="1"/>
          </p:cNvSpPr>
          <p:nvPr>
            <p:ph type="body" sz="half" idx="2"/>
          </p:nvPr>
        </p:nvSpPr>
        <p:spPr>
          <a:xfrm>
            <a:off x="629841" y="1543051"/>
            <a:ext cx="2949178" cy="2858691"/>
          </a:xfrm>
        </p:spPr>
        <p:txBody>
          <a:bodyPr/>
          <a:lstStyle>
            <a:lvl1pPr marL="0" indent="0">
              <a:buNone/>
              <a:defRPr sz="12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5D89514C-F9AC-4552-9E9D-EC9C015A44E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027E129-F418-4BE2-B0E3-99BCA2F9F5A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D6FAA9-4078-4DDD-84FC-D8EE4728B86D}"/>
              </a:ext>
            </a:extLst>
          </p:cNvPr>
          <p:cNvSpPr>
            <a:spLocks noGrp="1"/>
          </p:cNvSpPr>
          <p:nvPr>
            <p:ph type="sldNum" sz="quarter" idx="12"/>
          </p:nvPr>
        </p:nvSpPr>
        <p:spPr/>
        <p:txBody>
          <a:bodyPr/>
          <a:lstStyle/>
          <a:p>
            <a:fld id="{A90607E6-BCED-4FC1-A345-AB2A307AB80F}" type="slidenum">
              <a:rPr lang="en-US" sz="700" b="1" smtClean="0"/>
              <a:pPr/>
              <a:t>‹#›</a:t>
            </a:fld>
            <a:endParaRPr lang="en-US" b="1"/>
          </a:p>
        </p:txBody>
      </p:sp>
    </p:spTree>
    <p:extLst>
      <p:ext uri="{BB962C8B-B14F-4D97-AF65-F5344CB8AC3E}">
        <p14:creationId xmlns:p14="http://schemas.microsoft.com/office/powerpoint/2010/main" val="20475172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88C3CBD-1AA6-465F-89CD-473C10346153}"/>
              </a:ext>
            </a:extLst>
          </p:cNvPr>
          <p:cNvGraphicFramePr>
            <a:graphicFrameLocks noChangeAspect="1"/>
          </p:cNvGraphicFramePr>
          <p:nvPr>
            <p:custDataLst>
              <p:tags r:id="rId1"/>
            </p:custDataLst>
            <p:extLst>
              <p:ext uri="{D42A27DB-BD31-4B8C-83A1-F6EECF244321}">
                <p14:modId xmlns:p14="http://schemas.microsoft.com/office/powerpoint/2010/main" val="915047938"/>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688C3CBD-1AA6-465F-89CD-473C1034615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1DAC50-D24E-4E1E-A556-E6B5F5B40CF4}"/>
              </a:ext>
            </a:extLst>
          </p:cNvPr>
          <p:cNvSpPr>
            <a:spLocks noGrp="1"/>
          </p:cNvSpPr>
          <p:nvPr>
            <p:ph type="title"/>
          </p:nvPr>
        </p:nvSpPr>
        <p:spPr/>
        <p:txBody>
          <a:bodyPr vert="horz"/>
          <a:lstStyle/>
          <a:p>
            <a:r>
              <a:rPr lang="en-US"/>
              <a:t>Click to edit Master title style</a:t>
            </a:r>
          </a:p>
        </p:txBody>
      </p:sp>
      <p:sp>
        <p:nvSpPr>
          <p:cNvPr id="3" name="Vertical Text Placeholder 2">
            <a:extLst>
              <a:ext uri="{FF2B5EF4-FFF2-40B4-BE49-F238E27FC236}">
                <a16:creationId xmlns:a16="http://schemas.microsoft.com/office/drawing/2014/main" id="{8E40C542-9CA9-437B-ABAD-B515518A976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2426F3-2F09-4C3B-8C97-96E0CFFF1FA0}"/>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8DDA58C-1A9F-4464-B6E1-F93A0060DA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8A4308-6019-4885-912F-3C64CC3076D6}"/>
              </a:ext>
            </a:extLst>
          </p:cNvPr>
          <p:cNvSpPr>
            <a:spLocks noGrp="1"/>
          </p:cNvSpPr>
          <p:nvPr>
            <p:ph type="sldNum" sz="quarter" idx="12"/>
          </p:nvPr>
        </p:nvSpPr>
        <p:spPr/>
        <p:txBody>
          <a:bodyPr/>
          <a:lstStyle/>
          <a:p>
            <a:fld id="{A90607E6-BCED-4FC1-A345-AB2A307AB80F}" type="slidenum">
              <a:rPr lang="en-US" sz="700" b="1" smtClean="0"/>
              <a:pPr/>
              <a:t>‹#›</a:t>
            </a:fld>
            <a:endParaRPr lang="en-US" b="1"/>
          </a:p>
        </p:txBody>
      </p:sp>
    </p:spTree>
    <p:extLst>
      <p:ext uri="{BB962C8B-B14F-4D97-AF65-F5344CB8AC3E}">
        <p14:creationId xmlns:p14="http://schemas.microsoft.com/office/powerpoint/2010/main" val="29463801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64164E-68F7-4F2F-BE9D-EF9ED0D6D7A3}"/>
              </a:ext>
            </a:extLst>
          </p:cNvPr>
          <p:cNvGraphicFramePr>
            <a:graphicFrameLocks noChangeAspect="1"/>
          </p:cNvGraphicFramePr>
          <p:nvPr>
            <p:custDataLst>
              <p:tags r:id="rId1"/>
            </p:custDataLst>
            <p:extLst>
              <p:ext uri="{D42A27DB-BD31-4B8C-83A1-F6EECF244321}">
                <p14:modId xmlns:p14="http://schemas.microsoft.com/office/powerpoint/2010/main" val="1075248297"/>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0E64164E-68F7-4F2F-BE9D-EF9ED0D6D7A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Vertical Title 1">
            <a:extLst>
              <a:ext uri="{FF2B5EF4-FFF2-40B4-BE49-F238E27FC236}">
                <a16:creationId xmlns:a16="http://schemas.microsoft.com/office/drawing/2014/main" id="{D2C492C4-2EFB-4386-86DB-54C893E5EBD0}"/>
              </a:ext>
            </a:extLst>
          </p:cNvPr>
          <p:cNvSpPr>
            <a:spLocks noGrp="1"/>
          </p:cNvSpPr>
          <p:nvPr>
            <p:ph type="title" orient="vert"/>
          </p:nvPr>
        </p:nvSpPr>
        <p:spPr>
          <a:xfrm>
            <a:off x="6543676" y="273845"/>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254C565-04BA-4E95-86C3-1F30EAB133C0}"/>
              </a:ext>
            </a:extLst>
          </p:cNvPr>
          <p:cNvSpPr>
            <a:spLocks noGrp="1"/>
          </p:cNvSpPr>
          <p:nvPr>
            <p:ph type="body" orient="vert" idx="1"/>
          </p:nvPr>
        </p:nvSpPr>
        <p:spPr>
          <a:xfrm>
            <a:off x="628651" y="273845"/>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A83CC2-6FBA-4361-83D9-6676EC34A02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914439D-DC43-4CCF-ACCE-BDA60770F6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0782B0-3CDC-4FB8-8A3C-2C5D8E34AE53}"/>
              </a:ext>
            </a:extLst>
          </p:cNvPr>
          <p:cNvSpPr>
            <a:spLocks noGrp="1"/>
          </p:cNvSpPr>
          <p:nvPr>
            <p:ph type="sldNum" sz="quarter" idx="12"/>
          </p:nvPr>
        </p:nvSpPr>
        <p:spPr/>
        <p:txBody>
          <a:bodyPr/>
          <a:lstStyle/>
          <a:p>
            <a:fld id="{A90607E6-BCED-4FC1-A345-AB2A307AB80F}" type="slidenum">
              <a:rPr lang="en-US" sz="700" b="1" smtClean="0"/>
              <a:pPr/>
              <a:t>‹#›</a:t>
            </a:fld>
            <a:endParaRPr lang="en-US" b="1"/>
          </a:p>
        </p:txBody>
      </p:sp>
    </p:spTree>
    <p:extLst>
      <p:ext uri="{BB962C8B-B14F-4D97-AF65-F5344CB8AC3E}">
        <p14:creationId xmlns:p14="http://schemas.microsoft.com/office/powerpoint/2010/main" val="17440456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ld theme Cov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BC29FD-906D-6363-7EC9-94E310C398A4}"/>
              </a:ext>
            </a:extLst>
          </p:cNvPr>
          <p:cNvGraphicFramePr>
            <a:graphicFrameLocks noChangeAspect="1"/>
          </p:cNvGraphicFramePr>
          <p:nvPr userDrawn="1">
            <p:custDataLst>
              <p:tags r:id="rId1"/>
            </p:custDataLst>
            <p:extLst>
              <p:ext uri="{D42A27DB-BD31-4B8C-83A1-F6EECF244321}">
                <p14:modId xmlns:p14="http://schemas.microsoft.com/office/powerpoint/2010/main" val="3783432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AFBC29FD-906D-6363-7EC9-94E310C398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Google Shape;126;p4">
            <a:extLst>
              <a:ext uri="{FF2B5EF4-FFF2-40B4-BE49-F238E27FC236}">
                <a16:creationId xmlns:a16="http://schemas.microsoft.com/office/drawing/2014/main" id="{779E3FBB-9F0B-DC20-CBFF-638A0E37CBE0}"/>
              </a:ext>
            </a:extLst>
          </p:cNvPr>
          <p:cNvSpPr/>
          <p:nvPr userDrawn="1"/>
        </p:nvSpPr>
        <p:spPr>
          <a:xfrm rot="5400000">
            <a:off x="7171105" y="3175316"/>
            <a:ext cx="2131436" cy="1833401"/>
          </a:xfrm>
          <a:prstGeom prst="rect">
            <a:avLst/>
          </a:prstGeom>
          <a:gradFill>
            <a:gsLst>
              <a:gs pos="0">
                <a:schemeClr val="tx2"/>
              </a:gs>
              <a:gs pos="33000">
                <a:srgbClr val="681436"/>
              </a:gs>
              <a:gs pos="100000">
                <a:srgbClr val="56032B"/>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1050" b="0" i="0" u="none" strike="noStrike" cap="none">
              <a:solidFill>
                <a:srgbClr val="000000"/>
              </a:solidFill>
              <a:latin typeface="Arial"/>
              <a:ea typeface="Arial"/>
              <a:cs typeface="Arial"/>
              <a:sym typeface="Arial"/>
            </a:endParaRPr>
          </a:p>
        </p:txBody>
      </p:sp>
      <p:sp>
        <p:nvSpPr>
          <p:cNvPr id="5" name="Google Shape;55;p13">
            <a:extLst>
              <a:ext uri="{FF2B5EF4-FFF2-40B4-BE49-F238E27FC236}">
                <a16:creationId xmlns:a16="http://schemas.microsoft.com/office/drawing/2014/main" id="{5D928C79-6266-72E3-458E-A8D9E89FE758}"/>
              </a:ext>
            </a:extLst>
          </p:cNvPr>
          <p:cNvSpPr/>
          <p:nvPr userDrawn="1"/>
        </p:nvSpPr>
        <p:spPr>
          <a:xfrm>
            <a:off x="-7434" y="3018866"/>
            <a:ext cx="7327558" cy="2131434"/>
          </a:xfrm>
          <a:prstGeom prst="rect">
            <a:avLst/>
          </a:prstGeom>
          <a:solidFill>
            <a:srgbClr val="FFAB1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6" name="Google Shape;126;p4">
            <a:extLst>
              <a:ext uri="{FF2B5EF4-FFF2-40B4-BE49-F238E27FC236}">
                <a16:creationId xmlns:a16="http://schemas.microsoft.com/office/drawing/2014/main" id="{56FB6C73-E7F5-0702-4B31-A57AD16A8484}"/>
              </a:ext>
            </a:extLst>
          </p:cNvPr>
          <p:cNvSpPr/>
          <p:nvPr userDrawn="1"/>
        </p:nvSpPr>
        <p:spPr>
          <a:xfrm rot="5400000">
            <a:off x="7892125" y="2451621"/>
            <a:ext cx="694155" cy="1828640"/>
          </a:xfrm>
          <a:prstGeom prst="rect">
            <a:avLst/>
          </a:prstGeom>
          <a:solidFill>
            <a:schemeClr val="tx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1050" b="0" i="0" u="none" strike="noStrike" cap="none">
              <a:solidFill>
                <a:srgbClr val="000000"/>
              </a:solidFill>
              <a:latin typeface="Arial"/>
              <a:ea typeface="Arial"/>
              <a:cs typeface="Arial"/>
              <a:sym typeface="Arial"/>
            </a:endParaRPr>
          </a:p>
        </p:txBody>
      </p:sp>
      <p:pic>
        <p:nvPicPr>
          <p:cNvPr id="7" name="Graphic 1">
            <a:extLst>
              <a:ext uri="{FF2B5EF4-FFF2-40B4-BE49-F238E27FC236}">
                <a16:creationId xmlns:a16="http://schemas.microsoft.com/office/drawing/2014/main" id="{2001AD0F-DD97-9628-C9C6-A3716D93B10B}"/>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676537" y="4621738"/>
            <a:ext cx="1137823" cy="339751"/>
          </a:xfrm>
          <a:prstGeom prst="rect">
            <a:avLst/>
          </a:prstGeom>
        </p:spPr>
      </p:pic>
      <p:sp>
        <p:nvSpPr>
          <p:cNvPr id="8" name="Marcador de texto 25">
            <a:extLst>
              <a:ext uri="{FF2B5EF4-FFF2-40B4-BE49-F238E27FC236}">
                <a16:creationId xmlns:a16="http://schemas.microsoft.com/office/drawing/2014/main" id="{F172FF5D-6DC7-5C46-5D93-1D6ABBAD08DE}"/>
              </a:ext>
            </a:extLst>
          </p:cNvPr>
          <p:cNvSpPr>
            <a:spLocks noGrp="1"/>
          </p:cNvSpPr>
          <p:nvPr>
            <p:ph type="body" sz="quarter" idx="10" hasCustomPrompt="1"/>
          </p:nvPr>
        </p:nvSpPr>
        <p:spPr>
          <a:xfrm>
            <a:off x="329639" y="3242015"/>
            <a:ext cx="6852174" cy="1142188"/>
          </a:xfrm>
        </p:spPr>
        <p:txBody>
          <a:bodyPr/>
          <a:lstStyle>
            <a:lvl1pPr marL="0" indent="0" rtl="0">
              <a:lnSpc>
                <a:spcPct val="100000"/>
              </a:lnSpc>
              <a:buNone/>
              <a:defRPr sz="3400" b="0" i="0" spc="0">
                <a:solidFill>
                  <a:schemeClr val="tx2"/>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noProof="0"/>
              <a:t>THIS IS AN ALTERNATIVE COVER SLIDE, TITLE GOES HERE</a:t>
            </a:r>
          </a:p>
        </p:txBody>
      </p:sp>
      <p:sp>
        <p:nvSpPr>
          <p:cNvPr id="9" name="Marcador de texto 55">
            <a:extLst>
              <a:ext uri="{FF2B5EF4-FFF2-40B4-BE49-F238E27FC236}">
                <a16:creationId xmlns:a16="http://schemas.microsoft.com/office/drawing/2014/main" id="{187FF9D3-566F-6694-C1D6-C5D3118FB164}"/>
              </a:ext>
            </a:extLst>
          </p:cNvPr>
          <p:cNvSpPr>
            <a:spLocks noGrp="1"/>
          </p:cNvSpPr>
          <p:nvPr>
            <p:ph type="body" sz="quarter" idx="24" hasCustomPrompt="1"/>
          </p:nvPr>
        </p:nvSpPr>
        <p:spPr>
          <a:xfrm>
            <a:off x="7539531" y="3286191"/>
            <a:ext cx="1399343" cy="170603"/>
          </a:xfrm>
        </p:spPr>
        <p:txBody>
          <a:bodyPr/>
          <a:lstStyle>
            <a:lvl1pPr marL="0" indent="0" algn="ctr" rtl="0">
              <a:buNone/>
              <a:defRPr sz="1000" spc="300">
                <a:solidFill>
                  <a:schemeClr val="bg1"/>
                </a:solidFill>
              </a:defRPr>
            </a:lvl1pPr>
          </a:lstStyle>
          <a:p>
            <a:pPr lvl="0"/>
            <a:r>
              <a:rPr lang="en-US"/>
              <a:t>MONTH YEAR</a:t>
            </a:r>
          </a:p>
        </p:txBody>
      </p:sp>
      <p:sp>
        <p:nvSpPr>
          <p:cNvPr id="10" name="Marcador de texto 5">
            <a:extLst>
              <a:ext uri="{FF2B5EF4-FFF2-40B4-BE49-F238E27FC236}">
                <a16:creationId xmlns:a16="http://schemas.microsoft.com/office/drawing/2014/main" id="{C468EAF4-871A-0CF4-9DEB-2181C193E11C}"/>
              </a:ext>
            </a:extLst>
          </p:cNvPr>
          <p:cNvSpPr>
            <a:spLocks noGrp="1"/>
          </p:cNvSpPr>
          <p:nvPr>
            <p:ph type="body" sz="quarter" idx="25" hasCustomPrompt="1"/>
          </p:nvPr>
        </p:nvSpPr>
        <p:spPr>
          <a:xfrm>
            <a:off x="329892" y="4403806"/>
            <a:ext cx="4849813" cy="386436"/>
          </a:xfrm>
        </p:spPr>
        <p:txBody>
          <a:bodyPr anchor="ctr" anchorCtr="0"/>
          <a:lstStyle>
            <a:lvl1pPr marL="0" indent="0" rtl="0">
              <a:buNone/>
              <a:defRPr sz="2400">
                <a:solidFill>
                  <a:schemeClr val="tx2"/>
                </a:solidFill>
              </a:defRPr>
            </a:lvl1pPr>
          </a:lstStyle>
          <a:p>
            <a:pPr lvl="0"/>
            <a:r>
              <a:rPr lang="en-US"/>
              <a:t>Subtitle: This is cover slide v2 </a:t>
            </a:r>
          </a:p>
        </p:txBody>
      </p:sp>
      <p:sp>
        <p:nvSpPr>
          <p:cNvPr id="11" name="Marcador de contenido 19">
            <a:extLst>
              <a:ext uri="{FF2B5EF4-FFF2-40B4-BE49-F238E27FC236}">
                <a16:creationId xmlns:a16="http://schemas.microsoft.com/office/drawing/2014/main" id="{F1F48521-27B7-7D3D-43D7-16D8294777DB}"/>
              </a:ext>
            </a:extLst>
          </p:cNvPr>
          <p:cNvSpPr>
            <a:spLocks noGrp="1"/>
          </p:cNvSpPr>
          <p:nvPr>
            <p:ph sz="quarter" idx="26" hasCustomPrompt="1"/>
          </p:nvPr>
        </p:nvSpPr>
        <p:spPr>
          <a:xfrm>
            <a:off x="7657197" y="3980348"/>
            <a:ext cx="909225" cy="403855"/>
          </a:xfrm>
        </p:spPr>
        <p:txBody>
          <a:bodyPr/>
          <a:lstStyle>
            <a:lvl1pPr marL="0" indent="0" rtl="0">
              <a:buNone/>
              <a:defRPr sz="900" b="0" i="0" spc="0">
                <a:solidFill>
                  <a:schemeClr val="bg1"/>
                </a:solidFill>
                <a:latin typeface="+mn-lt"/>
                <a:ea typeface="Lato Medium" panose="020F0502020204030203" pitchFamily="34" charset="0"/>
                <a:cs typeface="Lato Medium" panose="020F0502020204030203" pitchFamily="34" charset="0"/>
              </a:defRPr>
            </a:lvl1pPr>
          </a:lstStyle>
          <a:p>
            <a:pPr lvl="0"/>
            <a:r>
              <a:rPr lang="en-US"/>
              <a:t>(PARTENR’S LOGO, IF ANY)</a:t>
            </a:r>
          </a:p>
        </p:txBody>
      </p:sp>
      <p:sp>
        <p:nvSpPr>
          <p:cNvPr id="12" name="Marcador de posición de imagen 21">
            <a:extLst>
              <a:ext uri="{FF2B5EF4-FFF2-40B4-BE49-F238E27FC236}">
                <a16:creationId xmlns:a16="http://schemas.microsoft.com/office/drawing/2014/main" id="{C5AD16AE-BC43-2A4B-00E2-E4277A369C49}"/>
              </a:ext>
            </a:extLst>
          </p:cNvPr>
          <p:cNvSpPr>
            <a:spLocks noGrp="1"/>
          </p:cNvSpPr>
          <p:nvPr>
            <p:ph type="pic" sz="quarter" idx="27"/>
          </p:nvPr>
        </p:nvSpPr>
        <p:spPr>
          <a:xfrm>
            <a:off x="-17929" y="-33899"/>
            <a:ext cx="4089867" cy="3052763"/>
          </a:xfrm>
          <a:blipFill>
            <a:blip r:embed="rId6"/>
            <a:stretch>
              <a:fillRect/>
            </a:stretch>
          </a:blipFill>
        </p:spPr>
        <p:txBody>
          <a:bodyPr/>
          <a:lstStyle/>
          <a:p>
            <a:r>
              <a:rPr lang="en-US"/>
              <a:t>Click icon to add picture</a:t>
            </a:r>
            <a:endParaRPr lang="es-MX"/>
          </a:p>
        </p:txBody>
      </p:sp>
      <p:sp>
        <p:nvSpPr>
          <p:cNvPr id="13" name="Marcador de posición de imagen 21">
            <a:extLst>
              <a:ext uri="{FF2B5EF4-FFF2-40B4-BE49-F238E27FC236}">
                <a16:creationId xmlns:a16="http://schemas.microsoft.com/office/drawing/2014/main" id="{45CDC80D-FE73-DA8D-1B57-AED22423D615}"/>
              </a:ext>
            </a:extLst>
          </p:cNvPr>
          <p:cNvSpPr>
            <a:spLocks noGrp="1"/>
          </p:cNvSpPr>
          <p:nvPr>
            <p:ph type="pic" sz="quarter" idx="28"/>
          </p:nvPr>
        </p:nvSpPr>
        <p:spPr>
          <a:xfrm>
            <a:off x="4110296" y="-8964"/>
            <a:ext cx="5069563" cy="3027828"/>
          </a:xfrm>
          <a:blipFill>
            <a:blip r:embed="rId7" cstate="screen">
              <a:extLst>
                <a:ext uri="{28A0092B-C50C-407E-A947-70E740481C1C}">
                  <a14:useLocalDpi xmlns:a14="http://schemas.microsoft.com/office/drawing/2010/main"/>
                </a:ext>
              </a:extLst>
            </a:blip>
            <a:stretch>
              <a:fillRect/>
            </a:stretch>
          </a:blipFill>
        </p:spPr>
        <p:txBody>
          <a:bodyPr/>
          <a:lstStyle/>
          <a:p>
            <a:r>
              <a:rPr lang="en-US"/>
              <a:t>Click icon to add picture</a:t>
            </a:r>
            <a:endParaRPr lang="es-MX"/>
          </a:p>
        </p:txBody>
      </p:sp>
    </p:spTree>
    <p:extLst>
      <p:ext uri="{BB962C8B-B14F-4D97-AF65-F5344CB8AC3E}">
        <p14:creationId xmlns:p14="http://schemas.microsoft.com/office/powerpoint/2010/main" val="38003234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ld three-part ToC">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B16BDD3-E65C-03C8-1699-2311B8EB54FB}"/>
              </a:ext>
            </a:extLst>
          </p:cNvPr>
          <p:cNvGraphicFramePr>
            <a:graphicFrameLocks noChangeAspect="1"/>
          </p:cNvGraphicFramePr>
          <p:nvPr userDrawn="1">
            <p:custDataLst>
              <p:tags r:id="rId1"/>
            </p:custDataLst>
            <p:extLst>
              <p:ext uri="{D42A27DB-BD31-4B8C-83A1-F6EECF244321}">
                <p14:modId xmlns:p14="http://schemas.microsoft.com/office/powerpoint/2010/main" val="1431279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DB16BDD3-E65C-03C8-1699-2311B8EB54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Google Shape;149;p16">
            <a:extLst>
              <a:ext uri="{FF2B5EF4-FFF2-40B4-BE49-F238E27FC236}">
                <a16:creationId xmlns:a16="http://schemas.microsoft.com/office/drawing/2014/main" id="{41DA6ACD-117E-CD10-5785-CE3069285709}"/>
              </a:ext>
            </a:extLst>
          </p:cNvPr>
          <p:cNvSpPr/>
          <p:nvPr userDrawn="1"/>
        </p:nvSpPr>
        <p:spPr>
          <a:xfrm>
            <a:off x="-3265" y="-23643"/>
            <a:ext cx="9157775" cy="59436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5" name="Google Shape;126;p4">
            <a:extLst>
              <a:ext uri="{FF2B5EF4-FFF2-40B4-BE49-F238E27FC236}">
                <a16:creationId xmlns:a16="http://schemas.microsoft.com/office/drawing/2014/main" id="{A4DCE970-B27E-8008-089F-0C0DDA1ABF5F}"/>
              </a:ext>
            </a:extLst>
          </p:cNvPr>
          <p:cNvSpPr/>
          <p:nvPr/>
        </p:nvSpPr>
        <p:spPr>
          <a:xfrm rot="5400000">
            <a:off x="-761431" y="1332148"/>
            <a:ext cx="4600515" cy="3077653"/>
          </a:xfrm>
          <a:prstGeom prst="rect">
            <a:avLst/>
          </a:prstGeom>
          <a:gradFill>
            <a:gsLst>
              <a:gs pos="0">
                <a:schemeClr val="tx2"/>
              </a:gs>
              <a:gs pos="23000">
                <a:srgbClr val="681436"/>
              </a:gs>
              <a:gs pos="100000">
                <a:srgbClr val="56032B"/>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1050" b="0" i="0" u="none" strike="noStrike" cap="none">
              <a:solidFill>
                <a:srgbClr val="000000"/>
              </a:solidFill>
              <a:latin typeface="Arial"/>
              <a:ea typeface="Arial"/>
              <a:cs typeface="Arial"/>
              <a:sym typeface="Arial"/>
            </a:endParaRPr>
          </a:p>
        </p:txBody>
      </p:sp>
      <p:sp>
        <p:nvSpPr>
          <p:cNvPr id="6" name="Google Shape;130;p4">
            <a:extLst>
              <a:ext uri="{FF2B5EF4-FFF2-40B4-BE49-F238E27FC236}">
                <a16:creationId xmlns:a16="http://schemas.microsoft.com/office/drawing/2014/main" id="{96CEEA04-08DB-5F9C-4D33-A308BEBDEFB8}"/>
              </a:ext>
            </a:extLst>
          </p:cNvPr>
          <p:cNvSpPr/>
          <p:nvPr/>
        </p:nvSpPr>
        <p:spPr>
          <a:xfrm rot="5400000">
            <a:off x="2275769" y="1346679"/>
            <a:ext cx="4600512" cy="3048589"/>
          </a:xfrm>
          <a:prstGeom prst="rect">
            <a:avLst/>
          </a:prstGeom>
          <a:gradFill>
            <a:gsLst>
              <a:gs pos="0">
                <a:schemeClr val="tx2"/>
              </a:gs>
              <a:gs pos="100000">
                <a:srgbClr val="6F1237"/>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1050" b="0" i="0" u="none" strike="noStrike" cap="none">
              <a:solidFill>
                <a:srgbClr val="000000"/>
              </a:solidFill>
              <a:latin typeface="Arial"/>
              <a:ea typeface="Arial"/>
              <a:cs typeface="Arial"/>
              <a:sym typeface="Arial"/>
            </a:endParaRPr>
          </a:p>
        </p:txBody>
      </p:sp>
      <p:sp>
        <p:nvSpPr>
          <p:cNvPr id="7" name="Google Shape;126;p4">
            <a:extLst>
              <a:ext uri="{FF2B5EF4-FFF2-40B4-BE49-F238E27FC236}">
                <a16:creationId xmlns:a16="http://schemas.microsoft.com/office/drawing/2014/main" id="{A77FDDD8-8538-ECEE-EB73-55F721B5335A}"/>
              </a:ext>
            </a:extLst>
          </p:cNvPr>
          <p:cNvSpPr/>
          <p:nvPr/>
        </p:nvSpPr>
        <p:spPr>
          <a:xfrm rot="5400000">
            <a:off x="5315427" y="1332150"/>
            <a:ext cx="4600513" cy="3077653"/>
          </a:xfrm>
          <a:prstGeom prst="rect">
            <a:avLst/>
          </a:prstGeom>
          <a:gradFill>
            <a:gsLst>
              <a:gs pos="0">
                <a:schemeClr val="tx2"/>
              </a:gs>
              <a:gs pos="23000">
                <a:srgbClr val="681436"/>
              </a:gs>
              <a:gs pos="100000">
                <a:srgbClr val="56032B"/>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1050" b="0" i="0" u="none" strike="noStrike" cap="none">
              <a:solidFill>
                <a:srgbClr val="000000"/>
              </a:solidFill>
              <a:latin typeface="Arial"/>
              <a:ea typeface="Arial"/>
              <a:cs typeface="Arial"/>
              <a:sym typeface="Arial"/>
            </a:endParaRPr>
          </a:p>
        </p:txBody>
      </p:sp>
      <p:sp>
        <p:nvSpPr>
          <p:cNvPr id="10" name="Rounded Rectangle 14">
            <a:extLst>
              <a:ext uri="{FF2B5EF4-FFF2-40B4-BE49-F238E27FC236}">
                <a16:creationId xmlns:a16="http://schemas.microsoft.com/office/drawing/2014/main" id="{55139645-E153-1600-6A92-71130B59B7E9}"/>
              </a:ext>
            </a:extLst>
          </p:cNvPr>
          <p:cNvSpPr/>
          <p:nvPr userDrawn="1"/>
        </p:nvSpPr>
        <p:spPr>
          <a:xfrm>
            <a:off x="3777258" y="4571818"/>
            <a:ext cx="1536465" cy="275823"/>
          </a:xfrm>
          <a:prstGeom prst="roundRect">
            <a:avLst/>
          </a:prstGeom>
          <a:solidFill>
            <a:srgbClr val="611333"/>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11" name="Rounded Rectangle 16">
            <a:extLst>
              <a:ext uri="{FF2B5EF4-FFF2-40B4-BE49-F238E27FC236}">
                <a16:creationId xmlns:a16="http://schemas.microsoft.com/office/drawing/2014/main" id="{55FB79A6-A8D5-10E1-E721-EA5983BBFDB9}"/>
              </a:ext>
            </a:extLst>
          </p:cNvPr>
          <p:cNvSpPr/>
          <p:nvPr userDrawn="1"/>
        </p:nvSpPr>
        <p:spPr>
          <a:xfrm>
            <a:off x="6763516" y="4591896"/>
            <a:ext cx="1536465" cy="275823"/>
          </a:xfrm>
          <a:prstGeom prst="round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12" name="Rounded Rectangle 19">
            <a:extLst>
              <a:ext uri="{FF2B5EF4-FFF2-40B4-BE49-F238E27FC236}">
                <a16:creationId xmlns:a16="http://schemas.microsoft.com/office/drawing/2014/main" id="{BD289B66-F0C2-2F02-0B23-EBD7D2BEB185}"/>
              </a:ext>
            </a:extLst>
          </p:cNvPr>
          <p:cNvSpPr/>
          <p:nvPr userDrawn="1"/>
        </p:nvSpPr>
        <p:spPr>
          <a:xfrm>
            <a:off x="802218" y="4571818"/>
            <a:ext cx="1536465" cy="275823"/>
          </a:xfrm>
          <a:prstGeom prst="round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15" name="Marcador de texto 41">
            <a:extLst>
              <a:ext uri="{FF2B5EF4-FFF2-40B4-BE49-F238E27FC236}">
                <a16:creationId xmlns:a16="http://schemas.microsoft.com/office/drawing/2014/main" id="{1C650F98-477A-5B9C-CE7F-19679C8036DF}"/>
              </a:ext>
            </a:extLst>
          </p:cNvPr>
          <p:cNvSpPr>
            <a:spLocks noGrp="1"/>
          </p:cNvSpPr>
          <p:nvPr userDrawn="1">
            <p:ph type="body" sz="quarter" idx="14" hasCustomPrompt="1"/>
          </p:nvPr>
        </p:nvSpPr>
        <p:spPr>
          <a:xfrm>
            <a:off x="466344" y="1665104"/>
            <a:ext cx="2208212" cy="793563"/>
          </a:xfrm>
        </p:spPr>
        <p:txBody>
          <a:bodyPr anchor="ctr" anchorCtr="0"/>
          <a:lstStyle>
            <a:lvl1pPr marL="0" indent="0" algn="ctr" rtl="0">
              <a:lnSpc>
                <a:spcPct val="110000"/>
              </a:lnSpc>
              <a:buNone/>
              <a:defRPr sz="1600" b="0" i="0" spc="300">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TITLE GOES HERE. KEEP IT SHORT.</a:t>
            </a:r>
          </a:p>
        </p:txBody>
      </p:sp>
      <p:sp>
        <p:nvSpPr>
          <p:cNvPr id="16" name="Marcador de texto 45">
            <a:extLst>
              <a:ext uri="{FF2B5EF4-FFF2-40B4-BE49-F238E27FC236}">
                <a16:creationId xmlns:a16="http://schemas.microsoft.com/office/drawing/2014/main" id="{4750A38C-2F90-5EB0-5114-0A45F192CC10}"/>
              </a:ext>
            </a:extLst>
          </p:cNvPr>
          <p:cNvSpPr>
            <a:spLocks noGrp="1"/>
          </p:cNvSpPr>
          <p:nvPr userDrawn="1">
            <p:ph type="body" sz="quarter" idx="16" hasCustomPrompt="1"/>
          </p:nvPr>
        </p:nvSpPr>
        <p:spPr>
          <a:xfrm>
            <a:off x="819533" y="4616462"/>
            <a:ext cx="1501834" cy="186534"/>
          </a:xfrm>
        </p:spPr>
        <p:txBody>
          <a:bodyPr anchor="ctr" anchorCtr="0"/>
          <a:lstStyle>
            <a:lvl1pPr marL="0" indent="0" algn="ctr" rtl="0">
              <a:buNone/>
              <a:defRPr sz="900" spc="300">
                <a:solidFill>
                  <a:schemeClr val="bg1"/>
                </a:solidFill>
              </a:defRPr>
            </a:lvl1pPr>
          </a:lstStyle>
          <a:p>
            <a:pPr lvl="0"/>
            <a:r>
              <a:rPr lang="en-US"/>
              <a:t>PAGE # / TIME</a:t>
            </a:r>
          </a:p>
        </p:txBody>
      </p:sp>
      <p:sp>
        <p:nvSpPr>
          <p:cNvPr id="17" name="Marcador de texto 45">
            <a:extLst>
              <a:ext uri="{FF2B5EF4-FFF2-40B4-BE49-F238E27FC236}">
                <a16:creationId xmlns:a16="http://schemas.microsoft.com/office/drawing/2014/main" id="{4D89B283-93DD-B45A-C193-7E5568D1203A}"/>
              </a:ext>
            </a:extLst>
          </p:cNvPr>
          <p:cNvSpPr>
            <a:spLocks noGrp="1"/>
          </p:cNvSpPr>
          <p:nvPr userDrawn="1">
            <p:ph type="body" sz="quarter" idx="17" hasCustomPrompt="1"/>
          </p:nvPr>
        </p:nvSpPr>
        <p:spPr>
          <a:xfrm>
            <a:off x="3794573" y="4616462"/>
            <a:ext cx="1501834" cy="186534"/>
          </a:xfrm>
        </p:spPr>
        <p:txBody>
          <a:bodyPr anchor="ctr" anchorCtr="0"/>
          <a:lstStyle>
            <a:lvl1pPr marL="0" indent="0" algn="ctr" rtl="0">
              <a:buNone/>
              <a:defRPr sz="900" spc="300">
                <a:solidFill>
                  <a:schemeClr val="bg1"/>
                </a:solidFill>
              </a:defRPr>
            </a:lvl1pPr>
          </a:lstStyle>
          <a:p>
            <a:pPr lvl="0"/>
            <a:r>
              <a:rPr lang="en-US"/>
              <a:t>PAGE # / TIME</a:t>
            </a:r>
          </a:p>
        </p:txBody>
      </p:sp>
      <p:sp>
        <p:nvSpPr>
          <p:cNvPr id="18" name="Marcador de texto 45">
            <a:extLst>
              <a:ext uri="{FF2B5EF4-FFF2-40B4-BE49-F238E27FC236}">
                <a16:creationId xmlns:a16="http://schemas.microsoft.com/office/drawing/2014/main" id="{6A6C008D-43B7-FB35-1335-5C9F59026B18}"/>
              </a:ext>
            </a:extLst>
          </p:cNvPr>
          <p:cNvSpPr>
            <a:spLocks noGrp="1"/>
          </p:cNvSpPr>
          <p:nvPr userDrawn="1">
            <p:ph type="body" sz="quarter" idx="18" hasCustomPrompt="1"/>
          </p:nvPr>
        </p:nvSpPr>
        <p:spPr>
          <a:xfrm>
            <a:off x="6780831" y="4636540"/>
            <a:ext cx="1501834" cy="186534"/>
          </a:xfrm>
        </p:spPr>
        <p:txBody>
          <a:bodyPr anchor="ctr" anchorCtr="0"/>
          <a:lstStyle>
            <a:lvl1pPr marL="0" indent="0" algn="ctr" rtl="0">
              <a:buNone/>
              <a:defRPr sz="900" spc="300">
                <a:solidFill>
                  <a:schemeClr val="bg1"/>
                </a:solidFill>
              </a:defRPr>
            </a:lvl1pPr>
          </a:lstStyle>
          <a:p>
            <a:pPr lvl="0"/>
            <a:r>
              <a:rPr lang="en-US"/>
              <a:t>PAGE # / TIME</a:t>
            </a:r>
          </a:p>
        </p:txBody>
      </p:sp>
      <p:sp>
        <p:nvSpPr>
          <p:cNvPr id="19" name="Marcador de texto 41">
            <a:extLst>
              <a:ext uri="{FF2B5EF4-FFF2-40B4-BE49-F238E27FC236}">
                <a16:creationId xmlns:a16="http://schemas.microsoft.com/office/drawing/2014/main" id="{B570CE56-F66F-565E-8346-9ADD7977C167}"/>
              </a:ext>
            </a:extLst>
          </p:cNvPr>
          <p:cNvSpPr>
            <a:spLocks noGrp="1"/>
          </p:cNvSpPr>
          <p:nvPr userDrawn="1">
            <p:ph type="body" sz="quarter" idx="19" hasCustomPrompt="1"/>
          </p:nvPr>
        </p:nvSpPr>
        <p:spPr>
          <a:xfrm>
            <a:off x="3441384" y="1673853"/>
            <a:ext cx="2208212" cy="793563"/>
          </a:xfrm>
        </p:spPr>
        <p:txBody>
          <a:bodyPr anchor="ctr" anchorCtr="0"/>
          <a:lstStyle>
            <a:lvl1pPr marL="0" indent="0" algn="ctr" rtl="0">
              <a:lnSpc>
                <a:spcPct val="110000"/>
              </a:lnSpc>
              <a:buNone/>
              <a:defRPr sz="1600" b="0" i="0" spc="300">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TITLE GOES HERE. KEEP IT SHORT.</a:t>
            </a:r>
          </a:p>
        </p:txBody>
      </p:sp>
      <p:sp>
        <p:nvSpPr>
          <p:cNvPr id="20" name="Marcador de texto 41">
            <a:extLst>
              <a:ext uri="{FF2B5EF4-FFF2-40B4-BE49-F238E27FC236}">
                <a16:creationId xmlns:a16="http://schemas.microsoft.com/office/drawing/2014/main" id="{A82ED5A0-EADA-BCB7-3AD8-76FEBE36CAFE}"/>
              </a:ext>
            </a:extLst>
          </p:cNvPr>
          <p:cNvSpPr>
            <a:spLocks noGrp="1"/>
          </p:cNvSpPr>
          <p:nvPr userDrawn="1">
            <p:ph type="body" sz="quarter" idx="20" hasCustomPrompt="1"/>
          </p:nvPr>
        </p:nvSpPr>
        <p:spPr>
          <a:xfrm>
            <a:off x="6427642" y="1665104"/>
            <a:ext cx="2208212" cy="793563"/>
          </a:xfrm>
        </p:spPr>
        <p:txBody>
          <a:bodyPr anchor="ctr" anchorCtr="0"/>
          <a:lstStyle>
            <a:lvl1pPr marL="0" indent="0" algn="ctr" rtl="0">
              <a:lnSpc>
                <a:spcPct val="110000"/>
              </a:lnSpc>
              <a:buNone/>
              <a:defRPr sz="1600" b="0" i="0" spc="300">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TITLE GOES HERE. KEEP IT SHORT.</a:t>
            </a:r>
          </a:p>
        </p:txBody>
      </p:sp>
      <p:sp>
        <p:nvSpPr>
          <p:cNvPr id="22" name="Marcador de texto 36">
            <a:extLst>
              <a:ext uri="{FF2B5EF4-FFF2-40B4-BE49-F238E27FC236}">
                <a16:creationId xmlns:a16="http://schemas.microsoft.com/office/drawing/2014/main" id="{4B511D9A-80AC-B271-20F8-D2F625097DBD}"/>
              </a:ext>
            </a:extLst>
          </p:cNvPr>
          <p:cNvSpPr>
            <a:spLocks noGrp="1"/>
          </p:cNvSpPr>
          <p:nvPr userDrawn="1">
            <p:ph type="body" sz="quarter" idx="22" hasCustomPrompt="1"/>
          </p:nvPr>
        </p:nvSpPr>
        <p:spPr>
          <a:xfrm>
            <a:off x="587768" y="2684834"/>
            <a:ext cx="1965364" cy="1282732"/>
          </a:xfrm>
        </p:spPr>
        <p:txBody>
          <a:bodyPr/>
          <a:lstStyle>
            <a:lvl1pPr marL="0" indent="0" algn="l" rtl="0">
              <a:lnSpc>
                <a:spcPts val="1880"/>
              </a:lnSpc>
              <a:buNone/>
              <a:defRPr sz="1400" b="0" i="0">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subtitle of sub-sections. Here goes a subtitle of sub-sections. Here goes a subtitle of sub-sections.</a:t>
            </a:r>
          </a:p>
        </p:txBody>
      </p:sp>
      <p:sp>
        <p:nvSpPr>
          <p:cNvPr id="23" name="Marcador de texto 36">
            <a:extLst>
              <a:ext uri="{FF2B5EF4-FFF2-40B4-BE49-F238E27FC236}">
                <a16:creationId xmlns:a16="http://schemas.microsoft.com/office/drawing/2014/main" id="{B31EDD34-4FCB-A5EF-169B-5E749427AB0E}"/>
              </a:ext>
            </a:extLst>
          </p:cNvPr>
          <p:cNvSpPr>
            <a:spLocks noGrp="1"/>
          </p:cNvSpPr>
          <p:nvPr userDrawn="1">
            <p:ph type="body" sz="quarter" idx="23" hasCustomPrompt="1"/>
          </p:nvPr>
        </p:nvSpPr>
        <p:spPr>
          <a:xfrm>
            <a:off x="3562808" y="2684834"/>
            <a:ext cx="1965364" cy="1282732"/>
          </a:xfrm>
        </p:spPr>
        <p:txBody>
          <a:bodyPr/>
          <a:lstStyle>
            <a:lvl1pPr marL="0" indent="0" algn="l" rtl="0">
              <a:lnSpc>
                <a:spcPts val="1880"/>
              </a:lnSpc>
              <a:buNone/>
              <a:defRPr sz="1400" b="0" i="0">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subtitle of sub-sections. Here goes a subtitle of sub-sections. Here goes a subtitle of sub-sections.</a:t>
            </a:r>
          </a:p>
        </p:txBody>
      </p:sp>
      <p:sp>
        <p:nvSpPr>
          <p:cNvPr id="24" name="Marcador de texto 36">
            <a:extLst>
              <a:ext uri="{FF2B5EF4-FFF2-40B4-BE49-F238E27FC236}">
                <a16:creationId xmlns:a16="http://schemas.microsoft.com/office/drawing/2014/main" id="{3DA0C294-25E2-54ED-06FD-9D9F8964B7A2}"/>
              </a:ext>
            </a:extLst>
          </p:cNvPr>
          <p:cNvSpPr>
            <a:spLocks noGrp="1"/>
          </p:cNvSpPr>
          <p:nvPr userDrawn="1">
            <p:ph type="body" sz="quarter" idx="24" hasCustomPrompt="1"/>
          </p:nvPr>
        </p:nvSpPr>
        <p:spPr>
          <a:xfrm>
            <a:off x="6549066" y="2684834"/>
            <a:ext cx="1965364" cy="1282732"/>
          </a:xfrm>
        </p:spPr>
        <p:txBody>
          <a:bodyPr/>
          <a:lstStyle>
            <a:lvl1pPr marL="0" indent="0" algn="l" rtl="0">
              <a:lnSpc>
                <a:spcPts val="1880"/>
              </a:lnSpc>
              <a:buNone/>
              <a:defRPr sz="1400" b="0" i="0">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subtitle of sub-sections. Here goes a subtitle of sub-sections. Here goes a subtitle of sub-sections.</a:t>
            </a:r>
          </a:p>
        </p:txBody>
      </p:sp>
      <p:sp>
        <p:nvSpPr>
          <p:cNvPr id="25" name="Text Placeholder 6">
            <a:extLst>
              <a:ext uri="{FF2B5EF4-FFF2-40B4-BE49-F238E27FC236}">
                <a16:creationId xmlns:a16="http://schemas.microsoft.com/office/drawing/2014/main" id="{75084F19-9739-3738-9726-94CBEE314952}"/>
              </a:ext>
            </a:extLst>
          </p:cNvPr>
          <p:cNvSpPr>
            <a:spLocks noGrp="1"/>
          </p:cNvSpPr>
          <p:nvPr userDrawn="1">
            <p:ph type="body" sz="quarter" idx="25" hasCustomPrompt="1"/>
          </p:nvPr>
        </p:nvSpPr>
        <p:spPr>
          <a:xfrm>
            <a:off x="1332706" y="819270"/>
            <a:ext cx="475488" cy="475488"/>
          </a:xfrm>
          <a:prstGeom prst="ellipse">
            <a:avLst/>
          </a:prstGeom>
          <a:solidFill>
            <a:schemeClr val="accent2"/>
          </a:solidFill>
        </p:spPr>
        <p:txBody>
          <a:bodyPr anchor="ctr"/>
          <a:lstStyle>
            <a:lvl1pPr marL="0" indent="0" algn="ctr" rtl="0">
              <a:buNone/>
              <a:defRPr sz="1400" b="0" i="0">
                <a:solidFill>
                  <a:srgbClr val="6F1237"/>
                </a:solidFill>
                <a:latin typeface="Lato Medium" panose="020F0502020204030203" pitchFamily="34" charset="77"/>
              </a:defRPr>
            </a:lvl1pPr>
          </a:lstStyle>
          <a:p>
            <a:pPr lvl="0"/>
            <a:r>
              <a:rPr lang="en-US"/>
              <a:t>#</a:t>
            </a:r>
          </a:p>
        </p:txBody>
      </p:sp>
      <p:sp>
        <p:nvSpPr>
          <p:cNvPr id="28" name="Marcador de texto 28">
            <a:extLst>
              <a:ext uri="{FF2B5EF4-FFF2-40B4-BE49-F238E27FC236}">
                <a16:creationId xmlns:a16="http://schemas.microsoft.com/office/drawing/2014/main" id="{DF758085-FA13-C206-0089-2CFB8552015A}"/>
              </a:ext>
            </a:extLst>
          </p:cNvPr>
          <p:cNvSpPr>
            <a:spLocks noGrp="1"/>
          </p:cNvSpPr>
          <p:nvPr userDrawn="1">
            <p:ph type="body" sz="quarter" idx="11" hasCustomPrompt="1"/>
          </p:nvPr>
        </p:nvSpPr>
        <p:spPr>
          <a:xfrm>
            <a:off x="466344" y="58653"/>
            <a:ext cx="8169510" cy="429768"/>
          </a:xfrm>
        </p:spPr>
        <p:txBody>
          <a:bodyPr anchor="ctr" anchorCtr="0"/>
          <a:lstStyle>
            <a:lvl1pPr marL="0" indent="0" rtl="0">
              <a:buNone/>
              <a:defRPr sz="1400">
                <a:solidFill>
                  <a:schemeClr val="bg1"/>
                </a:solidFill>
              </a:defRPr>
            </a:lvl1pPr>
          </a:lstStyle>
          <a:p>
            <a:pPr marL="0" marR="0" lvl="0" indent="0" algn="l" defTabSz="10728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ABLE OF CONTENTS OR AGENDA</a:t>
            </a:r>
          </a:p>
        </p:txBody>
      </p:sp>
      <p:sp>
        <p:nvSpPr>
          <p:cNvPr id="21" name="Text Placeholder 6">
            <a:extLst>
              <a:ext uri="{FF2B5EF4-FFF2-40B4-BE49-F238E27FC236}">
                <a16:creationId xmlns:a16="http://schemas.microsoft.com/office/drawing/2014/main" id="{FE45C8CE-86EC-42DD-1399-EAAEFFB58C43}"/>
              </a:ext>
            </a:extLst>
          </p:cNvPr>
          <p:cNvSpPr>
            <a:spLocks noGrp="1"/>
          </p:cNvSpPr>
          <p:nvPr>
            <p:ph type="body" sz="quarter" idx="26" hasCustomPrompt="1"/>
          </p:nvPr>
        </p:nvSpPr>
        <p:spPr>
          <a:xfrm>
            <a:off x="4307746" y="819270"/>
            <a:ext cx="475488" cy="475488"/>
          </a:xfrm>
          <a:prstGeom prst="ellipse">
            <a:avLst/>
          </a:prstGeom>
          <a:solidFill>
            <a:schemeClr val="accent2"/>
          </a:solidFill>
        </p:spPr>
        <p:txBody>
          <a:bodyPr anchor="ctr"/>
          <a:lstStyle>
            <a:lvl1pPr marL="0" indent="0" algn="ctr" rtl="0">
              <a:buNone/>
              <a:defRPr sz="1400" b="0" i="0">
                <a:solidFill>
                  <a:srgbClr val="6F1237"/>
                </a:solidFill>
                <a:latin typeface="Lato Medium" panose="020F0502020204030203" pitchFamily="34" charset="77"/>
              </a:defRPr>
            </a:lvl1pPr>
          </a:lstStyle>
          <a:p>
            <a:pPr lvl="0"/>
            <a:r>
              <a:rPr lang="en-US"/>
              <a:t>#</a:t>
            </a:r>
          </a:p>
        </p:txBody>
      </p:sp>
      <p:sp>
        <p:nvSpPr>
          <p:cNvPr id="29" name="Text Placeholder 6">
            <a:extLst>
              <a:ext uri="{FF2B5EF4-FFF2-40B4-BE49-F238E27FC236}">
                <a16:creationId xmlns:a16="http://schemas.microsoft.com/office/drawing/2014/main" id="{EB354214-B00F-9B7E-185A-4A8B174C0249}"/>
              </a:ext>
            </a:extLst>
          </p:cNvPr>
          <p:cNvSpPr>
            <a:spLocks noGrp="1"/>
          </p:cNvSpPr>
          <p:nvPr>
            <p:ph type="body" sz="quarter" idx="27" hasCustomPrompt="1"/>
          </p:nvPr>
        </p:nvSpPr>
        <p:spPr>
          <a:xfrm>
            <a:off x="7294004" y="819270"/>
            <a:ext cx="475488" cy="475488"/>
          </a:xfrm>
          <a:prstGeom prst="ellipse">
            <a:avLst/>
          </a:prstGeom>
          <a:solidFill>
            <a:schemeClr val="accent2"/>
          </a:solidFill>
        </p:spPr>
        <p:txBody>
          <a:bodyPr anchor="ctr"/>
          <a:lstStyle>
            <a:lvl1pPr marL="0" indent="0" algn="ctr" rtl="0">
              <a:buNone/>
              <a:defRPr sz="1400" b="0" i="0">
                <a:solidFill>
                  <a:srgbClr val="6F1237"/>
                </a:solidFill>
                <a:latin typeface="Lato Medium" panose="020F0502020204030203" pitchFamily="34" charset="77"/>
              </a:defRPr>
            </a:lvl1pPr>
          </a:lstStyle>
          <a:p>
            <a:pPr lvl="0"/>
            <a:r>
              <a:rPr lang="en-US"/>
              <a:t>#</a:t>
            </a:r>
          </a:p>
        </p:txBody>
      </p:sp>
    </p:spTree>
    <p:extLst>
      <p:ext uri="{BB962C8B-B14F-4D97-AF65-F5344CB8AC3E}">
        <p14:creationId xmlns:p14="http://schemas.microsoft.com/office/powerpoint/2010/main" val="6180132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ld four-part ToC">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9A49280-E1DB-10E8-E1A7-818D2BD05BF7}"/>
              </a:ext>
            </a:extLst>
          </p:cNvPr>
          <p:cNvGraphicFramePr>
            <a:graphicFrameLocks noChangeAspect="1"/>
          </p:cNvGraphicFramePr>
          <p:nvPr userDrawn="1">
            <p:custDataLst>
              <p:tags r:id="rId1"/>
            </p:custDataLst>
            <p:extLst>
              <p:ext uri="{D42A27DB-BD31-4B8C-83A1-F6EECF244321}">
                <p14:modId xmlns:p14="http://schemas.microsoft.com/office/powerpoint/2010/main" val="2078604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B9A49280-E1DB-10E8-E1A7-818D2BD05B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Marcador de texto 41">
            <a:extLst>
              <a:ext uri="{FF2B5EF4-FFF2-40B4-BE49-F238E27FC236}">
                <a16:creationId xmlns:a16="http://schemas.microsoft.com/office/drawing/2014/main" id="{476EA67E-5D6B-AB21-9305-C3219FD4380B}"/>
              </a:ext>
            </a:extLst>
          </p:cNvPr>
          <p:cNvSpPr>
            <a:spLocks noGrp="1"/>
          </p:cNvSpPr>
          <p:nvPr>
            <p:ph type="body" sz="quarter" idx="14" hasCustomPrompt="1"/>
          </p:nvPr>
        </p:nvSpPr>
        <p:spPr>
          <a:xfrm>
            <a:off x="1256997" y="763009"/>
            <a:ext cx="2665567" cy="295859"/>
          </a:xfrm>
        </p:spPr>
        <p:txBody>
          <a:bodyPr anchor="ctr" anchorCtr="0"/>
          <a:lstStyle>
            <a:lvl1pPr marL="0" indent="0" algn="l" rtl="0">
              <a:lnSpc>
                <a:spcPct val="110000"/>
              </a:lnSpc>
              <a:buNone/>
              <a:defRPr sz="1600" b="0" i="0" spc="300">
                <a:solidFill>
                  <a:schemeClr val="accent2"/>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1 TITLE</a:t>
            </a:r>
          </a:p>
        </p:txBody>
      </p:sp>
      <p:sp>
        <p:nvSpPr>
          <p:cNvPr id="19" name="Marcador de texto 41">
            <a:extLst>
              <a:ext uri="{FF2B5EF4-FFF2-40B4-BE49-F238E27FC236}">
                <a16:creationId xmlns:a16="http://schemas.microsoft.com/office/drawing/2014/main" id="{D67A48C3-DCE5-E72C-3297-39D04D1B87ED}"/>
              </a:ext>
            </a:extLst>
          </p:cNvPr>
          <p:cNvSpPr>
            <a:spLocks noGrp="1"/>
          </p:cNvSpPr>
          <p:nvPr>
            <p:ph type="body" sz="quarter" idx="15" hasCustomPrompt="1"/>
          </p:nvPr>
        </p:nvSpPr>
        <p:spPr>
          <a:xfrm>
            <a:off x="1248000" y="3387070"/>
            <a:ext cx="2665567" cy="308581"/>
          </a:xfrm>
        </p:spPr>
        <p:txBody>
          <a:bodyPr anchor="ctr" anchorCtr="0"/>
          <a:lstStyle>
            <a:lvl1pPr marL="0" indent="0" algn="l" rtl="0">
              <a:lnSpc>
                <a:spcPct val="110000"/>
              </a:lnSpc>
              <a:buNone/>
              <a:defRPr sz="1600" b="0" i="0" spc="300">
                <a:solidFill>
                  <a:schemeClr val="accent2"/>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3 TITLE</a:t>
            </a:r>
          </a:p>
        </p:txBody>
      </p:sp>
      <p:sp>
        <p:nvSpPr>
          <p:cNvPr id="20" name="Marcador de texto 41">
            <a:extLst>
              <a:ext uri="{FF2B5EF4-FFF2-40B4-BE49-F238E27FC236}">
                <a16:creationId xmlns:a16="http://schemas.microsoft.com/office/drawing/2014/main" id="{F5635689-D988-02D8-6555-528DE3079BD6}"/>
              </a:ext>
            </a:extLst>
          </p:cNvPr>
          <p:cNvSpPr>
            <a:spLocks noGrp="1"/>
          </p:cNvSpPr>
          <p:nvPr>
            <p:ph type="body" sz="quarter" idx="16" hasCustomPrompt="1"/>
          </p:nvPr>
        </p:nvSpPr>
        <p:spPr>
          <a:xfrm>
            <a:off x="5955925" y="3381028"/>
            <a:ext cx="2665567" cy="308581"/>
          </a:xfrm>
        </p:spPr>
        <p:txBody>
          <a:bodyPr anchor="ctr" anchorCtr="0"/>
          <a:lstStyle>
            <a:lvl1pPr marL="0" indent="0" algn="l" rtl="0">
              <a:lnSpc>
                <a:spcPct val="110000"/>
              </a:lnSpc>
              <a:buNone/>
              <a:defRPr sz="1600" b="0" i="0" spc="300">
                <a:solidFill>
                  <a:schemeClr val="accent2"/>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4 TITLE</a:t>
            </a:r>
          </a:p>
        </p:txBody>
      </p:sp>
      <p:sp>
        <p:nvSpPr>
          <p:cNvPr id="21" name="Marcador de texto 41">
            <a:extLst>
              <a:ext uri="{FF2B5EF4-FFF2-40B4-BE49-F238E27FC236}">
                <a16:creationId xmlns:a16="http://schemas.microsoft.com/office/drawing/2014/main" id="{205BB43C-1CFA-C7C8-E4B9-2F11A604A33A}"/>
              </a:ext>
            </a:extLst>
          </p:cNvPr>
          <p:cNvSpPr>
            <a:spLocks noGrp="1"/>
          </p:cNvSpPr>
          <p:nvPr>
            <p:ph type="body" sz="quarter" idx="17" hasCustomPrompt="1"/>
          </p:nvPr>
        </p:nvSpPr>
        <p:spPr>
          <a:xfrm>
            <a:off x="5943297" y="763009"/>
            <a:ext cx="2665567" cy="296114"/>
          </a:xfrm>
        </p:spPr>
        <p:txBody>
          <a:bodyPr anchor="ctr" anchorCtr="0"/>
          <a:lstStyle>
            <a:lvl1pPr marL="0" indent="0" algn="l" rtl="0">
              <a:lnSpc>
                <a:spcPct val="110000"/>
              </a:lnSpc>
              <a:buNone/>
              <a:defRPr sz="1600" b="0" i="0" spc="300">
                <a:solidFill>
                  <a:schemeClr val="accent2"/>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2 TITLE</a:t>
            </a:r>
          </a:p>
        </p:txBody>
      </p:sp>
      <p:sp>
        <p:nvSpPr>
          <p:cNvPr id="22" name="Marcador de texto 36">
            <a:extLst>
              <a:ext uri="{FF2B5EF4-FFF2-40B4-BE49-F238E27FC236}">
                <a16:creationId xmlns:a16="http://schemas.microsoft.com/office/drawing/2014/main" id="{A46737A8-D64C-CB97-633D-36428E353E77}"/>
              </a:ext>
            </a:extLst>
          </p:cNvPr>
          <p:cNvSpPr>
            <a:spLocks noGrp="1"/>
          </p:cNvSpPr>
          <p:nvPr>
            <p:ph type="body" sz="quarter" idx="22" hasCustomPrompt="1"/>
          </p:nvPr>
        </p:nvSpPr>
        <p:spPr>
          <a:xfrm>
            <a:off x="1256998" y="1130706"/>
            <a:ext cx="2386212" cy="396782"/>
          </a:xfrm>
        </p:spPr>
        <p:txBody>
          <a:bodyPr/>
          <a:lstStyle>
            <a:lvl1pPr marL="0" indent="0" algn="l" rtl="0">
              <a:lnSpc>
                <a:spcPct val="100000"/>
              </a:lnSpc>
              <a:buNone/>
              <a:defRPr sz="140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3" name="Marcador de texto 36">
            <a:extLst>
              <a:ext uri="{FF2B5EF4-FFF2-40B4-BE49-F238E27FC236}">
                <a16:creationId xmlns:a16="http://schemas.microsoft.com/office/drawing/2014/main" id="{7A351227-10D9-972F-F7FB-A964532CE03F}"/>
              </a:ext>
            </a:extLst>
          </p:cNvPr>
          <p:cNvSpPr>
            <a:spLocks noGrp="1"/>
          </p:cNvSpPr>
          <p:nvPr>
            <p:ph type="body" sz="quarter" idx="23" hasCustomPrompt="1"/>
          </p:nvPr>
        </p:nvSpPr>
        <p:spPr>
          <a:xfrm>
            <a:off x="5943298" y="1118006"/>
            <a:ext cx="2386212" cy="396782"/>
          </a:xfrm>
        </p:spPr>
        <p:txBody>
          <a:bodyPr/>
          <a:lstStyle>
            <a:lvl1pPr marL="0" indent="0" algn="l" rtl="0">
              <a:lnSpc>
                <a:spcPct val="100000"/>
              </a:lnSpc>
              <a:buNone/>
              <a:defRPr sz="140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4" name="Marcador de texto 36">
            <a:extLst>
              <a:ext uri="{FF2B5EF4-FFF2-40B4-BE49-F238E27FC236}">
                <a16:creationId xmlns:a16="http://schemas.microsoft.com/office/drawing/2014/main" id="{AA0E4636-B76D-2571-F886-A73A284B50DF}"/>
              </a:ext>
            </a:extLst>
          </p:cNvPr>
          <p:cNvSpPr>
            <a:spLocks noGrp="1"/>
          </p:cNvSpPr>
          <p:nvPr>
            <p:ph type="body" sz="quarter" idx="24" hasCustomPrompt="1"/>
          </p:nvPr>
        </p:nvSpPr>
        <p:spPr>
          <a:xfrm>
            <a:off x="5952263" y="3759606"/>
            <a:ext cx="2386212" cy="396782"/>
          </a:xfrm>
        </p:spPr>
        <p:txBody>
          <a:bodyPr/>
          <a:lstStyle>
            <a:lvl1pPr marL="0" indent="0" algn="l" rtl="0">
              <a:lnSpc>
                <a:spcPct val="100000"/>
              </a:lnSpc>
              <a:buNone/>
              <a:defRPr sz="140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5" name="Marcador de texto 36">
            <a:extLst>
              <a:ext uri="{FF2B5EF4-FFF2-40B4-BE49-F238E27FC236}">
                <a16:creationId xmlns:a16="http://schemas.microsoft.com/office/drawing/2014/main" id="{06E9B65D-A183-369E-0A37-56AA280783C9}"/>
              </a:ext>
            </a:extLst>
          </p:cNvPr>
          <p:cNvSpPr>
            <a:spLocks noGrp="1"/>
          </p:cNvSpPr>
          <p:nvPr>
            <p:ph type="body" sz="quarter" idx="25" hasCustomPrompt="1"/>
          </p:nvPr>
        </p:nvSpPr>
        <p:spPr>
          <a:xfrm>
            <a:off x="1246524" y="3759606"/>
            <a:ext cx="2386212" cy="396782"/>
          </a:xfrm>
        </p:spPr>
        <p:txBody>
          <a:bodyPr/>
          <a:lstStyle>
            <a:lvl1pPr marL="0" indent="0" algn="l" rtl="0">
              <a:lnSpc>
                <a:spcPct val="100000"/>
              </a:lnSpc>
              <a:buNone/>
              <a:defRPr sz="140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6" name="Marcador de texto 45">
            <a:extLst>
              <a:ext uri="{FF2B5EF4-FFF2-40B4-BE49-F238E27FC236}">
                <a16:creationId xmlns:a16="http://schemas.microsoft.com/office/drawing/2014/main" id="{2D61730E-D32C-8838-0D6B-5EEA5F7B3E27}"/>
              </a:ext>
            </a:extLst>
          </p:cNvPr>
          <p:cNvSpPr>
            <a:spLocks noGrp="1"/>
          </p:cNvSpPr>
          <p:nvPr>
            <p:ph type="body" sz="quarter" idx="26" hasCustomPrompt="1"/>
          </p:nvPr>
        </p:nvSpPr>
        <p:spPr>
          <a:xfrm>
            <a:off x="1305329" y="4357696"/>
            <a:ext cx="672573" cy="186534"/>
          </a:xfrm>
        </p:spPr>
        <p:txBody>
          <a:bodyPr anchor="ctr" anchorCtr="0"/>
          <a:lstStyle>
            <a:lvl1pPr marL="0" indent="0" algn="ctr" rtl="0">
              <a:buNone/>
              <a:defRPr sz="700" spc="300">
                <a:solidFill>
                  <a:schemeClr val="bg1"/>
                </a:solidFill>
              </a:defRPr>
            </a:lvl1pPr>
          </a:lstStyle>
          <a:p>
            <a:pPr lvl="0"/>
            <a:r>
              <a:rPr lang="en-US"/>
              <a:t>PAGE #</a:t>
            </a:r>
          </a:p>
        </p:txBody>
      </p:sp>
      <p:sp>
        <p:nvSpPr>
          <p:cNvPr id="27" name="Marcador de texto 45">
            <a:extLst>
              <a:ext uri="{FF2B5EF4-FFF2-40B4-BE49-F238E27FC236}">
                <a16:creationId xmlns:a16="http://schemas.microsoft.com/office/drawing/2014/main" id="{0122D83A-022C-D5C0-B8FE-6CF3629D4F5B}"/>
              </a:ext>
            </a:extLst>
          </p:cNvPr>
          <p:cNvSpPr>
            <a:spLocks noGrp="1"/>
          </p:cNvSpPr>
          <p:nvPr>
            <p:ph type="body" sz="quarter" idx="27" hasCustomPrompt="1"/>
          </p:nvPr>
        </p:nvSpPr>
        <p:spPr>
          <a:xfrm>
            <a:off x="1316612" y="1756348"/>
            <a:ext cx="672573" cy="186534"/>
          </a:xfrm>
        </p:spPr>
        <p:txBody>
          <a:bodyPr anchor="ctr" anchorCtr="0"/>
          <a:lstStyle>
            <a:lvl1pPr marL="0" indent="0" algn="ctr" rtl="0">
              <a:buNone/>
              <a:defRPr sz="700" spc="300">
                <a:solidFill>
                  <a:schemeClr val="bg1"/>
                </a:solidFill>
              </a:defRPr>
            </a:lvl1pPr>
          </a:lstStyle>
          <a:p>
            <a:pPr lvl="0"/>
            <a:r>
              <a:rPr lang="en-US"/>
              <a:t>PAGE #</a:t>
            </a:r>
          </a:p>
        </p:txBody>
      </p:sp>
      <p:sp>
        <p:nvSpPr>
          <p:cNvPr id="28" name="Marcador de texto 45">
            <a:extLst>
              <a:ext uri="{FF2B5EF4-FFF2-40B4-BE49-F238E27FC236}">
                <a16:creationId xmlns:a16="http://schemas.microsoft.com/office/drawing/2014/main" id="{6882BFC7-A115-BB91-D581-662C0F4D3EF4}"/>
              </a:ext>
            </a:extLst>
          </p:cNvPr>
          <p:cNvSpPr>
            <a:spLocks noGrp="1"/>
          </p:cNvSpPr>
          <p:nvPr>
            <p:ph type="body" sz="quarter" idx="28" hasCustomPrompt="1"/>
          </p:nvPr>
        </p:nvSpPr>
        <p:spPr>
          <a:xfrm>
            <a:off x="6015540" y="1760993"/>
            <a:ext cx="672573" cy="186534"/>
          </a:xfrm>
        </p:spPr>
        <p:txBody>
          <a:bodyPr anchor="ctr" anchorCtr="0"/>
          <a:lstStyle>
            <a:lvl1pPr marL="0" indent="0" algn="ctr" rtl="0">
              <a:buNone/>
              <a:defRPr sz="700" spc="300">
                <a:solidFill>
                  <a:schemeClr val="bg1"/>
                </a:solidFill>
              </a:defRPr>
            </a:lvl1pPr>
          </a:lstStyle>
          <a:p>
            <a:pPr lvl="0"/>
            <a:r>
              <a:rPr lang="en-US"/>
              <a:t>PAGE #</a:t>
            </a:r>
          </a:p>
        </p:txBody>
      </p:sp>
      <p:sp>
        <p:nvSpPr>
          <p:cNvPr id="29" name="Marcador de texto 45">
            <a:extLst>
              <a:ext uri="{FF2B5EF4-FFF2-40B4-BE49-F238E27FC236}">
                <a16:creationId xmlns:a16="http://schemas.microsoft.com/office/drawing/2014/main" id="{2A0884E8-24E0-9C13-329B-D347A58E164A}"/>
              </a:ext>
            </a:extLst>
          </p:cNvPr>
          <p:cNvSpPr>
            <a:spLocks noGrp="1"/>
          </p:cNvSpPr>
          <p:nvPr>
            <p:ph type="body" sz="quarter" idx="29" hasCustomPrompt="1"/>
          </p:nvPr>
        </p:nvSpPr>
        <p:spPr>
          <a:xfrm>
            <a:off x="6015540" y="4380491"/>
            <a:ext cx="672573" cy="186534"/>
          </a:xfrm>
        </p:spPr>
        <p:txBody>
          <a:bodyPr anchor="ctr" anchorCtr="0"/>
          <a:lstStyle>
            <a:lvl1pPr marL="0" indent="0" algn="ctr" rtl="0">
              <a:buNone/>
              <a:defRPr sz="700" spc="300">
                <a:solidFill>
                  <a:schemeClr val="bg1"/>
                </a:solidFill>
              </a:defRPr>
            </a:lvl1pPr>
          </a:lstStyle>
          <a:p>
            <a:pPr lvl="0"/>
            <a:r>
              <a:rPr lang="en-US"/>
              <a:t>PAGE #</a:t>
            </a:r>
          </a:p>
        </p:txBody>
      </p:sp>
      <p:sp>
        <p:nvSpPr>
          <p:cNvPr id="3" name="Text Placeholder 6">
            <a:extLst>
              <a:ext uri="{FF2B5EF4-FFF2-40B4-BE49-F238E27FC236}">
                <a16:creationId xmlns:a16="http://schemas.microsoft.com/office/drawing/2014/main" id="{98D3749F-C16A-29CC-0A8B-CB4EDFB2D7E9}"/>
              </a:ext>
            </a:extLst>
          </p:cNvPr>
          <p:cNvSpPr>
            <a:spLocks noGrp="1"/>
          </p:cNvSpPr>
          <p:nvPr>
            <p:ph type="body" sz="quarter" idx="34" hasCustomPrompt="1"/>
          </p:nvPr>
        </p:nvSpPr>
        <p:spPr>
          <a:xfrm>
            <a:off x="404562" y="763009"/>
            <a:ext cx="475488" cy="475488"/>
          </a:xfrm>
          <a:prstGeom prst="ellipse">
            <a:avLst/>
          </a:prstGeom>
          <a:solidFill>
            <a:srgbClr val="7CB1A9"/>
          </a:solidFill>
        </p:spPr>
        <p:txBody>
          <a:bodyPr anchor="ctr"/>
          <a:lstStyle>
            <a:lvl1pPr marL="0" indent="0" algn="ctr" rtl="0">
              <a:buNone/>
              <a:defRPr sz="1400" b="0" i="0">
                <a:solidFill>
                  <a:schemeClr val="bg1"/>
                </a:solidFill>
                <a:latin typeface="Lato Medium" panose="020F0502020204030203" pitchFamily="34" charset="77"/>
              </a:defRPr>
            </a:lvl1pPr>
          </a:lstStyle>
          <a:p>
            <a:pPr lvl="0"/>
            <a:r>
              <a:rPr lang="en-US"/>
              <a:t>#</a:t>
            </a:r>
          </a:p>
        </p:txBody>
      </p:sp>
      <p:sp>
        <p:nvSpPr>
          <p:cNvPr id="34" name="Text Placeholder 6">
            <a:extLst>
              <a:ext uri="{FF2B5EF4-FFF2-40B4-BE49-F238E27FC236}">
                <a16:creationId xmlns:a16="http://schemas.microsoft.com/office/drawing/2014/main" id="{EDDCF048-42C6-031B-EA89-96A0BC7F7DA4}"/>
              </a:ext>
            </a:extLst>
          </p:cNvPr>
          <p:cNvSpPr>
            <a:spLocks noGrp="1"/>
          </p:cNvSpPr>
          <p:nvPr>
            <p:ph type="body" sz="quarter" idx="35" hasCustomPrompt="1"/>
          </p:nvPr>
        </p:nvSpPr>
        <p:spPr>
          <a:xfrm>
            <a:off x="5072235" y="763009"/>
            <a:ext cx="475488" cy="475488"/>
          </a:xfrm>
          <a:prstGeom prst="ellipse">
            <a:avLst/>
          </a:prstGeom>
          <a:solidFill>
            <a:srgbClr val="7CB1A9"/>
          </a:solidFill>
        </p:spPr>
        <p:txBody>
          <a:bodyPr anchor="ctr"/>
          <a:lstStyle>
            <a:lvl1pPr marL="0" indent="0" algn="ctr" rtl="0">
              <a:buNone/>
              <a:defRPr sz="1400" b="0" i="0">
                <a:solidFill>
                  <a:schemeClr val="bg1"/>
                </a:solidFill>
                <a:latin typeface="Lato Medium" panose="020F0502020204030203" pitchFamily="34" charset="77"/>
              </a:defRPr>
            </a:lvl1pPr>
          </a:lstStyle>
          <a:p>
            <a:pPr lvl="0"/>
            <a:r>
              <a:rPr lang="en-US"/>
              <a:t>#</a:t>
            </a:r>
          </a:p>
        </p:txBody>
      </p:sp>
      <p:sp>
        <p:nvSpPr>
          <p:cNvPr id="35" name="Text Placeholder 6">
            <a:extLst>
              <a:ext uri="{FF2B5EF4-FFF2-40B4-BE49-F238E27FC236}">
                <a16:creationId xmlns:a16="http://schemas.microsoft.com/office/drawing/2014/main" id="{BE0FF98D-8907-7C8F-9B2A-049112D2A350}"/>
              </a:ext>
            </a:extLst>
          </p:cNvPr>
          <p:cNvSpPr>
            <a:spLocks noGrp="1"/>
          </p:cNvSpPr>
          <p:nvPr>
            <p:ph type="body" sz="quarter" idx="36" hasCustomPrompt="1"/>
          </p:nvPr>
        </p:nvSpPr>
        <p:spPr>
          <a:xfrm>
            <a:off x="404562" y="3387070"/>
            <a:ext cx="475488" cy="475488"/>
          </a:xfrm>
          <a:prstGeom prst="ellipse">
            <a:avLst/>
          </a:prstGeom>
          <a:solidFill>
            <a:srgbClr val="7CB1A9"/>
          </a:solidFill>
        </p:spPr>
        <p:txBody>
          <a:bodyPr anchor="ctr"/>
          <a:lstStyle>
            <a:lvl1pPr marL="0" indent="0" algn="ctr" rtl="0">
              <a:buNone/>
              <a:defRPr sz="1400" b="0" i="0">
                <a:solidFill>
                  <a:schemeClr val="bg1"/>
                </a:solidFill>
                <a:latin typeface="Lato Medium" panose="020F0502020204030203" pitchFamily="34" charset="77"/>
              </a:defRPr>
            </a:lvl1pPr>
          </a:lstStyle>
          <a:p>
            <a:pPr lvl="0"/>
            <a:r>
              <a:rPr lang="en-US"/>
              <a:t>#</a:t>
            </a:r>
          </a:p>
        </p:txBody>
      </p:sp>
      <p:sp>
        <p:nvSpPr>
          <p:cNvPr id="36" name="Text Placeholder 6">
            <a:extLst>
              <a:ext uri="{FF2B5EF4-FFF2-40B4-BE49-F238E27FC236}">
                <a16:creationId xmlns:a16="http://schemas.microsoft.com/office/drawing/2014/main" id="{2AFE0C5B-23F7-B8F7-0919-09C15B62F0D0}"/>
              </a:ext>
            </a:extLst>
          </p:cNvPr>
          <p:cNvSpPr>
            <a:spLocks noGrp="1"/>
          </p:cNvSpPr>
          <p:nvPr>
            <p:ph type="body" sz="quarter" idx="37" hasCustomPrompt="1"/>
          </p:nvPr>
        </p:nvSpPr>
        <p:spPr>
          <a:xfrm>
            <a:off x="5072235" y="3381028"/>
            <a:ext cx="475488" cy="475488"/>
          </a:xfrm>
          <a:prstGeom prst="ellipse">
            <a:avLst/>
          </a:prstGeom>
          <a:solidFill>
            <a:srgbClr val="7CB1A9"/>
          </a:solidFill>
        </p:spPr>
        <p:txBody>
          <a:bodyPr anchor="ctr"/>
          <a:lstStyle>
            <a:lvl1pPr marL="0" indent="0" algn="ctr" rtl="0">
              <a:buNone/>
              <a:defRPr sz="1400" b="0" i="0">
                <a:solidFill>
                  <a:schemeClr val="bg1"/>
                </a:solidFill>
                <a:latin typeface="Lato Medium" panose="020F0502020204030203" pitchFamily="34" charset="77"/>
              </a:defRPr>
            </a:lvl1pPr>
          </a:lstStyle>
          <a:p>
            <a:pPr lvl="0"/>
            <a:r>
              <a:rPr lang="en-US"/>
              <a:t>#</a:t>
            </a:r>
          </a:p>
        </p:txBody>
      </p:sp>
    </p:spTree>
    <p:extLst>
      <p:ext uri="{BB962C8B-B14F-4D97-AF65-F5344CB8AC3E}">
        <p14:creationId xmlns:p14="http://schemas.microsoft.com/office/powerpoint/2010/main" val="42885906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ld five-part ToC">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150783C-4E75-13D4-A37C-E2407BAD324D}"/>
              </a:ext>
            </a:extLst>
          </p:cNvPr>
          <p:cNvGraphicFramePr>
            <a:graphicFrameLocks noChangeAspect="1"/>
          </p:cNvGraphicFramePr>
          <p:nvPr userDrawn="1">
            <p:custDataLst>
              <p:tags r:id="rId1"/>
            </p:custDataLst>
            <p:extLst>
              <p:ext uri="{D42A27DB-BD31-4B8C-83A1-F6EECF244321}">
                <p14:modId xmlns:p14="http://schemas.microsoft.com/office/powerpoint/2010/main" val="3961644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1150783C-4E75-13D4-A37C-E2407BAD32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Google Shape;126;p4">
            <a:extLst>
              <a:ext uri="{FF2B5EF4-FFF2-40B4-BE49-F238E27FC236}">
                <a16:creationId xmlns:a16="http://schemas.microsoft.com/office/drawing/2014/main" id="{17B70467-D2EB-7102-AC00-7CAABF1DFB3F}"/>
              </a:ext>
            </a:extLst>
          </p:cNvPr>
          <p:cNvSpPr/>
          <p:nvPr userDrawn="1"/>
        </p:nvSpPr>
        <p:spPr>
          <a:xfrm rot="10800000">
            <a:off x="-9528" y="3073440"/>
            <a:ext cx="9166986" cy="1067704"/>
          </a:xfrm>
          <a:prstGeom prst="rect">
            <a:avLst/>
          </a:prstGeom>
          <a:solidFill>
            <a:schemeClr val="bg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1050" b="0" i="0" u="none" strike="noStrike" cap="none">
              <a:solidFill>
                <a:srgbClr val="000000"/>
              </a:solidFill>
              <a:latin typeface="Arial"/>
              <a:ea typeface="Arial"/>
              <a:cs typeface="Arial"/>
              <a:sym typeface="Arial"/>
            </a:endParaRPr>
          </a:p>
        </p:txBody>
      </p:sp>
      <p:sp>
        <p:nvSpPr>
          <p:cNvPr id="5" name="Google Shape;126;p4">
            <a:extLst>
              <a:ext uri="{FF2B5EF4-FFF2-40B4-BE49-F238E27FC236}">
                <a16:creationId xmlns:a16="http://schemas.microsoft.com/office/drawing/2014/main" id="{5945ED40-4402-5CDC-B62F-EEE1E096546B}"/>
              </a:ext>
            </a:extLst>
          </p:cNvPr>
          <p:cNvSpPr/>
          <p:nvPr userDrawn="1"/>
        </p:nvSpPr>
        <p:spPr>
          <a:xfrm rot="10800000">
            <a:off x="-9528" y="976784"/>
            <a:ext cx="9166986" cy="1065396"/>
          </a:xfrm>
          <a:prstGeom prst="rect">
            <a:avLst/>
          </a:prstGeom>
          <a:solidFill>
            <a:schemeClr val="bg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1050" b="0" i="0" u="none" strike="noStrike" cap="none">
              <a:solidFill>
                <a:srgbClr val="000000"/>
              </a:solidFill>
              <a:latin typeface="Arial"/>
              <a:ea typeface="Arial"/>
              <a:cs typeface="Arial"/>
              <a:sym typeface="Arial"/>
            </a:endParaRPr>
          </a:p>
        </p:txBody>
      </p:sp>
      <p:sp>
        <p:nvSpPr>
          <p:cNvPr id="6" name="Google Shape;127;p4">
            <a:extLst>
              <a:ext uri="{FF2B5EF4-FFF2-40B4-BE49-F238E27FC236}">
                <a16:creationId xmlns:a16="http://schemas.microsoft.com/office/drawing/2014/main" id="{79FA9356-B6B6-CB75-9260-8AC4BE09BC2A}"/>
              </a:ext>
            </a:extLst>
          </p:cNvPr>
          <p:cNvSpPr/>
          <p:nvPr userDrawn="1"/>
        </p:nvSpPr>
        <p:spPr>
          <a:xfrm>
            <a:off x="-9526" y="-13447"/>
            <a:ext cx="9166985" cy="1002030"/>
          </a:xfrm>
          <a:prstGeom prst="rect">
            <a:avLst/>
          </a:prstGeom>
          <a:solidFill>
            <a:schemeClr val="accent6">
              <a:lumMod val="20000"/>
              <a:lumOff val="80000"/>
            </a:scheme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600" b="0" i="0" u="none" strike="noStrike" cap="none">
              <a:solidFill>
                <a:srgbClr val="000000"/>
              </a:solidFill>
              <a:latin typeface="Arial"/>
              <a:ea typeface="Arial"/>
              <a:cs typeface="Arial"/>
              <a:sym typeface="Arial"/>
            </a:endParaRPr>
          </a:p>
        </p:txBody>
      </p:sp>
      <p:sp>
        <p:nvSpPr>
          <p:cNvPr id="7" name="Google Shape;130;p4">
            <a:extLst>
              <a:ext uri="{FF2B5EF4-FFF2-40B4-BE49-F238E27FC236}">
                <a16:creationId xmlns:a16="http://schemas.microsoft.com/office/drawing/2014/main" id="{9E8874B0-AC8E-CF74-84B3-8801BAC37BCC}"/>
              </a:ext>
            </a:extLst>
          </p:cNvPr>
          <p:cNvSpPr/>
          <p:nvPr userDrawn="1"/>
        </p:nvSpPr>
        <p:spPr>
          <a:xfrm>
            <a:off x="-9526" y="4137309"/>
            <a:ext cx="9166986" cy="1023728"/>
          </a:xfrm>
          <a:prstGeom prst="rect">
            <a:avLst/>
          </a:prstGeom>
          <a:solidFill>
            <a:schemeClr val="accent6">
              <a:lumMod val="20000"/>
              <a:lumOff val="80000"/>
            </a:scheme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1050" b="0" i="0" u="none" strike="noStrike" cap="none">
              <a:solidFill>
                <a:srgbClr val="000000"/>
              </a:solidFill>
              <a:latin typeface="Arial"/>
              <a:ea typeface="Lato Medium" panose="020F0502020204030203" pitchFamily="34" charset="0"/>
              <a:cs typeface="Arial"/>
              <a:sym typeface="Arial"/>
            </a:endParaRPr>
          </a:p>
        </p:txBody>
      </p:sp>
      <p:sp>
        <p:nvSpPr>
          <p:cNvPr id="8" name="Google Shape;130;p4">
            <a:extLst>
              <a:ext uri="{FF2B5EF4-FFF2-40B4-BE49-F238E27FC236}">
                <a16:creationId xmlns:a16="http://schemas.microsoft.com/office/drawing/2014/main" id="{8704B557-F141-98F2-D340-344E406EB4C6}"/>
              </a:ext>
            </a:extLst>
          </p:cNvPr>
          <p:cNvSpPr/>
          <p:nvPr userDrawn="1"/>
        </p:nvSpPr>
        <p:spPr>
          <a:xfrm>
            <a:off x="-9539" y="2039215"/>
            <a:ext cx="9166985" cy="1048114"/>
          </a:xfrm>
          <a:prstGeom prst="rect">
            <a:avLst/>
          </a:prstGeom>
          <a:solidFill>
            <a:schemeClr val="accent6">
              <a:lumMod val="20000"/>
              <a:lumOff val="80000"/>
            </a:scheme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1050" b="0" i="0" u="none" strike="noStrike" cap="none">
              <a:solidFill>
                <a:srgbClr val="000000"/>
              </a:solidFill>
              <a:latin typeface="Arial"/>
              <a:ea typeface="Arial"/>
              <a:cs typeface="Arial"/>
              <a:sym typeface="Arial"/>
            </a:endParaRPr>
          </a:p>
        </p:txBody>
      </p:sp>
      <p:sp>
        <p:nvSpPr>
          <p:cNvPr id="19" name="Marcador de texto 43">
            <a:extLst>
              <a:ext uri="{FF2B5EF4-FFF2-40B4-BE49-F238E27FC236}">
                <a16:creationId xmlns:a16="http://schemas.microsoft.com/office/drawing/2014/main" id="{96078E1C-9FC6-D804-8C1C-11BC6386F2C7}"/>
              </a:ext>
            </a:extLst>
          </p:cNvPr>
          <p:cNvSpPr>
            <a:spLocks noGrp="1"/>
          </p:cNvSpPr>
          <p:nvPr>
            <p:ph type="body" sz="quarter" idx="15" hasCustomPrompt="1"/>
          </p:nvPr>
        </p:nvSpPr>
        <p:spPr>
          <a:xfrm>
            <a:off x="4469712" y="1244370"/>
            <a:ext cx="2240892" cy="530225"/>
          </a:xfrm>
        </p:spPr>
        <p:txBody>
          <a:bodyPr anchor="ctr" anchorCtr="0"/>
          <a:lstStyle>
            <a:lvl1pPr marL="0" indent="0" rtl="0">
              <a:buNone/>
              <a:defRPr sz="1400" b="0" i="1">
                <a:solidFill>
                  <a:schemeClr val="tx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0" name="Marcador de texto 41">
            <a:extLst>
              <a:ext uri="{FF2B5EF4-FFF2-40B4-BE49-F238E27FC236}">
                <a16:creationId xmlns:a16="http://schemas.microsoft.com/office/drawing/2014/main" id="{5DC49C50-550B-8878-80F4-9758333C7A6A}"/>
              </a:ext>
            </a:extLst>
          </p:cNvPr>
          <p:cNvSpPr>
            <a:spLocks noGrp="1"/>
          </p:cNvSpPr>
          <p:nvPr>
            <p:ph type="body" sz="quarter" idx="14" hasCustomPrompt="1"/>
          </p:nvPr>
        </p:nvSpPr>
        <p:spPr>
          <a:xfrm>
            <a:off x="1068917" y="1410295"/>
            <a:ext cx="2865792" cy="198374"/>
          </a:xfrm>
        </p:spPr>
        <p:txBody>
          <a:bodyPr anchor="ctr" anchorCtr="0"/>
          <a:lstStyle>
            <a:lvl1pPr marL="0" indent="0" rtl="0">
              <a:buNone/>
              <a:defRPr sz="1600" b="1" i="0" spc="300">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lvl="0"/>
            <a:r>
              <a:rPr lang="en-US"/>
              <a:t>SECTION O2 TITLE</a:t>
            </a:r>
          </a:p>
        </p:txBody>
      </p:sp>
      <p:sp>
        <p:nvSpPr>
          <p:cNvPr id="22" name="Marcador de texto 43">
            <a:extLst>
              <a:ext uri="{FF2B5EF4-FFF2-40B4-BE49-F238E27FC236}">
                <a16:creationId xmlns:a16="http://schemas.microsoft.com/office/drawing/2014/main" id="{C09DCC2D-6500-AD5C-8A5B-D08A2BF86BD2}"/>
              </a:ext>
            </a:extLst>
          </p:cNvPr>
          <p:cNvSpPr>
            <a:spLocks noGrp="1"/>
          </p:cNvSpPr>
          <p:nvPr>
            <p:ph type="body" sz="quarter" idx="17" hasCustomPrompt="1"/>
          </p:nvPr>
        </p:nvSpPr>
        <p:spPr>
          <a:xfrm>
            <a:off x="4451239" y="222456"/>
            <a:ext cx="2240892" cy="530225"/>
          </a:xfrm>
        </p:spPr>
        <p:txBody>
          <a:bodyPr anchor="ctr" anchorCtr="0"/>
          <a:lstStyle>
            <a:lvl1pPr marL="0" indent="0" rtl="0">
              <a:buNone/>
              <a:defRPr sz="1400" b="0" i="1">
                <a:solidFill>
                  <a:schemeClr val="tx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3" name="Marcador de texto 41">
            <a:extLst>
              <a:ext uri="{FF2B5EF4-FFF2-40B4-BE49-F238E27FC236}">
                <a16:creationId xmlns:a16="http://schemas.microsoft.com/office/drawing/2014/main" id="{21F3901B-A532-3584-FDD3-35B912BD14A9}"/>
              </a:ext>
            </a:extLst>
          </p:cNvPr>
          <p:cNvSpPr>
            <a:spLocks noGrp="1"/>
          </p:cNvSpPr>
          <p:nvPr>
            <p:ph type="body" sz="quarter" idx="18" hasCustomPrompt="1"/>
          </p:nvPr>
        </p:nvSpPr>
        <p:spPr>
          <a:xfrm>
            <a:off x="1068917" y="388381"/>
            <a:ext cx="2865792" cy="198374"/>
          </a:xfrm>
        </p:spPr>
        <p:txBody>
          <a:bodyPr anchor="ctr" anchorCtr="0"/>
          <a:lstStyle>
            <a:lvl1pPr marL="0" indent="0" rtl="0">
              <a:buNone/>
              <a:defRPr sz="1600" b="1" i="0" spc="300">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lvl="0"/>
            <a:r>
              <a:rPr lang="en-US"/>
              <a:t>SECTION O1 TITLE</a:t>
            </a:r>
          </a:p>
        </p:txBody>
      </p:sp>
      <p:sp>
        <p:nvSpPr>
          <p:cNvPr id="24" name="Marcador de texto 41">
            <a:extLst>
              <a:ext uri="{FF2B5EF4-FFF2-40B4-BE49-F238E27FC236}">
                <a16:creationId xmlns:a16="http://schemas.microsoft.com/office/drawing/2014/main" id="{D4EE7D35-218A-072F-A7F0-E7C75CEBB468}"/>
              </a:ext>
            </a:extLst>
          </p:cNvPr>
          <p:cNvSpPr>
            <a:spLocks noGrp="1"/>
          </p:cNvSpPr>
          <p:nvPr>
            <p:ph type="body" sz="quarter" idx="19" hasCustomPrompt="1"/>
          </p:nvPr>
        </p:nvSpPr>
        <p:spPr>
          <a:xfrm>
            <a:off x="1068917" y="2464085"/>
            <a:ext cx="2865792" cy="198374"/>
          </a:xfrm>
        </p:spPr>
        <p:txBody>
          <a:bodyPr anchor="ctr" anchorCtr="0"/>
          <a:lstStyle>
            <a:lvl1pPr marL="0" indent="0" rtl="0">
              <a:buNone/>
              <a:defRPr sz="1600" b="1" i="0" spc="300">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lvl="0"/>
            <a:r>
              <a:rPr lang="en-US"/>
              <a:t>SECTION O3 TITLE</a:t>
            </a:r>
          </a:p>
        </p:txBody>
      </p:sp>
      <p:sp>
        <p:nvSpPr>
          <p:cNvPr id="25" name="Marcador de texto 41">
            <a:extLst>
              <a:ext uri="{FF2B5EF4-FFF2-40B4-BE49-F238E27FC236}">
                <a16:creationId xmlns:a16="http://schemas.microsoft.com/office/drawing/2014/main" id="{A60D78DC-A290-5AB3-6DFC-0C395F404CFB}"/>
              </a:ext>
            </a:extLst>
          </p:cNvPr>
          <p:cNvSpPr>
            <a:spLocks noGrp="1"/>
          </p:cNvSpPr>
          <p:nvPr>
            <p:ph type="body" sz="quarter" idx="20" hasCustomPrompt="1"/>
          </p:nvPr>
        </p:nvSpPr>
        <p:spPr>
          <a:xfrm>
            <a:off x="1068917" y="3508105"/>
            <a:ext cx="2865792" cy="198374"/>
          </a:xfrm>
        </p:spPr>
        <p:txBody>
          <a:bodyPr anchor="ctr" anchorCtr="0"/>
          <a:lstStyle>
            <a:lvl1pPr marL="0" indent="0" rtl="0">
              <a:buNone/>
              <a:defRPr sz="1600" b="1" i="0" spc="300">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lvl="0"/>
            <a:r>
              <a:rPr lang="en-US"/>
              <a:t>SECTION O4 TITLE</a:t>
            </a:r>
          </a:p>
        </p:txBody>
      </p:sp>
      <p:sp>
        <p:nvSpPr>
          <p:cNvPr id="26" name="Marcador de texto 41">
            <a:extLst>
              <a:ext uri="{FF2B5EF4-FFF2-40B4-BE49-F238E27FC236}">
                <a16:creationId xmlns:a16="http://schemas.microsoft.com/office/drawing/2014/main" id="{2FF59E6B-8705-3AB0-B428-6BD45FFDD86C}"/>
              </a:ext>
            </a:extLst>
          </p:cNvPr>
          <p:cNvSpPr>
            <a:spLocks noGrp="1"/>
          </p:cNvSpPr>
          <p:nvPr>
            <p:ph type="body" sz="quarter" idx="21" hasCustomPrompt="1"/>
          </p:nvPr>
        </p:nvSpPr>
        <p:spPr>
          <a:xfrm>
            <a:off x="1068917" y="4549986"/>
            <a:ext cx="2865792" cy="198374"/>
          </a:xfrm>
        </p:spPr>
        <p:txBody>
          <a:bodyPr anchor="ctr" anchorCtr="0"/>
          <a:lstStyle>
            <a:lvl1pPr marL="0" indent="0" rtl="0">
              <a:buNone/>
              <a:defRPr sz="1600" b="1" i="0" spc="300">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lvl="0"/>
            <a:r>
              <a:rPr lang="en-US"/>
              <a:t>SECTION O5 TITLE</a:t>
            </a:r>
          </a:p>
        </p:txBody>
      </p:sp>
      <p:sp>
        <p:nvSpPr>
          <p:cNvPr id="27" name="Marcador de texto 43">
            <a:extLst>
              <a:ext uri="{FF2B5EF4-FFF2-40B4-BE49-F238E27FC236}">
                <a16:creationId xmlns:a16="http://schemas.microsoft.com/office/drawing/2014/main" id="{CD00BF70-3302-3A42-0E43-D5A199D38860}"/>
              </a:ext>
            </a:extLst>
          </p:cNvPr>
          <p:cNvSpPr>
            <a:spLocks noGrp="1"/>
          </p:cNvSpPr>
          <p:nvPr>
            <p:ph type="body" sz="quarter" idx="22" hasCustomPrompt="1"/>
          </p:nvPr>
        </p:nvSpPr>
        <p:spPr>
          <a:xfrm>
            <a:off x="4469712" y="2298160"/>
            <a:ext cx="2240892" cy="530225"/>
          </a:xfrm>
        </p:spPr>
        <p:txBody>
          <a:bodyPr anchor="ctr" anchorCtr="0"/>
          <a:lstStyle>
            <a:lvl1pPr marL="0" indent="0" rtl="0">
              <a:buNone/>
              <a:defRPr sz="1400" b="0" i="1">
                <a:solidFill>
                  <a:schemeClr val="tx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8" name="Marcador de texto 43">
            <a:extLst>
              <a:ext uri="{FF2B5EF4-FFF2-40B4-BE49-F238E27FC236}">
                <a16:creationId xmlns:a16="http://schemas.microsoft.com/office/drawing/2014/main" id="{965F5413-7970-4C8F-C959-AFC6148F3938}"/>
              </a:ext>
            </a:extLst>
          </p:cNvPr>
          <p:cNvSpPr>
            <a:spLocks noGrp="1"/>
          </p:cNvSpPr>
          <p:nvPr>
            <p:ph type="body" sz="quarter" idx="23" hasCustomPrompt="1"/>
          </p:nvPr>
        </p:nvSpPr>
        <p:spPr>
          <a:xfrm>
            <a:off x="4469712" y="3342180"/>
            <a:ext cx="2240892" cy="530225"/>
          </a:xfrm>
        </p:spPr>
        <p:txBody>
          <a:bodyPr anchor="ctr" anchorCtr="0"/>
          <a:lstStyle>
            <a:lvl1pPr marL="0" indent="0" rtl="0">
              <a:buNone/>
              <a:defRPr sz="1400" b="0" i="1">
                <a:solidFill>
                  <a:schemeClr val="tx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9" name="Marcador de texto 43">
            <a:extLst>
              <a:ext uri="{FF2B5EF4-FFF2-40B4-BE49-F238E27FC236}">
                <a16:creationId xmlns:a16="http://schemas.microsoft.com/office/drawing/2014/main" id="{820084C7-4A95-8408-CB56-7FC702AF04CC}"/>
              </a:ext>
            </a:extLst>
          </p:cNvPr>
          <p:cNvSpPr>
            <a:spLocks noGrp="1"/>
          </p:cNvSpPr>
          <p:nvPr>
            <p:ph type="body" sz="quarter" idx="24" hasCustomPrompt="1"/>
          </p:nvPr>
        </p:nvSpPr>
        <p:spPr>
          <a:xfrm>
            <a:off x="4451239" y="4384061"/>
            <a:ext cx="2240892" cy="530225"/>
          </a:xfrm>
        </p:spPr>
        <p:txBody>
          <a:bodyPr anchor="ctr" anchorCtr="0"/>
          <a:lstStyle>
            <a:lvl1pPr marL="0" indent="0" rtl="0">
              <a:buNone/>
              <a:defRPr sz="1400" b="0" i="1">
                <a:solidFill>
                  <a:schemeClr val="tx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3" name="Marcador de texto 45">
            <a:extLst>
              <a:ext uri="{FF2B5EF4-FFF2-40B4-BE49-F238E27FC236}">
                <a16:creationId xmlns:a16="http://schemas.microsoft.com/office/drawing/2014/main" id="{D518F236-A947-9F15-6D69-DA68B3F2AD4E}"/>
              </a:ext>
            </a:extLst>
          </p:cNvPr>
          <p:cNvSpPr>
            <a:spLocks noGrp="1"/>
          </p:cNvSpPr>
          <p:nvPr>
            <p:ph type="body" sz="quarter" idx="16" hasCustomPrompt="1"/>
          </p:nvPr>
        </p:nvSpPr>
        <p:spPr>
          <a:xfrm>
            <a:off x="7588779" y="1386038"/>
            <a:ext cx="795528" cy="246888"/>
          </a:xfrm>
          <a:prstGeom prst="roundRect">
            <a:avLst/>
          </a:prstGeom>
        </p:spPr>
        <p:txBody>
          <a:bodyPr vert="horz" lIns="91440" tIns="45720" rIns="91440" bIns="45720" rtlCol="0" anchor="ctr" anchorCtr="0">
            <a:noAutofit/>
          </a:bodyPr>
          <a:lstStyle>
            <a:lvl1pPr marL="0" indent="0">
              <a:buNone/>
              <a:defRPr lang="en-US" sz="1400" b="1" i="0" spc="300" dirty="0">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marL="171446" lvl="0" indent="-171446"/>
            <a:r>
              <a:rPr lang="en-US"/>
              <a:t>PAGE #</a:t>
            </a:r>
          </a:p>
        </p:txBody>
      </p:sp>
      <p:sp>
        <p:nvSpPr>
          <p:cNvPr id="39" name="Marcador de texto 45">
            <a:extLst>
              <a:ext uri="{FF2B5EF4-FFF2-40B4-BE49-F238E27FC236}">
                <a16:creationId xmlns:a16="http://schemas.microsoft.com/office/drawing/2014/main" id="{E59FF23C-E3FF-1099-4B30-22A7302BBF80}"/>
              </a:ext>
            </a:extLst>
          </p:cNvPr>
          <p:cNvSpPr>
            <a:spLocks noGrp="1"/>
          </p:cNvSpPr>
          <p:nvPr>
            <p:ph type="body" sz="quarter" idx="35" hasCustomPrompt="1"/>
          </p:nvPr>
        </p:nvSpPr>
        <p:spPr>
          <a:xfrm>
            <a:off x="7588779" y="2439828"/>
            <a:ext cx="795528" cy="246888"/>
          </a:xfrm>
          <a:prstGeom prst="roundRect">
            <a:avLst/>
          </a:prstGeom>
        </p:spPr>
        <p:txBody>
          <a:bodyPr vert="horz" lIns="91440" tIns="45720" rIns="91440" bIns="45720" rtlCol="0" anchor="ctr" anchorCtr="0">
            <a:noAutofit/>
          </a:bodyPr>
          <a:lstStyle>
            <a:lvl1pPr marL="0" indent="0">
              <a:buNone/>
              <a:defRPr lang="en-US" sz="1400" b="1" i="0" spc="300" dirty="0">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marL="171446" lvl="0" indent="-171446"/>
            <a:r>
              <a:rPr lang="en-US"/>
              <a:t>PAGE #</a:t>
            </a:r>
          </a:p>
        </p:txBody>
      </p:sp>
      <p:sp>
        <p:nvSpPr>
          <p:cNvPr id="40" name="Marcador de texto 45">
            <a:extLst>
              <a:ext uri="{FF2B5EF4-FFF2-40B4-BE49-F238E27FC236}">
                <a16:creationId xmlns:a16="http://schemas.microsoft.com/office/drawing/2014/main" id="{8E6A795D-1FF4-3238-E375-1DBDD021C959}"/>
              </a:ext>
            </a:extLst>
          </p:cNvPr>
          <p:cNvSpPr>
            <a:spLocks noGrp="1"/>
          </p:cNvSpPr>
          <p:nvPr>
            <p:ph type="body" sz="quarter" idx="36" hasCustomPrompt="1"/>
          </p:nvPr>
        </p:nvSpPr>
        <p:spPr>
          <a:xfrm>
            <a:off x="7588779" y="3483848"/>
            <a:ext cx="795528" cy="246888"/>
          </a:xfrm>
          <a:prstGeom prst="roundRect">
            <a:avLst/>
          </a:prstGeom>
        </p:spPr>
        <p:txBody>
          <a:bodyPr vert="horz" lIns="91440" tIns="45720" rIns="91440" bIns="45720" rtlCol="0" anchor="ctr" anchorCtr="0">
            <a:noAutofit/>
          </a:bodyPr>
          <a:lstStyle>
            <a:lvl1pPr marL="0" indent="0">
              <a:buNone/>
              <a:defRPr lang="en-US" sz="1400" b="1" i="0" spc="300" dirty="0">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marL="171446" lvl="0" indent="-171446"/>
            <a:r>
              <a:rPr lang="en-US"/>
              <a:t>PAGE #</a:t>
            </a:r>
          </a:p>
        </p:txBody>
      </p:sp>
      <p:sp>
        <p:nvSpPr>
          <p:cNvPr id="41" name="Marcador de texto 45">
            <a:extLst>
              <a:ext uri="{FF2B5EF4-FFF2-40B4-BE49-F238E27FC236}">
                <a16:creationId xmlns:a16="http://schemas.microsoft.com/office/drawing/2014/main" id="{F2A619C7-253C-B6CD-CCB9-60E57F29A3B5}"/>
              </a:ext>
            </a:extLst>
          </p:cNvPr>
          <p:cNvSpPr>
            <a:spLocks noGrp="1"/>
          </p:cNvSpPr>
          <p:nvPr>
            <p:ph type="body" sz="quarter" idx="37" hasCustomPrompt="1"/>
          </p:nvPr>
        </p:nvSpPr>
        <p:spPr>
          <a:xfrm>
            <a:off x="7588779" y="4525729"/>
            <a:ext cx="795528" cy="246888"/>
          </a:xfrm>
          <a:prstGeom prst="roundRect">
            <a:avLst/>
          </a:prstGeom>
        </p:spPr>
        <p:txBody>
          <a:bodyPr vert="horz" lIns="91440" tIns="45720" rIns="91440" bIns="45720" rtlCol="0" anchor="ctr" anchorCtr="0">
            <a:noAutofit/>
          </a:bodyPr>
          <a:lstStyle>
            <a:lvl1pPr marL="0" indent="0">
              <a:buNone/>
              <a:defRPr lang="en-US" sz="1400" b="1" i="0" spc="300" dirty="0">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marL="171446" lvl="0" indent="-171446"/>
            <a:r>
              <a:rPr lang="en-US"/>
              <a:t>PAGE #</a:t>
            </a:r>
          </a:p>
        </p:txBody>
      </p:sp>
      <p:sp>
        <p:nvSpPr>
          <p:cNvPr id="42" name="Marcador de texto 45">
            <a:extLst>
              <a:ext uri="{FF2B5EF4-FFF2-40B4-BE49-F238E27FC236}">
                <a16:creationId xmlns:a16="http://schemas.microsoft.com/office/drawing/2014/main" id="{8FB79431-9906-DBC4-5720-B4FE49DD98D2}"/>
              </a:ext>
            </a:extLst>
          </p:cNvPr>
          <p:cNvSpPr>
            <a:spLocks noGrp="1"/>
          </p:cNvSpPr>
          <p:nvPr>
            <p:ph type="body" sz="quarter" idx="38" hasCustomPrompt="1"/>
          </p:nvPr>
        </p:nvSpPr>
        <p:spPr>
          <a:xfrm>
            <a:off x="7588779" y="364124"/>
            <a:ext cx="795528" cy="246888"/>
          </a:xfrm>
          <a:prstGeom prst="roundRect">
            <a:avLst/>
          </a:prstGeom>
        </p:spPr>
        <p:txBody>
          <a:bodyPr vert="horz" lIns="91440" tIns="45720" rIns="91440" bIns="45720" rtlCol="0" anchor="ctr" anchorCtr="0">
            <a:noAutofit/>
          </a:bodyPr>
          <a:lstStyle>
            <a:lvl1pPr marL="0" indent="0">
              <a:buNone/>
              <a:defRPr lang="en-US" sz="1400" b="1" i="0" spc="300" dirty="0">
                <a:solidFill>
                  <a:srgbClr val="3C655F"/>
                </a:solidFill>
                <a:effectLst/>
                <a:latin typeface="Aptos Display" panose="020B0004020202020204" pitchFamily="34" charset="0"/>
                <a:ea typeface="Lato Medium" panose="020F0502020204030203" pitchFamily="34" charset="0"/>
                <a:cs typeface="Lato Medium" panose="020F0502020204030203" pitchFamily="34" charset="0"/>
              </a:defRPr>
            </a:lvl1pPr>
          </a:lstStyle>
          <a:p>
            <a:pPr marL="171446" lvl="0" indent="-171446"/>
            <a:r>
              <a:rPr lang="en-US"/>
              <a:t>PAGE #</a:t>
            </a:r>
          </a:p>
        </p:txBody>
      </p:sp>
      <p:sp>
        <p:nvSpPr>
          <p:cNvPr id="43" name="Text Placeholder 6">
            <a:extLst>
              <a:ext uri="{FF2B5EF4-FFF2-40B4-BE49-F238E27FC236}">
                <a16:creationId xmlns:a16="http://schemas.microsoft.com/office/drawing/2014/main" id="{2B07B531-4FFE-E34F-3C21-5E03C86F104B}"/>
              </a:ext>
            </a:extLst>
          </p:cNvPr>
          <p:cNvSpPr>
            <a:spLocks noGrp="1"/>
          </p:cNvSpPr>
          <p:nvPr>
            <p:ph type="body" sz="quarter" idx="34" hasCustomPrompt="1"/>
          </p:nvPr>
        </p:nvSpPr>
        <p:spPr>
          <a:xfrm>
            <a:off x="404562" y="249824"/>
            <a:ext cx="475488" cy="475488"/>
          </a:xfrm>
          <a:prstGeom prst="ellipse">
            <a:avLst/>
          </a:prstGeom>
          <a:solidFill>
            <a:schemeClr val="accent2"/>
          </a:solidFill>
        </p:spPr>
        <p:txBody>
          <a:bodyPr anchor="ctr"/>
          <a:lstStyle>
            <a:lvl1pPr marL="0" indent="0" algn="ctr" rtl="0">
              <a:buNone/>
              <a:defRPr sz="1400" b="0" i="0">
                <a:solidFill>
                  <a:srgbClr val="3C655F"/>
                </a:solidFill>
                <a:latin typeface="Lato Medium" panose="020F0502020204030203" pitchFamily="34" charset="77"/>
              </a:defRPr>
            </a:lvl1pPr>
          </a:lstStyle>
          <a:p>
            <a:pPr lvl="0"/>
            <a:r>
              <a:rPr lang="en-US"/>
              <a:t>#</a:t>
            </a:r>
          </a:p>
        </p:txBody>
      </p:sp>
      <p:sp>
        <p:nvSpPr>
          <p:cNvPr id="44" name="Text Placeholder 6">
            <a:extLst>
              <a:ext uri="{FF2B5EF4-FFF2-40B4-BE49-F238E27FC236}">
                <a16:creationId xmlns:a16="http://schemas.microsoft.com/office/drawing/2014/main" id="{B5411BC4-E366-E321-013B-4F698569F79C}"/>
              </a:ext>
            </a:extLst>
          </p:cNvPr>
          <p:cNvSpPr>
            <a:spLocks noGrp="1"/>
          </p:cNvSpPr>
          <p:nvPr>
            <p:ph type="body" sz="quarter" idx="39" hasCustomPrompt="1"/>
          </p:nvPr>
        </p:nvSpPr>
        <p:spPr>
          <a:xfrm>
            <a:off x="404562" y="1271738"/>
            <a:ext cx="475488" cy="475488"/>
          </a:xfrm>
          <a:prstGeom prst="ellipse">
            <a:avLst/>
          </a:prstGeom>
          <a:solidFill>
            <a:schemeClr val="accent2"/>
          </a:solidFill>
        </p:spPr>
        <p:txBody>
          <a:bodyPr anchor="ctr"/>
          <a:lstStyle>
            <a:lvl1pPr marL="0" indent="0" algn="ctr" rtl="0">
              <a:buNone/>
              <a:defRPr sz="1400" b="0" i="0">
                <a:solidFill>
                  <a:srgbClr val="3C655F"/>
                </a:solidFill>
                <a:latin typeface="Lato Medium" panose="020F0502020204030203" pitchFamily="34" charset="77"/>
              </a:defRPr>
            </a:lvl1pPr>
          </a:lstStyle>
          <a:p>
            <a:pPr lvl="0"/>
            <a:r>
              <a:rPr lang="en-US"/>
              <a:t>#</a:t>
            </a:r>
          </a:p>
        </p:txBody>
      </p:sp>
      <p:sp>
        <p:nvSpPr>
          <p:cNvPr id="45" name="Text Placeholder 6">
            <a:extLst>
              <a:ext uri="{FF2B5EF4-FFF2-40B4-BE49-F238E27FC236}">
                <a16:creationId xmlns:a16="http://schemas.microsoft.com/office/drawing/2014/main" id="{EB68D643-BBDF-BB37-E36A-43D03883D360}"/>
              </a:ext>
            </a:extLst>
          </p:cNvPr>
          <p:cNvSpPr>
            <a:spLocks noGrp="1"/>
          </p:cNvSpPr>
          <p:nvPr>
            <p:ph type="body" sz="quarter" idx="40" hasCustomPrompt="1"/>
          </p:nvPr>
        </p:nvSpPr>
        <p:spPr>
          <a:xfrm>
            <a:off x="404562" y="2325528"/>
            <a:ext cx="475488" cy="475488"/>
          </a:xfrm>
          <a:prstGeom prst="ellipse">
            <a:avLst/>
          </a:prstGeom>
          <a:solidFill>
            <a:schemeClr val="accent2"/>
          </a:solidFill>
        </p:spPr>
        <p:txBody>
          <a:bodyPr anchor="ctr"/>
          <a:lstStyle>
            <a:lvl1pPr marL="0" indent="0" algn="ctr" rtl="0">
              <a:buNone/>
              <a:defRPr sz="1400" b="0" i="0">
                <a:solidFill>
                  <a:srgbClr val="3C655F"/>
                </a:solidFill>
                <a:latin typeface="Lato Medium" panose="020F0502020204030203" pitchFamily="34" charset="77"/>
              </a:defRPr>
            </a:lvl1pPr>
          </a:lstStyle>
          <a:p>
            <a:pPr lvl="0"/>
            <a:r>
              <a:rPr lang="en-US"/>
              <a:t>#</a:t>
            </a:r>
          </a:p>
        </p:txBody>
      </p:sp>
      <p:sp>
        <p:nvSpPr>
          <p:cNvPr id="46" name="Text Placeholder 6">
            <a:extLst>
              <a:ext uri="{FF2B5EF4-FFF2-40B4-BE49-F238E27FC236}">
                <a16:creationId xmlns:a16="http://schemas.microsoft.com/office/drawing/2014/main" id="{34ACF108-FE9D-8DC4-8011-5F59AB2C5441}"/>
              </a:ext>
            </a:extLst>
          </p:cNvPr>
          <p:cNvSpPr>
            <a:spLocks noGrp="1"/>
          </p:cNvSpPr>
          <p:nvPr>
            <p:ph type="body" sz="quarter" idx="41" hasCustomPrompt="1"/>
          </p:nvPr>
        </p:nvSpPr>
        <p:spPr>
          <a:xfrm>
            <a:off x="404562" y="3369548"/>
            <a:ext cx="475488" cy="475488"/>
          </a:xfrm>
          <a:prstGeom prst="ellipse">
            <a:avLst/>
          </a:prstGeom>
          <a:solidFill>
            <a:schemeClr val="accent2"/>
          </a:solidFill>
        </p:spPr>
        <p:txBody>
          <a:bodyPr anchor="ctr"/>
          <a:lstStyle>
            <a:lvl1pPr marL="0" indent="0" algn="ctr" rtl="0">
              <a:buNone/>
              <a:defRPr sz="1400" b="0" i="0">
                <a:solidFill>
                  <a:srgbClr val="3C655F"/>
                </a:solidFill>
                <a:latin typeface="Lato Medium" panose="020F0502020204030203" pitchFamily="34" charset="77"/>
              </a:defRPr>
            </a:lvl1pPr>
          </a:lstStyle>
          <a:p>
            <a:pPr lvl="0"/>
            <a:r>
              <a:rPr lang="en-US"/>
              <a:t>#</a:t>
            </a:r>
          </a:p>
        </p:txBody>
      </p:sp>
      <p:sp>
        <p:nvSpPr>
          <p:cNvPr id="47" name="Text Placeholder 6">
            <a:extLst>
              <a:ext uri="{FF2B5EF4-FFF2-40B4-BE49-F238E27FC236}">
                <a16:creationId xmlns:a16="http://schemas.microsoft.com/office/drawing/2014/main" id="{C90CB85F-A008-D284-4A7B-E133A2F958F2}"/>
              </a:ext>
            </a:extLst>
          </p:cNvPr>
          <p:cNvSpPr>
            <a:spLocks noGrp="1"/>
          </p:cNvSpPr>
          <p:nvPr>
            <p:ph type="body" sz="quarter" idx="42" hasCustomPrompt="1"/>
          </p:nvPr>
        </p:nvSpPr>
        <p:spPr>
          <a:xfrm>
            <a:off x="404562" y="4411429"/>
            <a:ext cx="475488" cy="475488"/>
          </a:xfrm>
          <a:prstGeom prst="ellipse">
            <a:avLst/>
          </a:prstGeom>
          <a:solidFill>
            <a:schemeClr val="accent2"/>
          </a:solidFill>
        </p:spPr>
        <p:txBody>
          <a:bodyPr anchor="ctr"/>
          <a:lstStyle>
            <a:lvl1pPr marL="0" indent="0" algn="ctr" rtl="0">
              <a:buNone/>
              <a:defRPr sz="1400" b="0" i="0">
                <a:solidFill>
                  <a:srgbClr val="3C655F"/>
                </a:solidFill>
                <a:latin typeface="Lato Medium" panose="020F0502020204030203" pitchFamily="34" charset="77"/>
              </a:defRPr>
            </a:lvl1pPr>
          </a:lstStyle>
          <a:p>
            <a:pPr lvl="0"/>
            <a:r>
              <a:rPr lang="en-US"/>
              <a:t>#</a:t>
            </a:r>
          </a:p>
        </p:txBody>
      </p:sp>
    </p:spTree>
    <p:extLst>
      <p:ext uri="{BB962C8B-B14F-4D97-AF65-F5344CB8AC3E}">
        <p14:creationId xmlns:p14="http://schemas.microsoft.com/office/powerpoint/2010/main" val="3167514951"/>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B07E96-0A3A-4578-92FB-3DE2F78DF300}"/>
              </a:ext>
            </a:extLst>
          </p:cNvPr>
          <p:cNvGraphicFramePr>
            <a:graphicFrameLocks noChangeAspect="1"/>
          </p:cNvGraphicFramePr>
          <p:nvPr>
            <p:custDataLst>
              <p:tags r:id="rId1"/>
            </p:custDataLst>
            <p:extLst>
              <p:ext uri="{D42A27DB-BD31-4B8C-83A1-F6EECF244321}">
                <p14:modId xmlns:p14="http://schemas.microsoft.com/office/powerpoint/2010/main" val="2180589147"/>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DB07E96-0A3A-4578-92FB-3DE2F78DF300}"/>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028B8AF-444E-4AD5-A6E3-D97BD19A901E}"/>
              </a:ext>
            </a:extLst>
          </p:cNvPr>
          <p:cNvSpPr>
            <a:spLocks noGrp="1"/>
          </p:cNvSpPr>
          <p:nvPr>
            <p:ph idx="1"/>
          </p:nvPr>
        </p:nvSpPr>
        <p:spPr>
          <a:xfrm>
            <a:off x="245853" y="983412"/>
            <a:ext cx="8637198" cy="3959525"/>
          </a:xfrm>
        </p:spPr>
        <p:txBody>
          <a:bodyPr>
            <a:normAutofit/>
          </a:bodyPr>
          <a:lstStyle>
            <a:lvl1pPr>
              <a:defRPr sz="1800"/>
            </a:lvl1pPr>
            <a:lvl2pPr>
              <a:defRPr sz="1500"/>
            </a:lvl2pPr>
            <a:lvl3pPr>
              <a:defRPr sz="135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Google Shape;149;p16">
            <a:extLst>
              <a:ext uri="{FF2B5EF4-FFF2-40B4-BE49-F238E27FC236}">
                <a16:creationId xmlns:a16="http://schemas.microsoft.com/office/drawing/2014/main" id="{57444038-213D-1C32-3BFD-25F7DC707494}"/>
              </a:ext>
            </a:extLst>
          </p:cNvPr>
          <p:cNvSpPr/>
          <p:nvPr userDrawn="1"/>
        </p:nvSpPr>
        <p:spPr>
          <a:xfrm>
            <a:off x="-3265" y="-23643"/>
            <a:ext cx="9157775" cy="59436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6" name="Marcador de texto 28">
            <a:extLst>
              <a:ext uri="{FF2B5EF4-FFF2-40B4-BE49-F238E27FC236}">
                <a16:creationId xmlns:a16="http://schemas.microsoft.com/office/drawing/2014/main" id="{D1D2EA27-7CA8-04E8-9347-ECD6B839687E}"/>
              </a:ext>
            </a:extLst>
          </p:cNvPr>
          <p:cNvSpPr>
            <a:spLocks noGrp="1"/>
          </p:cNvSpPr>
          <p:nvPr>
            <p:ph type="body" sz="quarter" idx="27" hasCustomPrompt="1"/>
          </p:nvPr>
        </p:nvSpPr>
        <p:spPr>
          <a:xfrm>
            <a:off x="206574" y="58653"/>
            <a:ext cx="7387871" cy="429768"/>
          </a:xfrm>
        </p:spPr>
        <p:txBody>
          <a:bodyPr anchor="ctr" anchorCtr="0"/>
          <a:lstStyle>
            <a:lvl1pPr marL="0" indent="0" rtl="0">
              <a:buNone/>
              <a:defRPr sz="1400" b="1">
                <a:solidFill>
                  <a:schemeClr val="bg1"/>
                </a:solidFill>
              </a:defRPr>
            </a:lvl1pPr>
          </a:lstStyle>
          <a:p>
            <a:pPr marL="0" marR="0" lvl="0" indent="0" algn="l" defTabSz="10728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numbers</a:t>
            </a:r>
          </a:p>
        </p:txBody>
      </p:sp>
      <p:sp>
        <p:nvSpPr>
          <p:cNvPr id="17" name="Slide Number Placeholder 5">
            <a:extLst>
              <a:ext uri="{FF2B5EF4-FFF2-40B4-BE49-F238E27FC236}">
                <a16:creationId xmlns:a16="http://schemas.microsoft.com/office/drawing/2014/main" id="{521F7AAD-9078-B5B4-0558-E8D0362AF267}"/>
              </a:ext>
            </a:extLst>
          </p:cNvPr>
          <p:cNvSpPr>
            <a:spLocks noGrp="1"/>
          </p:cNvSpPr>
          <p:nvPr>
            <p:ph type="sldNum" sz="quarter" idx="4294967295"/>
          </p:nvPr>
        </p:nvSpPr>
        <p:spPr>
          <a:xfrm>
            <a:off x="8729560" y="4911474"/>
            <a:ext cx="342581" cy="96296"/>
          </a:xfrm>
          <a:prstGeom prst="rect">
            <a:avLst/>
          </a:prstGeom>
        </p:spPr>
        <p:txBody>
          <a:bodyPr anchor="ctr" anchorCtr="0"/>
          <a:lstStyle>
            <a:lvl1pPr rtl="0">
              <a:defRPr>
                <a:solidFill>
                  <a:schemeClr val="tx1"/>
                </a:solidFill>
              </a:defRPr>
            </a:lvl1pPr>
          </a:lstStyle>
          <a:p>
            <a:fld id="{A90607E6-BCED-4FC1-A345-AB2A307AB80F}" type="slidenum">
              <a:rPr lang="en-US" sz="700" b="1" smtClean="0"/>
              <a:pPr/>
              <a:t>‹#›</a:t>
            </a:fld>
            <a:endParaRPr lang="en-US" b="1"/>
          </a:p>
        </p:txBody>
      </p:sp>
    </p:spTree>
    <p:extLst>
      <p:ext uri="{BB962C8B-B14F-4D97-AF65-F5344CB8AC3E}">
        <p14:creationId xmlns:p14="http://schemas.microsoft.com/office/powerpoint/2010/main" val="637769220"/>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ld six-part ToC">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FC55B358-88EA-270F-6E58-5FC78942D19A}"/>
              </a:ext>
            </a:extLst>
          </p:cNvPr>
          <p:cNvGraphicFramePr>
            <a:graphicFrameLocks noChangeAspect="1"/>
          </p:cNvGraphicFramePr>
          <p:nvPr userDrawn="1">
            <p:custDataLst>
              <p:tags r:id="rId1"/>
            </p:custDataLst>
            <p:extLst>
              <p:ext uri="{D42A27DB-BD31-4B8C-83A1-F6EECF244321}">
                <p14:modId xmlns:p14="http://schemas.microsoft.com/office/powerpoint/2010/main" val="1771593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4" name="think-cell data - do not delete" hidden="1">
                        <a:extLst>
                          <a:ext uri="{FF2B5EF4-FFF2-40B4-BE49-F238E27FC236}">
                            <a16:creationId xmlns:a16="http://schemas.microsoft.com/office/drawing/2014/main" id="{FC55B358-88EA-270F-6E58-5FC78942D1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Google Shape;126;p4">
            <a:extLst>
              <a:ext uri="{FF2B5EF4-FFF2-40B4-BE49-F238E27FC236}">
                <a16:creationId xmlns:a16="http://schemas.microsoft.com/office/drawing/2014/main" id="{87D57DFF-EBF3-8A47-F376-8E044C0586C3}"/>
              </a:ext>
            </a:extLst>
          </p:cNvPr>
          <p:cNvSpPr/>
          <p:nvPr userDrawn="1"/>
        </p:nvSpPr>
        <p:spPr>
          <a:xfrm rot="10800000">
            <a:off x="4573960" y="-13447"/>
            <a:ext cx="4583486" cy="1730419"/>
          </a:xfrm>
          <a:prstGeom prst="rect">
            <a:avLst/>
          </a:prstGeom>
          <a:gradFill>
            <a:gsLst>
              <a:gs pos="0">
                <a:srgbClr val="6F1237"/>
              </a:gs>
              <a:gs pos="100000">
                <a:srgbClr val="56032B"/>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1050" b="0" i="0" u="none" strike="noStrike" cap="none">
              <a:solidFill>
                <a:srgbClr val="000000"/>
              </a:solidFill>
              <a:latin typeface="Arial"/>
              <a:ea typeface="Arial"/>
              <a:cs typeface="Arial"/>
              <a:sym typeface="Arial"/>
            </a:endParaRPr>
          </a:p>
        </p:txBody>
      </p:sp>
      <p:sp>
        <p:nvSpPr>
          <p:cNvPr id="3" name="Google Shape;126;p4">
            <a:extLst>
              <a:ext uri="{FF2B5EF4-FFF2-40B4-BE49-F238E27FC236}">
                <a16:creationId xmlns:a16="http://schemas.microsoft.com/office/drawing/2014/main" id="{4460E9BA-5291-9291-D6D8-47F4C31335A8}"/>
              </a:ext>
            </a:extLst>
          </p:cNvPr>
          <p:cNvSpPr/>
          <p:nvPr userDrawn="1"/>
        </p:nvSpPr>
        <p:spPr>
          <a:xfrm>
            <a:off x="-9526" y="1713952"/>
            <a:ext cx="4583486" cy="1730419"/>
          </a:xfrm>
          <a:prstGeom prst="rect">
            <a:avLst/>
          </a:prstGeom>
          <a:gradFill>
            <a:gsLst>
              <a:gs pos="0">
                <a:srgbClr val="6F1237"/>
              </a:gs>
              <a:gs pos="100000">
                <a:srgbClr val="56032B"/>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1050" b="0" i="0" u="none" strike="noStrike" cap="none">
              <a:solidFill>
                <a:srgbClr val="000000"/>
              </a:solidFill>
              <a:latin typeface="Arial"/>
              <a:ea typeface="Arial"/>
              <a:cs typeface="Arial"/>
              <a:sym typeface="Arial"/>
            </a:endParaRPr>
          </a:p>
        </p:txBody>
      </p:sp>
      <p:sp>
        <p:nvSpPr>
          <p:cNvPr id="4" name="Google Shape;127;p4">
            <a:extLst>
              <a:ext uri="{FF2B5EF4-FFF2-40B4-BE49-F238E27FC236}">
                <a16:creationId xmlns:a16="http://schemas.microsoft.com/office/drawing/2014/main" id="{40602A9C-B196-8D3E-53DE-40CC1BA20D9C}"/>
              </a:ext>
            </a:extLst>
          </p:cNvPr>
          <p:cNvSpPr/>
          <p:nvPr userDrawn="1"/>
        </p:nvSpPr>
        <p:spPr>
          <a:xfrm rot="10800000">
            <a:off x="4573960" y="1713950"/>
            <a:ext cx="4583486" cy="1730421"/>
          </a:xfrm>
          <a:prstGeom prst="rect">
            <a:avLst/>
          </a:prstGeom>
          <a:gradFill>
            <a:gsLst>
              <a:gs pos="0">
                <a:srgbClr val="881946"/>
              </a:gs>
              <a:gs pos="100000">
                <a:srgbClr val="6F1237"/>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600" b="0" i="0" u="none" strike="noStrike" cap="none">
              <a:solidFill>
                <a:srgbClr val="000000"/>
              </a:solidFill>
              <a:latin typeface="Arial"/>
              <a:ea typeface="Arial"/>
              <a:cs typeface="Arial"/>
              <a:sym typeface="Arial"/>
            </a:endParaRPr>
          </a:p>
        </p:txBody>
      </p:sp>
      <p:sp>
        <p:nvSpPr>
          <p:cNvPr id="5" name="Google Shape;126;p4">
            <a:extLst>
              <a:ext uri="{FF2B5EF4-FFF2-40B4-BE49-F238E27FC236}">
                <a16:creationId xmlns:a16="http://schemas.microsoft.com/office/drawing/2014/main" id="{BDB3BB2D-9A01-9682-5FC2-B3FAB449BB5D}"/>
              </a:ext>
            </a:extLst>
          </p:cNvPr>
          <p:cNvSpPr/>
          <p:nvPr userDrawn="1"/>
        </p:nvSpPr>
        <p:spPr>
          <a:xfrm rot="10800000">
            <a:off x="4573960" y="3441347"/>
            <a:ext cx="4583486" cy="1730419"/>
          </a:xfrm>
          <a:prstGeom prst="rect">
            <a:avLst/>
          </a:prstGeom>
          <a:gradFill>
            <a:gsLst>
              <a:gs pos="0">
                <a:srgbClr val="6F1237"/>
              </a:gs>
              <a:gs pos="100000">
                <a:srgbClr val="56032B"/>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1050" b="0" i="0" u="none" strike="noStrike" cap="none">
              <a:solidFill>
                <a:srgbClr val="000000"/>
              </a:solidFill>
              <a:latin typeface="Arial"/>
              <a:ea typeface="Arial"/>
              <a:cs typeface="Arial"/>
              <a:sym typeface="Arial"/>
            </a:endParaRPr>
          </a:p>
        </p:txBody>
      </p:sp>
      <p:sp>
        <p:nvSpPr>
          <p:cNvPr id="6" name="Google Shape;127;p4">
            <a:extLst>
              <a:ext uri="{FF2B5EF4-FFF2-40B4-BE49-F238E27FC236}">
                <a16:creationId xmlns:a16="http://schemas.microsoft.com/office/drawing/2014/main" id="{93CDFFE4-8941-190E-2986-C878030C93D8}"/>
              </a:ext>
            </a:extLst>
          </p:cNvPr>
          <p:cNvSpPr/>
          <p:nvPr userDrawn="1"/>
        </p:nvSpPr>
        <p:spPr>
          <a:xfrm>
            <a:off x="-9526" y="3441347"/>
            <a:ext cx="4583486" cy="1730421"/>
          </a:xfrm>
          <a:prstGeom prst="rect">
            <a:avLst/>
          </a:prstGeom>
          <a:gradFill>
            <a:gsLst>
              <a:gs pos="0">
                <a:srgbClr val="881946"/>
              </a:gs>
              <a:gs pos="100000">
                <a:srgbClr val="6F1237"/>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600" b="0" i="0" u="none" strike="noStrike" cap="none">
              <a:solidFill>
                <a:srgbClr val="000000"/>
              </a:solidFill>
              <a:latin typeface="Arial"/>
              <a:ea typeface="Arial"/>
              <a:cs typeface="Arial"/>
              <a:sym typeface="Arial"/>
            </a:endParaRPr>
          </a:p>
        </p:txBody>
      </p:sp>
      <p:sp>
        <p:nvSpPr>
          <p:cNvPr id="15" name="Marcador de texto 41">
            <a:extLst>
              <a:ext uri="{FF2B5EF4-FFF2-40B4-BE49-F238E27FC236}">
                <a16:creationId xmlns:a16="http://schemas.microsoft.com/office/drawing/2014/main" id="{B78A2F43-9944-2765-C0E5-4F5EFDE8BDA9}"/>
              </a:ext>
            </a:extLst>
          </p:cNvPr>
          <p:cNvSpPr>
            <a:spLocks noGrp="1"/>
          </p:cNvSpPr>
          <p:nvPr>
            <p:ph type="body" sz="quarter" idx="26" hasCustomPrompt="1"/>
          </p:nvPr>
        </p:nvSpPr>
        <p:spPr>
          <a:xfrm>
            <a:off x="1182198" y="2086901"/>
            <a:ext cx="3202766" cy="245348"/>
          </a:xfrm>
        </p:spPr>
        <p:txBody>
          <a:bodyPr anchor="ctr" anchorCtr="0"/>
          <a:lstStyle>
            <a:lvl1pPr marL="0" indent="0" rtl="0">
              <a:buNone/>
              <a:defRPr sz="1800" b="0" i="0" spc="300">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3 TITLE</a:t>
            </a:r>
          </a:p>
        </p:txBody>
      </p:sp>
      <p:sp>
        <p:nvSpPr>
          <p:cNvPr id="16" name="Marcador de texto 41">
            <a:extLst>
              <a:ext uri="{FF2B5EF4-FFF2-40B4-BE49-F238E27FC236}">
                <a16:creationId xmlns:a16="http://schemas.microsoft.com/office/drawing/2014/main" id="{43F2C828-68A0-C8E5-AB14-34F3E1A4C5C0}"/>
              </a:ext>
            </a:extLst>
          </p:cNvPr>
          <p:cNvSpPr>
            <a:spLocks noGrp="1"/>
          </p:cNvSpPr>
          <p:nvPr>
            <p:ph type="body" sz="quarter" idx="27" hasCustomPrompt="1"/>
          </p:nvPr>
        </p:nvSpPr>
        <p:spPr>
          <a:xfrm>
            <a:off x="1182198" y="3805378"/>
            <a:ext cx="3202766" cy="245348"/>
          </a:xfrm>
        </p:spPr>
        <p:txBody>
          <a:bodyPr anchor="ctr" anchorCtr="0"/>
          <a:lstStyle>
            <a:lvl1pPr marL="0" indent="0" rtl="0">
              <a:buNone/>
              <a:defRPr sz="1800" b="0" i="0" spc="300">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5 TITLE</a:t>
            </a:r>
          </a:p>
        </p:txBody>
      </p:sp>
      <p:sp>
        <p:nvSpPr>
          <p:cNvPr id="17" name="Marcador de texto 43">
            <a:extLst>
              <a:ext uri="{FF2B5EF4-FFF2-40B4-BE49-F238E27FC236}">
                <a16:creationId xmlns:a16="http://schemas.microsoft.com/office/drawing/2014/main" id="{A7287E15-C5E2-38CA-0A1E-1F336A61C67B}"/>
              </a:ext>
            </a:extLst>
          </p:cNvPr>
          <p:cNvSpPr>
            <a:spLocks noGrp="1"/>
          </p:cNvSpPr>
          <p:nvPr>
            <p:ph type="body" sz="quarter" idx="17" hasCustomPrompt="1"/>
          </p:nvPr>
        </p:nvSpPr>
        <p:spPr>
          <a:xfrm>
            <a:off x="1182198" y="2419013"/>
            <a:ext cx="2240892" cy="495582"/>
          </a:xfrm>
        </p:spPr>
        <p:txBody>
          <a:bodyPr anchor="ctr" anchorCtr="0"/>
          <a:lstStyle>
            <a:lvl1pPr marL="0" indent="0" rtl="0">
              <a:buNone/>
              <a:defRPr sz="140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18" name="Marcador de texto 43">
            <a:extLst>
              <a:ext uri="{FF2B5EF4-FFF2-40B4-BE49-F238E27FC236}">
                <a16:creationId xmlns:a16="http://schemas.microsoft.com/office/drawing/2014/main" id="{0ABEB9FE-2B4F-9AA7-CF65-FD5FD6FA6DC9}"/>
              </a:ext>
            </a:extLst>
          </p:cNvPr>
          <p:cNvSpPr>
            <a:spLocks noGrp="1"/>
          </p:cNvSpPr>
          <p:nvPr>
            <p:ph type="body" sz="quarter" idx="29" hasCustomPrompt="1"/>
          </p:nvPr>
        </p:nvSpPr>
        <p:spPr>
          <a:xfrm>
            <a:off x="1182198" y="4126515"/>
            <a:ext cx="2240892" cy="502923"/>
          </a:xfrm>
        </p:spPr>
        <p:txBody>
          <a:bodyPr anchor="ctr" anchorCtr="0"/>
          <a:lstStyle>
            <a:lvl1pPr marL="0" indent="0" rtl="0">
              <a:buNone/>
              <a:defRPr sz="140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4" name="Marcador de texto 41">
            <a:extLst>
              <a:ext uri="{FF2B5EF4-FFF2-40B4-BE49-F238E27FC236}">
                <a16:creationId xmlns:a16="http://schemas.microsoft.com/office/drawing/2014/main" id="{9B09F72A-639A-4CAD-A3E7-8DEDAD9AE539}"/>
              </a:ext>
            </a:extLst>
          </p:cNvPr>
          <p:cNvSpPr>
            <a:spLocks noGrp="1"/>
          </p:cNvSpPr>
          <p:nvPr>
            <p:ph type="body" sz="quarter" idx="35" hasCustomPrompt="1"/>
          </p:nvPr>
        </p:nvSpPr>
        <p:spPr>
          <a:xfrm>
            <a:off x="5755866" y="362010"/>
            <a:ext cx="3202766" cy="245348"/>
          </a:xfrm>
        </p:spPr>
        <p:txBody>
          <a:bodyPr anchor="ctr" anchorCtr="0"/>
          <a:lstStyle>
            <a:lvl1pPr marL="0" indent="0" rtl="0">
              <a:buNone/>
              <a:defRPr sz="1800" b="0" i="0" spc="300">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2 TITLE</a:t>
            </a:r>
          </a:p>
        </p:txBody>
      </p:sp>
      <p:sp>
        <p:nvSpPr>
          <p:cNvPr id="25" name="Marcador de texto 43">
            <a:extLst>
              <a:ext uri="{FF2B5EF4-FFF2-40B4-BE49-F238E27FC236}">
                <a16:creationId xmlns:a16="http://schemas.microsoft.com/office/drawing/2014/main" id="{8F458A05-C3F3-8CCC-F05C-5EFF3F246644}"/>
              </a:ext>
            </a:extLst>
          </p:cNvPr>
          <p:cNvSpPr>
            <a:spLocks noGrp="1"/>
          </p:cNvSpPr>
          <p:nvPr>
            <p:ph type="body" sz="quarter" idx="36" hasCustomPrompt="1"/>
          </p:nvPr>
        </p:nvSpPr>
        <p:spPr>
          <a:xfrm>
            <a:off x="5755866" y="674493"/>
            <a:ext cx="2240892" cy="515211"/>
          </a:xfrm>
        </p:spPr>
        <p:txBody>
          <a:bodyPr anchor="ctr" anchorCtr="0"/>
          <a:lstStyle>
            <a:lvl1pPr marL="0" indent="0" rtl="0">
              <a:buNone/>
              <a:defRPr sz="140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6" name="Marcador de texto 41">
            <a:extLst>
              <a:ext uri="{FF2B5EF4-FFF2-40B4-BE49-F238E27FC236}">
                <a16:creationId xmlns:a16="http://schemas.microsoft.com/office/drawing/2014/main" id="{B9DF36D2-C739-5DD2-3412-23D3163C63C3}"/>
              </a:ext>
            </a:extLst>
          </p:cNvPr>
          <p:cNvSpPr>
            <a:spLocks noGrp="1"/>
          </p:cNvSpPr>
          <p:nvPr>
            <p:ph type="body" sz="quarter" idx="37" hasCustomPrompt="1"/>
          </p:nvPr>
        </p:nvSpPr>
        <p:spPr>
          <a:xfrm>
            <a:off x="5755866" y="2086901"/>
            <a:ext cx="3202766" cy="245348"/>
          </a:xfrm>
        </p:spPr>
        <p:txBody>
          <a:bodyPr anchor="ctr" anchorCtr="0"/>
          <a:lstStyle>
            <a:lvl1pPr marL="0" indent="0" rtl="0">
              <a:buNone/>
              <a:defRPr sz="1800" b="0" i="0" spc="300">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4 TITLE</a:t>
            </a:r>
          </a:p>
        </p:txBody>
      </p:sp>
      <p:sp>
        <p:nvSpPr>
          <p:cNvPr id="27" name="Marcador de texto 43">
            <a:extLst>
              <a:ext uri="{FF2B5EF4-FFF2-40B4-BE49-F238E27FC236}">
                <a16:creationId xmlns:a16="http://schemas.microsoft.com/office/drawing/2014/main" id="{54250596-28E3-DFF5-32DD-09B3E487B7AB}"/>
              </a:ext>
            </a:extLst>
          </p:cNvPr>
          <p:cNvSpPr>
            <a:spLocks noGrp="1"/>
          </p:cNvSpPr>
          <p:nvPr>
            <p:ph type="body" sz="quarter" idx="38" hasCustomPrompt="1"/>
          </p:nvPr>
        </p:nvSpPr>
        <p:spPr>
          <a:xfrm>
            <a:off x="5755866" y="2399384"/>
            <a:ext cx="2240892" cy="515211"/>
          </a:xfrm>
        </p:spPr>
        <p:txBody>
          <a:bodyPr anchor="ctr" anchorCtr="0"/>
          <a:lstStyle>
            <a:lvl1pPr marL="0" indent="0" rtl="0">
              <a:buNone/>
              <a:defRPr sz="140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28" name="Marcador de texto 41">
            <a:extLst>
              <a:ext uri="{FF2B5EF4-FFF2-40B4-BE49-F238E27FC236}">
                <a16:creationId xmlns:a16="http://schemas.microsoft.com/office/drawing/2014/main" id="{2BBAE4C2-B36B-55CB-56D0-9D0C1DB52A19}"/>
              </a:ext>
            </a:extLst>
          </p:cNvPr>
          <p:cNvSpPr>
            <a:spLocks noGrp="1"/>
          </p:cNvSpPr>
          <p:nvPr>
            <p:ph type="body" sz="quarter" idx="39" hasCustomPrompt="1"/>
          </p:nvPr>
        </p:nvSpPr>
        <p:spPr>
          <a:xfrm>
            <a:off x="5755866" y="3805378"/>
            <a:ext cx="3202766" cy="245348"/>
          </a:xfrm>
        </p:spPr>
        <p:txBody>
          <a:bodyPr anchor="ctr" anchorCtr="0"/>
          <a:lstStyle>
            <a:lvl1pPr marL="0" indent="0" rtl="0">
              <a:buNone/>
              <a:defRPr sz="1800" b="0" i="0" spc="300">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6 TITLE</a:t>
            </a:r>
          </a:p>
        </p:txBody>
      </p:sp>
      <p:sp>
        <p:nvSpPr>
          <p:cNvPr id="29" name="Marcador de texto 43">
            <a:extLst>
              <a:ext uri="{FF2B5EF4-FFF2-40B4-BE49-F238E27FC236}">
                <a16:creationId xmlns:a16="http://schemas.microsoft.com/office/drawing/2014/main" id="{12C61282-19E1-294D-13EA-8B55693DEED2}"/>
              </a:ext>
            </a:extLst>
          </p:cNvPr>
          <p:cNvSpPr>
            <a:spLocks noGrp="1"/>
          </p:cNvSpPr>
          <p:nvPr>
            <p:ph type="body" sz="quarter" idx="40" hasCustomPrompt="1"/>
          </p:nvPr>
        </p:nvSpPr>
        <p:spPr>
          <a:xfrm>
            <a:off x="5755866" y="4114227"/>
            <a:ext cx="2240892" cy="515211"/>
          </a:xfrm>
        </p:spPr>
        <p:txBody>
          <a:bodyPr anchor="ctr" anchorCtr="0"/>
          <a:lstStyle>
            <a:lvl1pPr marL="0" indent="0" rtl="0">
              <a:buNone/>
              <a:defRPr sz="140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37" name="Google Shape;127;p4">
            <a:extLst>
              <a:ext uri="{FF2B5EF4-FFF2-40B4-BE49-F238E27FC236}">
                <a16:creationId xmlns:a16="http://schemas.microsoft.com/office/drawing/2014/main" id="{087057E2-43F5-7921-319C-1C9D4FCB4752}"/>
              </a:ext>
            </a:extLst>
          </p:cNvPr>
          <p:cNvSpPr/>
          <p:nvPr userDrawn="1"/>
        </p:nvSpPr>
        <p:spPr>
          <a:xfrm rot="10800000">
            <a:off x="-8431" y="-10941"/>
            <a:ext cx="4583486" cy="1730421"/>
          </a:xfrm>
          <a:prstGeom prst="rect">
            <a:avLst/>
          </a:prstGeom>
          <a:gradFill>
            <a:gsLst>
              <a:gs pos="0">
                <a:srgbClr val="881946"/>
              </a:gs>
              <a:gs pos="100000">
                <a:srgbClr val="6F1237"/>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600" b="0" i="0" u="none" strike="noStrike" cap="none">
              <a:solidFill>
                <a:srgbClr val="000000"/>
              </a:solidFill>
              <a:latin typeface="Arial"/>
              <a:ea typeface="Arial"/>
              <a:cs typeface="Arial"/>
              <a:sym typeface="Arial"/>
            </a:endParaRPr>
          </a:p>
        </p:txBody>
      </p:sp>
      <p:sp>
        <p:nvSpPr>
          <p:cNvPr id="40" name="Marcador de texto 41">
            <a:extLst>
              <a:ext uri="{FF2B5EF4-FFF2-40B4-BE49-F238E27FC236}">
                <a16:creationId xmlns:a16="http://schemas.microsoft.com/office/drawing/2014/main" id="{7071FC55-5C73-F331-D4F3-B068FB850FAA}"/>
              </a:ext>
            </a:extLst>
          </p:cNvPr>
          <p:cNvSpPr>
            <a:spLocks noGrp="1"/>
          </p:cNvSpPr>
          <p:nvPr>
            <p:ph type="body" sz="quarter" idx="47" hasCustomPrompt="1"/>
          </p:nvPr>
        </p:nvSpPr>
        <p:spPr>
          <a:xfrm>
            <a:off x="1173475" y="362010"/>
            <a:ext cx="3202766" cy="245348"/>
          </a:xfrm>
        </p:spPr>
        <p:txBody>
          <a:bodyPr anchor="ctr" anchorCtr="0"/>
          <a:lstStyle>
            <a:lvl1pPr marL="0" indent="0" rtl="0">
              <a:buNone/>
              <a:defRPr sz="1800" b="0" i="0" spc="300">
                <a:solidFill>
                  <a:srgbClr val="FFAC13"/>
                </a:solidFill>
                <a:effectLst/>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SECTION O1 TITLE</a:t>
            </a:r>
          </a:p>
        </p:txBody>
      </p:sp>
      <p:sp>
        <p:nvSpPr>
          <p:cNvPr id="41" name="Marcador de texto 43">
            <a:extLst>
              <a:ext uri="{FF2B5EF4-FFF2-40B4-BE49-F238E27FC236}">
                <a16:creationId xmlns:a16="http://schemas.microsoft.com/office/drawing/2014/main" id="{B96D6BA9-7A9C-D0BB-7DEA-EB2FFFBF5B8A}"/>
              </a:ext>
            </a:extLst>
          </p:cNvPr>
          <p:cNvSpPr>
            <a:spLocks noGrp="1"/>
          </p:cNvSpPr>
          <p:nvPr>
            <p:ph type="body" sz="quarter" idx="48" hasCustomPrompt="1"/>
          </p:nvPr>
        </p:nvSpPr>
        <p:spPr>
          <a:xfrm>
            <a:off x="1173475" y="674493"/>
            <a:ext cx="2240892" cy="515211"/>
          </a:xfrm>
        </p:spPr>
        <p:txBody>
          <a:bodyPr anchor="ctr" anchorCtr="0"/>
          <a:lstStyle>
            <a:lvl1pPr marL="0" indent="0" rtl="0">
              <a:buNone/>
              <a:defRPr sz="1400" b="0" i="1">
                <a:solidFill>
                  <a:schemeClr val="bg1"/>
                </a:solidFill>
                <a:latin typeface="Lato" panose="020F0502020204030203" pitchFamily="34" charset="77"/>
                <a:ea typeface="Lato" panose="020F0502020204030203" pitchFamily="34" charset="77"/>
                <a:cs typeface="Lato" panose="020F0502020204030203" pitchFamily="34" charset="77"/>
              </a:defRPr>
            </a:lvl1pPr>
          </a:lstStyle>
          <a:p>
            <a:pPr lvl="0"/>
            <a:r>
              <a:rPr lang="en-US"/>
              <a:t>Here goes a brief description of this section, not too long…</a:t>
            </a:r>
          </a:p>
        </p:txBody>
      </p:sp>
      <p:sp>
        <p:nvSpPr>
          <p:cNvPr id="45" name="Text Placeholder 6">
            <a:extLst>
              <a:ext uri="{FF2B5EF4-FFF2-40B4-BE49-F238E27FC236}">
                <a16:creationId xmlns:a16="http://schemas.microsoft.com/office/drawing/2014/main" id="{4DDF0E48-9B29-FF10-AFBA-D62CA80D77A1}"/>
              </a:ext>
            </a:extLst>
          </p:cNvPr>
          <p:cNvSpPr>
            <a:spLocks noGrp="1"/>
          </p:cNvSpPr>
          <p:nvPr>
            <p:ph type="body" sz="quarter" idx="49" hasCustomPrompt="1"/>
          </p:nvPr>
        </p:nvSpPr>
        <p:spPr>
          <a:xfrm>
            <a:off x="443062" y="362010"/>
            <a:ext cx="475488" cy="475488"/>
          </a:xfrm>
          <a:prstGeom prst="ellipse">
            <a:avLst/>
          </a:prstGeom>
          <a:solidFill>
            <a:schemeClr val="accent2"/>
          </a:solidFill>
        </p:spPr>
        <p:txBody>
          <a:bodyPr anchor="ctr"/>
          <a:lstStyle>
            <a:lvl1pPr marL="0" indent="0" algn="ctr" rtl="0">
              <a:buNone/>
              <a:defRPr sz="1400" b="0" i="0">
                <a:solidFill>
                  <a:srgbClr val="6F1237"/>
                </a:solidFill>
                <a:latin typeface="Lato Medium" panose="020F0502020204030203" pitchFamily="34" charset="77"/>
              </a:defRPr>
            </a:lvl1pPr>
          </a:lstStyle>
          <a:p>
            <a:pPr lvl="0"/>
            <a:r>
              <a:rPr lang="en-US"/>
              <a:t>#</a:t>
            </a:r>
          </a:p>
        </p:txBody>
      </p:sp>
      <p:sp>
        <p:nvSpPr>
          <p:cNvPr id="46" name="Text Placeholder 6">
            <a:extLst>
              <a:ext uri="{FF2B5EF4-FFF2-40B4-BE49-F238E27FC236}">
                <a16:creationId xmlns:a16="http://schemas.microsoft.com/office/drawing/2014/main" id="{DAB4A795-39F0-7847-6DB3-3339F49C2D85}"/>
              </a:ext>
            </a:extLst>
          </p:cNvPr>
          <p:cNvSpPr>
            <a:spLocks noGrp="1"/>
          </p:cNvSpPr>
          <p:nvPr>
            <p:ph type="body" sz="quarter" idx="50" hasCustomPrompt="1"/>
          </p:nvPr>
        </p:nvSpPr>
        <p:spPr>
          <a:xfrm>
            <a:off x="443062" y="2086901"/>
            <a:ext cx="475488" cy="475488"/>
          </a:xfrm>
          <a:prstGeom prst="ellipse">
            <a:avLst/>
          </a:prstGeom>
          <a:solidFill>
            <a:schemeClr val="accent2"/>
          </a:solidFill>
        </p:spPr>
        <p:txBody>
          <a:bodyPr anchor="ctr"/>
          <a:lstStyle>
            <a:lvl1pPr marL="0" indent="0" algn="ctr" rtl="0">
              <a:buNone/>
              <a:defRPr sz="1400" b="0" i="0">
                <a:solidFill>
                  <a:srgbClr val="6F1237"/>
                </a:solidFill>
                <a:latin typeface="Lato Medium" panose="020F0502020204030203" pitchFamily="34" charset="77"/>
              </a:defRPr>
            </a:lvl1pPr>
          </a:lstStyle>
          <a:p>
            <a:pPr lvl="0"/>
            <a:r>
              <a:rPr lang="en-US"/>
              <a:t>#</a:t>
            </a:r>
          </a:p>
        </p:txBody>
      </p:sp>
      <p:sp>
        <p:nvSpPr>
          <p:cNvPr id="47" name="Text Placeholder 6">
            <a:extLst>
              <a:ext uri="{FF2B5EF4-FFF2-40B4-BE49-F238E27FC236}">
                <a16:creationId xmlns:a16="http://schemas.microsoft.com/office/drawing/2014/main" id="{7B59344E-D0C9-69DC-8792-D7DD4845C7FC}"/>
              </a:ext>
            </a:extLst>
          </p:cNvPr>
          <p:cNvSpPr>
            <a:spLocks noGrp="1"/>
          </p:cNvSpPr>
          <p:nvPr>
            <p:ph type="body" sz="quarter" idx="51" hasCustomPrompt="1"/>
          </p:nvPr>
        </p:nvSpPr>
        <p:spPr>
          <a:xfrm>
            <a:off x="443062" y="3805378"/>
            <a:ext cx="475488" cy="475488"/>
          </a:xfrm>
          <a:prstGeom prst="ellipse">
            <a:avLst/>
          </a:prstGeom>
          <a:solidFill>
            <a:schemeClr val="accent2"/>
          </a:solidFill>
        </p:spPr>
        <p:txBody>
          <a:bodyPr anchor="ctr"/>
          <a:lstStyle>
            <a:lvl1pPr marL="0" indent="0" algn="ctr" rtl="0">
              <a:buNone/>
              <a:defRPr sz="1400" b="0" i="0">
                <a:solidFill>
                  <a:srgbClr val="6F1237"/>
                </a:solidFill>
                <a:latin typeface="Lato Medium" panose="020F0502020204030203" pitchFamily="34" charset="77"/>
              </a:defRPr>
            </a:lvl1pPr>
          </a:lstStyle>
          <a:p>
            <a:pPr lvl="0"/>
            <a:r>
              <a:rPr lang="en-US"/>
              <a:t>#</a:t>
            </a:r>
          </a:p>
        </p:txBody>
      </p:sp>
      <p:sp>
        <p:nvSpPr>
          <p:cNvPr id="48" name="Text Placeholder 6">
            <a:extLst>
              <a:ext uri="{FF2B5EF4-FFF2-40B4-BE49-F238E27FC236}">
                <a16:creationId xmlns:a16="http://schemas.microsoft.com/office/drawing/2014/main" id="{6647120C-028A-38CE-C5BB-DE65E0717497}"/>
              </a:ext>
            </a:extLst>
          </p:cNvPr>
          <p:cNvSpPr>
            <a:spLocks noGrp="1"/>
          </p:cNvSpPr>
          <p:nvPr>
            <p:ph type="body" sz="quarter" idx="52" hasCustomPrompt="1"/>
          </p:nvPr>
        </p:nvSpPr>
        <p:spPr>
          <a:xfrm>
            <a:off x="5044448" y="362010"/>
            <a:ext cx="475488" cy="475488"/>
          </a:xfrm>
          <a:prstGeom prst="ellipse">
            <a:avLst/>
          </a:prstGeom>
          <a:solidFill>
            <a:schemeClr val="accent2"/>
          </a:solidFill>
        </p:spPr>
        <p:txBody>
          <a:bodyPr anchor="ctr"/>
          <a:lstStyle>
            <a:lvl1pPr marL="0" indent="0" algn="ctr" rtl="0">
              <a:buNone/>
              <a:defRPr sz="1400" b="0" i="0">
                <a:solidFill>
                  <a:srgbClr val="6F1237"/>
                </a:solidFill>
                <a:latin typeface="Lato Medium" panose="020F0502020204030203" pitchFamily="34" charset="77"/>
              </a:defRPr>
            </a:lvl1pPr>
          </a:lstStyle>
          <a:p>
            <a:pPr lvl="0"/>
            <a:r>
              <a:rPr lang="en-US"/>
              <a:t>#</a:t>
            </a:r>
          </a:p>
        </p:txBody>
      </p:sp>
      <p:sp>
        <p:nvSpPr>
          <p:cNvPr id="49" name="Text Placeholder 6">
            <a:extLst>
              <a:ext uri="{FF2B5EF4-FFF2-40B4-BE49-F238E27FC236}">
                <a16:creationId xmlns:a16="http://schemas.microsoft.com/office/drawing/2014/main" id="{D3FC5771-E7C4-C8ED-F3EF-DD722E276DB7}"/>
              </a:ext>
            </a:extLst>
          </p:cNvPr>
          <p:cNvSpPr>
            <a:spLocks noGrp="1"/>
          </p:cNvSpPr>
          <p:nvPr>
            <p:ph type="body" sz="quarter" idx="53" hasCustomPrompt="1"/>
          </p:nvPr>
        </p:nvSpPr>
        <p:spPr>
          <a:xfrm>
            <a:off x="5044448" y="2086901"/>
            <a:ext cx="475488" cy="475488"/>
          </a:xfrm>
          <a:prstGeom prst="ellipse">
            <a:avLst/>
          </a:prstGeom>
          <a:solidFill>
            <a:schemeClr val="accent2"/>
          </a:solidFill>
        </p:spPr>
        <p:txBody>
          <a:bodyPr anchor="ctr"/>
          <a:lstStyle>
            <a:lvl1pPr marL="0" indent="0" algn="ctr" rtl="0">
              <a:buNone/>
              <a:defRPr sz="1400" b="0" i="0">
                <a:solidFill>
                  <a:srgbClr val="6F1237"/>
                </a:solidFill>
                <a:latin typeface="Lato Medium" panose="020F0502020204030203" pitchFamily="34" charset="77"/>
              </a:defRPr>
            </a:lvl1pPr>
          </a:lstStyle>
          <a:p>
            <a:pPr lvl="0"/>
            <a:r>
              <a:rPr lang="en-US"/>
              <a:t>#</a:t>
            </a:r>
          </a:p>
        </p:txBody>
      </p:sp>
      <p:sp>
        <p:nvSpPr>
          <p:cNvPr id="50" name="Text Placeholder 6">
            <a:extLst>
              <a:ext uri="{FF2B5EF4-FFF2-40B4-BE49-F238E27FC236}">
                <a16:creationId xmlns:a16="http://schemas.microsoft.com/office/drawing/2014/main" id="{15E46312-444E-E166-25BA-B4AB9FC8027B}"/>
              </a:ext>
            </a:extLst>
          </p:cNvPr>
          <p:cNvSpPr>
            <a:spLocks noGrp="1"/>
          </p:cNvSpPr>
          <p:nvPr>
            <p:ph type="body" sz="quarter" idx="54" hasCustomPrompt="1"/>
          </p:nvPr>
        </p:nvSpPr>
        <p:spPr>
          <a:xfrm>
            <a:off x="5044448" y="3805378"/>
            <a:ext cx="475488" cy="475488"/>
          </a:xfrm>
          <a:prstGeom prst="ellipse">
            <a:avLst/>
          </a:prstGeom>
          <a:solidFill>
            <a:schemeClr val="accent2"/>
          </a:solidFill>
        </p:spPr>
        <p:txBody>
          <a:bodyPr anchor="ctr"/>
          <a:lstStyle>
            <a:lvl1pPr marL="0" indent="0" algn="ctr" rtl="0">
              <a:buNone/>
              <a:defRPr sz="1400" b="0" i="0">
                <a:solidFill>
                  <a:srgbClr val="6F1237"/>
                </a:solidFill>
                <a:latin typeface="Lato Medium" panose="020F0502020204030203" pitchFamily="34" charset="77"/>
              </a:defRPr>
            </a:lvl1pPr>
          </a:lstStyle>
          <a:p>
            <a:pPr lvl="0"/>
            <a:r>
              <a:rPr lang="en-US"/>
              <a:t>#</a:t>
            </a:r>
          </a:p>
        </p:txBody>
      </p:sp>
      <p:sp>
        <p:nvSpPr>
          <p:cNvPr id="51" name="Marcador de texto 45">
            <a:extLst>
              <a:ext uri="{FF2B5EF4-FFF2-40B4-BE49-F238E27FC236}">
                <a16:creationId xmlns:a16="http://schemas.microsoft.com/office/drawing/2014/main" id="{8CF07B4D-C43A-A7D4-C497-369E65763164}"/>
              </a:ext>
            </a:extLst>
          </p:cNvPr>
          <p:cNvSpPr>
            <a:spLocks noGrp="1"/>
          </p:cNvSpPr>
          <p:nvPr>
            <p:ph type="body" sz="quarter" idx="16" hasCustomPrompt="1"/>
          </p:nvPr>
        </p:nvSpPr>
        <p:spPr>
          <a:xfrm>
            <a:off x="5755866" y="1253205"/>
            <a:ext cx="795528" cy="246888"/>
          </a:xfrm>
          <a:prstGeom prst="roundRect">
            <a:avLst/>
          </a:prstGeom>
          <a:solidFill>
            <a:schemeClr val="tx2"/>
          </a:solidFill>
        </p:spPr>
        <p:txBody>
          <a:bodyPr anchor="ctr" anchorCtr="0"/>
          <a:lstStyle>
            <a:lvl1pPr marL="0" indent="0" algn="ctr" rtl="0">
              <a:buNone/>
              <a:defRPr sz="1000" spc="300">
                <a:solidFill>
                  <a:schemeClr val="bg1"/>
                </a:solidFill>
              </a:defRPr>
            </a:lvl1pPr>
          </a:lstStyle>
          <a:p>
            <a:pPr lvl="0"/>
            <a:r>
              <a:rPr lang="en-US"/>
              <a:t>PAGE #</a:t>
            </a:r>
          </a:p>
        </p:txBody>
      </p:sp>
      <p:sp>
        <p:nvSpPr>
          <p:cNvPr id="52" name="Marcador de texto 45">
            <a:extLst>
              <a:ext uri="{FF2B5EF4-FFF2-40B4-BE49-F238E27FC236}">
                <a16:creationId xmlns:a16="http://schemas.microsoft.com/office/drawing/2014/main" id="{F3B71276-BA6F-668C-7A0D-C2D6D8B90CA4}"/>
              </a:ext>
            </a:extLst>
          </p:cNvPr>
          <p:cNvSpPr>
            <a:spLocks noGrp="1"/>
          </p:cNvSpPr>
          <p:nvPr>
            <p:ph type="body" sz="quarter" idx="55" hasCustomPrompt="1"/>
          </p:nvPr>
        </p:nvSpPr>
        <p:spPr>
          <a:xfrm>
            <a:off x="1173475" y="1279007"/>
            <a:ext cx="795528" cy="246888"/>
          </a:xfrm>
          <a:prstGeom prst="roundRect">
            <a:avLst/>
          </a:prstGeom>
          <a:solidFill>
            <a:srgbClr val="611333"/>
          </a:solidFill>
        </p:spPr>
        <p:txBody>
          <a:bodyPr anchor="ctr" anchorCtr="0"/>
          <a:lstStyle>
            <a:lvl1pPr marL="0" indent="0" algn="ctr" rtl="0">
              <a:buNone/>
              <a:defRPr sz="1000" spc="300">
                <a:solidFill>
                  <a:schemeClr val="bg1"/>
                </a:solidFill>
              </a:defRPr>
            </a:lvl1pPr>
          </a:lstStyle>
          <a:p>
            <a:pPr lvl="0"/>
            <a:r>
              <a:rPr lang="en-US"/>
              <a:t>PAGE #</a:t>
            </a:r>
          </a:p>
        </p:txBody>
      </p:sp>
      <p:sp>
        <p:nvSpPr>
          <p:cNvPr id="53" name="Marcador de texto 45">
            <a:extLst>
              <a:ext uri="{FF2B5EF4-FFF2-40B4-BE49-F238E27FC236}">
                <a16:creationId xmlns:a16="http://schemas.microsoft.com/office/drawing/2014/main" id="{69FFFD85-5E17-6049-7CEF-EB88C87E31E1}"/>
              </a:ext>
            </a:extLst>
          </p:cNvPr>
          <p:cNvSpPr>
            <a:spLocks noGrp="1"/>
          </p:cNvSpPr>
          <p:nvPr>
            <p:ph type="body" sz="quarter" idx="56" hasCustomPrompt="1"/>
          </p:nvPr>
        </p:nvSpPr>
        <p:spPr>
          <a:xfrm>
            <a:off x="5755866" y="4684833"/>
            <a:ext cx="795528" cy="246888"/>
          </a:xfrm>
          <a:prstGeom prst="roundRect">
            <a:avLst/>
          </a:prstGeom>
          <a:solidFill>
            <a:schemeClr val="tx2"/>
          </a:solidFill>
        </p:spPr>
        <p:txBody>
          <a:bodyPr anchor="ctr" anchorCtr="0"/>
          <a:lstStyle>
            <a:lvl1pPr marL="0" indent="0" algn="ctr" rtl="0">
              <a:buNone/>
              <a:defRPr sz="1000" spc="300">
                <a:solidFill>
                  <a:schemeClr val="bg1"/>
                </a:solidFill>
              </a:defRPr>
            </a:lvl1pPr>
          </a:lstStyle>
          <a:p>
            <a:pPr lvl="0"/>
            <a:r>
              <a:rPr lang="en-US"/>
              <a:t>PAGE #</a:t>
            </a:r>
          </a:p>
        </p:txBody>
      </p:sp>
      <p:sp>
        <p:nvSpPr>
          <p:cNvPr id="54" name="Marcador de texto 45">
            <a:extLst>
              <a:ext uri="{FF2B5EF4-FFF2-40B4-BE49-F238E27FC236}">
                <a16:creationId xmlns:a16="http://schemas.microsoft.com/office/drawing/2014/main" id="{9124457A-8A85-9183-1D57-5F145A905750}"/>
              </a:ext>
            </a:extLst>
          </p:cNvPr>
          <p:cNvSpPr>
            <a:spLocks noGrp="1"/>
          </p:cNvSpPr>
          <p:nvPr>
            <p:ph type="body" sz="quarter" idx="57" hasCustomPrompt="1"/>
          </p:nvPr>
        </p:nvSpPr>
        <p:spPr>
          <a:xfrm>
            <a:off x="1173475" y="4710635"/>
            <a:ext cx="795528" cy="246888"/>
          </a:xfrm>
          <a:prstGeom prst="roundRect">
            <a:avLst/>
          </a:prstGeom>
          <a:solidFill>
            <a:srgbClr val="611333"/>
          </a:solidFill>
        </p:spPr>
        <p:txBody>
          <a:bodyPr anchor="ctr" anchorCtr="0"/>
          <a:lstStyle>
            <a:lvl1pPr marL="0" indent="0" algn="ctr" rtl="0">
              <a:buNone/>
              <a:defRPr sz="1000" spc="300">
                <a:solidFill>
                  <a:schemeClr val="bg1"/>
                </a:solidFill>
              </a:defRPr>
            </a:lvl1pPr>
          </a:lstStyle>
          <a:p>
            <a:pPr lvl="0"/>
            <a:r>
              <a:rPr lang="en-US"/>
              <a:t>PAGE #</a:t>
            </a:r>
          </a:p>
        </p:txBody>
      </p:sp>
      <p:sp>
        <p:nvSpPr>
          <p:cNvPr id="55" name="Marcador de texto 45">
            <a:extLst>
              <a:ext uri="{FF2B5EF4-FFF2-40B4-BE49-F238E27FC236}">
                <a16:creationId xmlns:a16="http://schemas.microsoft.com/office/drawing/2014/main" id="{793A2E9D-C5F0-8F7B-9CF1-72856F23E30D}"/>
              </a:ext>
            </a:extLst>
          </p:cNvPr>
          <p:cNvSpPr>
            <a:spLocks noGrp="1"/>
          </p:cNvSpPr>
          <p:nvPr>
            <p:ph type="body" sz="quarter" idx="58" hasCustomPrompt="1"/>
          </p:nvPr>
        </p:nvSpPr>
        <p:spPr>
          <a:xfrm>
            <a:off x="5755866" y="3001359"/>
            <a:ext cx="795528" cy="246888"/>
          </a:xfrm>
          <a:prstGeom prst="roundRect">
            <a:avLst/>
          </a:prstGeom>
          <a:solidFill>
            <a:srgbClr val="611333"/>
          </a:solidFill>
        </p:spPr>
        <p:txBody>
          <a:bodyPr anchor="ctr" anchorCtr="0"/>
          <a:lstStyle>
            <a:lvl1pPr marL="0" indent="0" algn="ctr" rtl="0">
              <a:buNone/>
              <a:defRPr sz="1000" spc="300">
                <a:solidFill>
                  <a:schemeClr val="bg1"/>
                </a:solidFill>
              </a:defRPr>
            </a:lvl1pPr>
          </a:lstStyle>
          <a:p>
            <a:pPr lvl="0"/>
            <a:r>
              <a:rPr lang="en-US"/>
              <a:t>PAGE #</a:t>
            </a:r>
          </a:p>
        </p:txBody>
      </p:sp>
      <p:sp>
        <p:nvSpPr>
          <p:cNvPr id="56" name="Marcador de texto 45">
            <a:extLst>
              <a:ext uri="{FF2B5EF4-FFF2-40B4-BE49-F238E27FC236}">
                <a16:creationId xmlns:a16="http://schemas.microsoft.com/office/drawing/2014/main" id="{A56F255F-B9AE-78A0-59BB-B15C313FB02A}"/>
              </a:ext>
            </a:extLst>
          </p:cNvPr>
          <p:cNvSpPr>
            <a:spLocks noGrp="1"/>
          </p:cNvSpPr>
          <p:nvPr>
            <p:ph type="body" sz="quarter" idx="59" hasCustomPrompt="1"/>
          </p:nvPr>
        </p:nvSpPr>
        <p:spPr>
          <a:xfrm>
            <a:off x="1173475" y="3027161"/>
            <a:ext cx="795528" cy="246888"/>
          </a:xfrm>
          <a:prstGeom prst="roundRect">
            <a:avLst/>
          </a:prstGeom>
          <a:solidFill>
            <a:schemeClr val="tx2"/>
          </a:solidFill>
        </p:spPr>
        <p:txBody>
          <a:bodyPr anchor="ctr" anchorCtr="0"/>
          <a:lstStyle>
            <a:lvl1pPr marL="0" indent="0" algn="ctr" rtl="0">
              <a:buNone/>
              <a:defRPr sz="1000" spc="300">
                <a:solidFill>
                  <a:schemeClr val="bg1"/>
                </a:solidFill>
              </a:defRPr>
            </a:lvl1pPr>
          </a:lstStyle>
          <a:p>
            <a:pPr lvl="0"/>
            <a:r>
              <a:rPr lang="en-US"/>
              <a:t>PAGE #</a:t>
            </a:r>
          </a:p>
        </p:txBody>
      </p:sp>
    </p:spTree>
    <p:extLst>
      <p:ext uri="{BB962C8B-B14F-4D97-AF65-F5344CB8AC3E}">
        <p14:creationId xmlns:p14="http://schemas.microsoft.com/office/powerpoint/2010/main" val="5795766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ld Section One divider">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71EDEF9-AD55-05B5-21EE-C3FA7301E9E0}"/>
              </a:ext>
            </a:extLst>
          </p:cNvPr>
          <p:cNvGraphicFramePr>
            <a:graphicFrameLocks noChangeAspect="1"/>
          </p:cNvGraphicFramePr>
          <p:nvPr userDrawn="1">
            <p:custDataLst>
              <p:tags r:id="rId1"/>
            </p:custDataLst>
            <p:extLst>
              <p:ext uri="{D42A27DB-BD31-4B8C-83A1-F6EECF244321}">
                <p14:modId xmlns:p14="http://schemas.microsoft.com/office/powerpoint/2010/main" val="2554607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5" name="think-cell data - do not delete" hidden="1">
                        <a:extLst>
                          <a:ext uri="{FF2B5EF4-FFF2-40B4-BE49-F238E27FC236}">
                            <a16:creationId xmlns:a16="http://schemas.microsoft.com/office/drawing/2014/main" id="{071EDEF9-AD55-05B5-21EE-C3FA7301E9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Google Shape;155;p17">
            <a:extLst>
              <a:ext uri="{FF2B5EF4-FFF2-40B4-BE49-F238E27FC236}">
                <a16:creationId xmlns:a16="http://schemas.microsoft.com/office/drawing/2014/main" id="{9BBBA251-0C7E-CB79-A971-4346311EA6C2}"/>
              </a:ext>
            </a:extLst>
          </p:cNvPr>
          <p:cNvSpPr/>
          <p:nvPr userDrawn="1"/>
        </p:nvSpPr>
        <p:spPr>
          <a:xfrm rot="10800000">
            <a:off x="-13776" y="-13428"/>
            <a:ext cx="6853835" cy="5166079"/>
          </a:xfrm>
          <a:prstGeom prst="rect">
            <a:avLst/>
          </a:prstGeom>
          <a:solidFill>
            <a:schemeClr val="accent2">
              <a:lumMod val="60000"/>
              <a:lumOff val="4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endParaRPr lang="en-US" sz="3800">
              <a:latin typeface="Lato"/>
              <a:ea typeface="Lato"/>
              <a:cs typeface="Lato"/>
              <a:sym typeface="Lato"/>
            </a:endParaRPr>
          </a:p>
        </p:txBody>
      </p:sp>
      <p:sp>
        <p:nvSpPr>
          <p:cNvPr id="3" name="Marcador de posición de imagen 18">
            <a:extLst>
              <a:ext uri="{FF2B5EF4-FFF2-40B4-BE49-F238E27FC236}">
                <a16:creationId xmlns:a16="http://schemas.microsoft.com/office/drawing/2014/main" id="{453648AE-4506-FE81-A171-51C6223181FD}"/>
              </a:ext>
            </a:extLst>
          </p:cNvPr>
          <p:cNvSpPr>
            <a:spLocks noGrp="1"/>
          </p:cNvSpPr>
          <p:nvPr>
            <p:ph type="pic" sz="quarter" idx="13"/>
          </p:nvPr>
        </p:nvSpPr>
        <p:spPr>
          <a:xfrm>
            <a:off x="5843622" y="-7839"/>
            <a:ext cx="3300378" cy="5170917"/>
          </a:xfrm>
          <a:blipFill>
            <a:blip r:embed="rId5" cstate="screen">
              <a:extLst>
                <a:ext uri="{28A0092B-C50C-407E-A947-70E740481C1C}">
                  <a14:useLocalDpi xmlns:a14="http://schemas.microsoft.com/office/drawing/2010/main"/>
                </a:ext>
              </a:extLst>
            </a:blip>
            <a:stretch>
              <a:fillRect/>
            </a:stretch>
          </a:blipFill>
        </p:spPr>
        <p:txBody>
          <a:bodyPr/>
          <a:lstStyle/>
          <a:p>
            <a:r>
              <a:rPr lang="en-US"/>
              <a:t>Click icon to add picture</a:t>
            </a:r>
            <a:endParaRPr lang="es-MX"/>
          </a:p>
        </p:txBody>
      </p:sp>
      <p:cxnSp>
        <p:nvCxnSpPr>
          <p:cNvPr id="4" name="Conector recto 25">
            <a:extLst>
              <a:ext uri="{FF2B5EF4-FFF2-40B4-BE49-F238E27FC236}">
                <a16:creationId xmlns:a16="http://schemas.microsoft.com/office/drawing/2014/main" id="{C0F6A00D-F6AA-C4D6-C717-EEB3A6DD1E41}"/>
              </a:ext>
            </a:extLst>
          </p:cNvPr>
          <p:cNvCxnSpPr>
            <a:cxnSpLocks/>
          </p:cNvCxnSpPr>
          <p:nvPr userDrawn="1"/>
        </p:nvCxnSpPr>
        <p:spPr>
          <a:xfrm flipV="1">
            <a:off x="5836256" y="-23855"/>
            <a:ext cx="0" cy="5165579"/>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5" name="Marcador de texto 24">
            <a:extLst>
              <a:ext uri="{FF2B5EF4-FFF2-40B4-BE49-F238E27FC236}">
                <a16:creationId xmlns:a16="http://schemas.microsoft.com/office/drawing/2014/main" id="{A62B3B6D-C5C6-E313-0495-1C4648D9BFAA}"/>
              </a:ext>
            </a:extLst>
          </p:cNvPr>
          <p:cNvSpPr>
            <a:spLocks noGrp="1"/>
          </p:cNvSpPr>
          <p:nvPr>
            <p:ph type="body" sz="quarter" idx="12" hasCustomPrompt="1"/>
          </p:nvPr>
        </p:nvSpPr>
        <p:spPr>
          <a:xfrm>
            <a:off x="466343" y="1011963"/>
            <a:ext cx="4448349" cy="2733026"/>
          </a:xfrm>
        </p:spPr>
        <p:txBody>
          <a:bodyPr/>
          <a:lstStyle>
            <a:lvl1pPr marL="0" indent="0" rtl="0">
              <a:lnSpc>
                <a:spcPct val="100000"/>
              </a:lnSpc>
              <a:buNone/>
              <a:defRPr sz="3600" b="0" i="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This is a divider page. You can include below any descriptions or sub sections.</a:t>
            </a:r>
          </a:p>
        </p:txBody>
      </p:sp>
      <p:sp>
        <p:nvSpPr>
          <p:cNvPr id="6" name="Marcador de texto 19">
            <a:extLst>
              <a:ext uri="{FF2B5EF4-FFF2-40B4-BE49-F238E27FC236}">
                <a16:creationId xmlns:a16="http://schemas.microsoft.com/office/drawing/2014/main" id="{5057C310-E577-CE8E-ED4D-C81F82388753}"/>
              </a:ext>
            </a:extLst>
          </p:cNvPr>
          <p:cNvSpPr>
            <a:spLocks noGrp="1"/>
          </p:cNvSpPr>
          <p:nvPr>
            <p:ph type="body" sz="quarter" idx="11" hasCustomPrompt="1"/>
          </p:nvPr>
        </p:nvSpPr>
        <p:spPr>
          <a:xfrm>
            <a:off x="445776" y="288445"/>
            <a:ext cx="2430357" cy="307887"/>
          </a:xfrm>
        </p:spPr>
        <p:txBody>
          <a:bodyPr anchor="ctr" anchorCtr="0"/>
          <a:lstStyle>
            <a:lvl1pPr marL="0" indent="0" algn="l" rtl="0">
              <a:buNone/>
              <a:defRPr sz="1300" spc="300">
                <a:solidFill>
                  <a:schemeClr val="tx1"/>
                </a:solidFill>
              </a:defRPr>
            </a:lvl1pPr>
          </a:lstStyle>
          <a:p>
            <a:pPr lvl="0"/>
            <a:r>
              <a:rPr lang="en-US"/>
              <a:t>SECTION ONE</a:t>
            </a:r>
          </a:p>
        </p:txBody>
      </p:sp>
      <p:sp>
        <p:nvSpPr>
          <p:cNvPr id="16" name="Marcador de texto 24">
            <a:extLst>
              <a:ext uri="{FF2B5EF4-FFF2-40B4-BE49-F238E27FC236}">
                <a16:creationId xmlns:a16="http://schemas.microsoft.com/office/drawing/2014/main" id="{8BACE05A-89B0-7DEE-0956-A579CD58FFDB}"/>
              </a:ext>
            </a:extLst>
          </p:cNvPr>
          <p:cNvSpPr>
            <a:spLocks noGrp="1"/>
          </p:cNvSpPr>
          <p:nvPr>
            <p:ph type="body" sz="quarter" idx="14" hasCustomPrompt="1"/>
          </p:nvPr>
        </p:nvSpPr>
        <p:spPr>
          <a:xfrm>
            <a:off x="4468700" y="398090"/>
            <a:ext cx="109728" cy="109728"/>
          </a:xfrm>
          <a:prstGeom prst="ellipse">
            <a:avLst/>
          </a:prstGeom>
          <a:solidFill>
            <a:schemeClr val="tx2"/>
          </a:solidFill>
        </p:spPr>
        <p:txBody>
          <a:bodyPr/>
          <a:lstStyle>
            <a:lvl1pPr marL="0" indent="0" rtl="0">
              <a:lnSpc>
                <a:spcPct val="100000"/>
              </a:lnSpc>
              <a:buNone/>
              <a:defRPr sz="3600" b="0" i="0">
                <a:solidFill>
                  <a:srgbClr val="881946"/>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 </a:t>
            </a:r>
          </a:p>
        </p:txBody>
      </p:sp>
      <p:sp>
        <p:nvSpPr>
          <p:cNvPr id="17" name="Marcador de texto 24">
            <a:extLst>
              <a:ext uri="{FF2B5EF4-FFF2-40B4-BE49-F238E27FC236}">
                <a16:creationId xmlns:a16="http://schemas.microsoft.com/office/drawing/2014/main" id="{EEAC59AC-6D10-230B-31CF-387BA294B3D9}"/>
              </a:ext>
            </a:extLst>
          </p:cNvPr>
          <p:cNvSpPr>
            <a:spLocks noGrp="1"/>
          </p:cNvSpPr>
          <p:nvPr>
            <p:ph type="body" sz="quarter" idx="15" hasCustomPrompt="1"/>
          </p:nvPr>
        </p:nvSpPr>
        <p:spPr>
          <a:xfrm>
            <a:off x="4679616" y="398090"/>
            <a:ext cx="109728" cy="109728"/>
          </a:xfrm>
          <a:prstGeom prst="ellipse">
            <a:avLst/>
          </a:prstGeom>
          <a:solidFill>
            <a:schemeClr val="bg1"/>
          </a:solidFill>
        </p:spPr>
        <p:txBody>
          <a:bodyPr/>
          <a:lstStyle>
            <a:lvl1pPr marL="0" indent="0" rtl="0">
              <a:lnSpc>
                <a:spcPct val="100000"/>
              </a:lnSpc>
              <a:buNone/>
              <a:defRPr sz="3600" b="0" i="0">
                <a:solidFill>
                  <a:srgbClr val="881946"/>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 </a:t>
            </a:r>
          </a:p>
        </p:txBody>
      </p:sp>
      <p:sp>
        <p:nvSpPr>
          <p:cNvPr id="18" name="Marcador de texto 24">
            <a:extLst>
              <a:ext uri="{FF2B5EF4-FFF2-40B4-BE49-F238E27FC236}">
                <a16:creationId xmlns:a16="http://schemas.microsoft.com/office/drawing/2014/main" id="{7B00B538-9C61-543B-D30B-AFA4F9189CDF}"/>
              </a:ext>
            </a:extLst>
          </p:cNvPr>
          <p:cNvSpPr>
            <a:spLocks noGrp="1"/>
          </p:cNvSpPr>
          <p:nvPr>
            <p:ph type="body" sz="quarter" idx="16" hasCustomPrompt="1"/>
          </p:nvPr>
        </p:nvSpPr>
        <p:spPr>
          <a:xfrm>
            <a:off x="4886802" y="398090"/>
            <a:ext cx="109728" cy="109728"/>
          </a:xfrm>
          <a:prstGeom prst="ellipse">
            <a:avLst/>
          </a:prstGeom>
          <a:solidFill>
            <a:schemeClr val="bg1"/>
          </a:solidFill>
        </p:spPr>
        <p:txBody>
          <a:bodyPr/>
          <a:lstStyle>
            <a:lvl1pPr marL="0" indent="0" rtl="0">
              <a:lnSpc>
                <a:spcPct val="100000"/>
              </a:lnSpc>
              <a:buNone/>
              <a:defRPr sz="3600" b="0" i="0">
                <a:solidFill>
                  <a:srgbClr val="881946"/>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 </a:t>
            </a:r>
          </a:p>
        </p:txBody>
      </p:sp>
      <p:sp>
        <p:nvSpPr>
          <p:cNvPr id="19" name="Marcador de texto 24">
            <a:extLst>
              <a:ext uri="{FF2B5EF4-FFF2-40B4-BE49-F238E27FC236}">
                <a16:creationId xmlns:a16="http://schemas.microsoft.com/office/drawing/2014/main" id="{9D78B517-5BBB-08F1-FE7E-17234B8483FB}"/>
              </a:ext>
            </a:extLst>
          </p:cNvPr>
          <p:cNvSpPr>
            <a:spLocks noGrp="1"/>
          </p:cNvSpPr>
          <p:nvPr>
            <p:ph type="body" sz="quarter" idx="17" hasCustomPrompt="1"/>
          </p:nvPr>
        </p:nvSpPr>
        <p:spPr>
          <a:xfrm>
            <a:off x="5097350" y="398090"/>
            <a:ext cx="109728" cy="109728"/>
          </a:xfrm>
          <a:prstGeom prst="ellipse">
            <a:avLst/>
          </a:prstGeom>
          <a:solidFill>
            <a:schemeClr val="bg1"/>
          </a:solidFill>
        </p:spPr>
        <p:txBody>
          <a:bodyPr/>
          <a:lstStyle>
            <a:lvl1pPr marL="0" indent="0" rtl="0">
              <a:lnSpc>
                <a:spcPct val="100000"/>
              </a:lnSpc>
              <a:buNone/>
              <a:defRPr sz="3600" b="0" i="0">
                <a:solidFill>
                  <a:srgbClr val="881946"/>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 </a:t>
            </a:r>
          </a:p>
        </p:txBody>
      </p:sp>
      <p:sp>
        <p:nvSpPr>
          <p:cNvPr id="20" name="Marcador de texto 24">
            <a:extLst>
              <a:ext uri="{FF2B5EF4-FFF2-40B4-BE49-F238E27FC236}">
                <a16:creationId xmlns:a16="http://schemas.microsoft.com/office/drawing/2014/main" id="{B1E2DA5A-CE24-C1AC-0854-87767EA9C5D0}"/>
              </a:ext>
            </a:extLst>
          </p:cNvPr>
          <p:cNvSpPr>
            <a:spLocks noGrp="1"/>
          </p:cNvSpPr>
          <p:nvPr>
            <p:ph type="body" sz="quarter" idx="18" hasCustomPrompt="1"/>
          </p:nvPr>
        </p:nvSpPr>
        <p:spPr>
          <a:xfrm>
            <a:off x="5306430" y="398090"/>
            <a:ext cx="109728" cy="109728"/>
          </a:xfrm>
          <a:prstGeom prst="ellipse">
            <a:avLst/>
          </a:prstGeom>
          <a:solidFill>
            <a:schemeClr val="bg1"/>
          </a:solidFill>
        </p:spPr>
        <p:txBody>
          <a:bodyPr/>
          <a:lstStyle>
            <a:lvl1pPr marL="0" indent="0" rtl="0">
              <a:lnSpc>
                <a:spcPct val="100000"/>
              </a:lnSpc>
              <a:buNone/>
              <a:defRPr sz="3600" b="0" i="0">
                <a:solidFill>
                  <a:srgbClr val="881946"/>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 </a:t>
            </a:r>
          </a:p>
        </p:txBody>
      </p:sp>
      <p:sp>
        <p:nvSpPr>
          <p:cNvPr id="9" name="Google Shape;551;p28">
            <a:extLst>
              <a:ext uri="{FF2B5EF4-FFF2-40B4-BE49-F238E27FC236}">
                <a16:creationId xmlns:a16="http://schemas.microsoft.com/office/drawing/2014/main" id="{FB424521-BE63-DA88-A5C9-129A2A2633BD}"/>
              </a:ext>
            </a:extLst>
          </p:cNvPr>
          <p:cNvSpPr/>
          <p:nvPr userDrawn="1"/>
        </p:nvSpPr>
        <p:spPr>
          <a:xfrm>
            <a:off x="5859387" y="-18516"/>
            <a:ext cx="3291978" cy="5181594"/>
          </a:xfrm>
          <a:prstGeom prst="rect">
            <a:avLst/>
          </a:prstGeom>
          <a:solidFill>
            <a:schemeClr val="accent1">
              <a:lumMod val="40000"/>
              <a:lumOff val="60000"/>
              <a:alpha val="63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Tree>
    <p:extLst>
      <p:ext uri="{BB962C8B-B14F-4D97-AF65-F5344CB8AC3E}">
        <p14:creationId xmlns:p14="http://schemas.microsoft.com/office/powerpoint/2010/main" val="8930854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ld full page quot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A2051F1-275D-5EE0-1DB6-AB49FC67F249}"/>
              </a:ext>
            </a:extLst>
          </p:cNvPr>
          <p:cNvGraphicFramePr>
            <a:graphicFrameLocks noChangeAspect="1"/>
          </p:cNvGraphicFramePr>
          <p:nvPr userDrawn="1">
            <p:custDataLst>
              <p:tags r:id="rId1"/>
            </p:custDataLst>
            <p:extLst>
              <p:ext uri="{D42A27DB-BD31-4B8C-83A1-F6EECF244321}">
                <p14:modId xmlns:p14="http://schemas.microsoft.com/office/powerpoint/2010/main" val="2952374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FA2051F1-275D-5EE0-1DB6-AB49FC67F2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Google Shape;143;p16">
            <a:extLst>
              <a:ext uri="{FF2B5EF4-FFF2-40B4-BE49-F238E27FC236}">
                <a16:creationId xmlns:a16="http://schemas.microsoft.com/office/drawing/2014/main" id="{BB8DA4C1-60E6-1EEC-9613-6ABB8B25661D}"/>
              </a:ext>
            </a:extLst>
          </p:cNvPr>
          <p:cNvSpPr/>
          <p:nvPr userDrawn="1"/>
        </p:nvSpPr>
        <p:spPr>
          <a:xfrm>
            <a:off x="-13775" y="-13426"/>
            <a:ext cx="9233400" cy="5242971"/>
          </a:xfrm>
          <a:prstGeom prst="rect">
            <a:avLst/>
          </a:prstGeom>
          <a:gradFill>
            <a:gsLst>
              <a:gs pos="0">
                <a:srgbClr val="8D1940"/>
              </a:gs>
              <a:gs pos="23000">
                <a:srgbClr val="6F1237"/>
              </a:gs>
              <a:gs pos="100000">
                <a:srgbClr val="56032B"/>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3" name="Google Shape;147;p16">
            <a:extLst>
              <a:ext uri="{FF2B5EF4-FFF2-40B4-BE49-F238E27FC236}">
                <a16:creationId xmlns:a16="http://schemas.microsoft.com/office/drawing/2014/main" id="{8F023361-B9C9-D556-8783-0A3D998C71C1}"/>
              </a:ext>
            </a:extLst>
          </p:cNvPr>
          <p:cNvSpPr/>
          <p:nvPr userDrawn="1"/>
        </p:nvSpPr>
        <p:spPr>
          <a:xfrm rot="-6590466">
            <a:off x="5207701" y="569298"/>
            <a:ext cx="839621" cy="839621"/>
          </a:xfrm>
          <a:prstGeom prst="ellipse">
            <a:avLst/>
          </a:prstGeom>
          <a:gradFill>
            <a:gsLst>
              <a:gs pos="0">
                <a:srgbClr val="FFBE24"/>
              </a:gs>
              <a:gs pos="78000">
                <a:srgbClr val="F58F09"/>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4" name="Google Shape;147;p16">
            <a:extLst>
              <a:ext uri="{FF2B5EF4-FFF2-40B4-BE49-F238E27FC236}">
                <a16:creationId xmlns:a16="http://schemas.microsoft.com/office/drawing/2014/main" id="{CF718718-1399-C59D-36C1-01B7442A1173}"/>
              </a:ext>
            </a:extLst>
          </p:cNvPr>
          <p:cNvSpPr/>
          <p:nvPr userDrawn="1"/>
        </p:nvSpPr>
        <p:spPr>
          <a:xfrm rot="15009534">
            <a:off x="5426428" y="1424508"/>
            <a:ext cx="3109440" cy="3109440"/>
          </a:xfrm>
          <a:prstGeom prst="ellipse">
            <a:avLst/>
          </a:prstGeom>
          <a:gradFill>
            <a:gsLst>
              <a:gs pos="0">
                <a:srgbClr val="FFC982"/>
              </a:gs>
              <a:gs pos="100000">
                <a:srgbClr val="F58F09"/>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5" name="Marcador de posición de imagen 23">
            <a:extLst>
              <a:ext uri="{FF2B5EF4-FFF2-40B4-BE49-F238E27FC236}">
                <a16:creationId xmlns:a16="http://schemas.microsoft.com/office/drawing/2014/main" id="{83764CFF-5459-0B39-A5ED-C249D1533597}"/>
              </a:ext>
            </a:extLst>
          </p:cNvPr>
          <p:cNvSpPr>
            <a:spLocks noGrp="1"/>
          </p:cNvSpPr>
          <p:nvPr>
            <p:ph type="pic" sz="quarter" idx="10"/>
          </p:nvPr>
        </p:nvSpPr>
        <p:spPr>
          <a:xfrm>
            <a:off x="5556850" y="1554060"/>
            <a:ext cx="2848595" cy="2867186"/>
          </a:xfrm>
          <a:prstGeom prst="ellipse">
            <a:avLst/>
          </a:prstGeom>
          <a:blipFill>
            <a:blip r:embed="rId5"/>
            <a:stretch>
              <a:fillRect/>
            </a:stretch>
          </a:blipFill>
        </p:spPr>
        <p:txBody>
          <a:bodyPr/>
          <a:lstStyle/>
          <a:p>
            <a:r>
              <a:rPr lang="en-US"/>
              <a:t>Click icon to add picture</a:t>
            </a:r>
            <a:endParaRPr lang="es-MX"/>
          </a:p>
        </p:txBody>
      </p:sp>
      <p:sp>
        <p:nvSpPr>
          <p:cNvPr id="6" name="Marcador de texto 26">
            <a:extLst>
              <a:ext uri="{FF2B5EF4-FFF2-40B4-BE49-F238E27FC236}">
                <a16:creationId xmlns:a16="http://schemas.microsoft.com/office/drawing/2014/main" id="{EE6DB479-2BCE-C663-1E4A-5C8F2FF2A69A}"/>
              </a:ext>
            </a:extLst>
          </p:cNvPr>
          <p:cNvSpPr>
            <a:spLocks noGrp="1"/>
          </p:cNvSpPr>
          <p:nvPr>
            <p:ph type="body" sz="quarter" idx="11" hasCustomPrompt="1"/>
          </p:nvPr>
        </p:nvSpPr>
        <p:spPr>
          <a:xfrm>
            <a:off x="466344" y="876927"/>
            <a:ext cx="4132262" cy="2914650"/>
          </a:xfrm>
        </p:spPr>
        <p:txBody>
          <a:bodyPr/>
          <a:lstStyle>
            <a:lvl1pPr marL="0" indent="0" rtl="0">
              <a:lnSpc>
                <a:spcPct val="120000"/>
              </a:lnSpc>
              <a:buNone/>
              <a:defRPr sz="28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This is a quote slide. You can also add here a takeaway from the section or anything you want to highlight.”</a:t>
            </a:r>
          </a:p>
        </p:txBody>
      </p:sp>
      <p:sp>
        <p:nvSpPr>
          <p:cNvPr id="7" name="Marcador de texto 26">
            <a:extLst>
              <a:ext uri="{FF2B5EF4-FFF2-40B4-BE49-F238E27FC236}">
                <a16:creationId xmlns:a16="http://schemas.microsoft.com/office/drawing/2014/main" id="{07A9347A-CA27-C63A-4DA2-ED29D73178E0}"/>
              </a:ext>
            </a:extLst>
          </p:cNvPr>
          <p:cNvSpPr>
            <a:spLocks noGrp="1"/>
          </p:cNvSpPr>
          <p:nvPr>
            <p:ph type="body" sz="quarter" idx="12" hasCustomPrompt="1"/>
          </p:nvPr>
        </p:nvSpPr>
        <p:spPr>
          <a:xfrm>
            <a:off x="466344" y="4128874"/>
            <a:ext cx="2958179" cy="584745"/>
          </a:xfrm>
        </p:spPr>
        <p:txBody>
          <a:bodyPr/>
          <a:lstStyle>
            <a:lvl1pPr marL="0" indent="0" rtl="0">
              <a:lnSpc>
                <a:spcPct val="120000"/>
              </a:lnSpc>
              <a:buNone/>
              <a:defRPr sz="1300" b="0" i="0">
                <a:solidFill>
                  <a:srgbClr val="FFAC13"/>
                </a:solidFill>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ATTRIBUTION GOES HERE            TITLE AND ORGANIZATION GO HERE</a:t>
            </a:r>
          </a:p>
        </p:txBody>
      </p:sp>
      <p:sp>
        <p:nvSpPr>
          <p:cNvPr id="8" name="Marcador de texto 26">
            <a:extLst>
              <a:ext uri="{FF2B5EF4-FFF2-40B4-BE49-F238E27FC236}">
                <a16:creationId xmlns:a16="http://schemas.microsoft.com/office/drawing/2014/main" id="{30BA5CD9-6E06-F0AC-1C55-4BF1C2B52749}"/>
              </a:ext>
            </a:extLst>
          </p:cNvPr>
          <p:cNvSpPr>
            <a:spLocks noGrp="1"/>
          </p:cNvSpPr>
          <p:nvPr>
            <p:ph type="body" sz="quarter" idx="13" hasCustomPrompt="1"/>
          </p:nvPr>
        </p:nvSpPr>
        <p:spPr>
          <a:xfrm>
            <a:off x="466344" y="215597"/>
            <a:ext cx="521311" cy="722036"/>
          </a:xfrm>
        </p:spPr>
        <p:txBody>
          <a:bodyPr anchor="t"/>
          <a:lstStyle>
            <a:lvl1pPr marL="0" indent="0" rtl="0">
              <a:lnSpc>
                <a:spcPct val="110000"/>
              </a:lnSpc>
              <a:buNone/>
              <a:defRPr sz="7000" b="1" i="0">
                <a:solidFill>
                  <a:srgbClr val="FFAB14"/>
                </a:solidFill>
                <a:latin typeface="Arial" panose="020B0604020202020204" pitchFamily="34" charset="0"/>
                <a:ea typeface="Lato Light" panose="020F0502020204030203" pitchFamily="34" charset="0"/>
                <a:cs typeface="Arial" panose="020B0604020202020204" pitchFamily="34" charset="0"/>
              </a:defRPr>
            </a:lvl1pPr>
          </a:lstStyle>
          <a:p>
            <a:pPr lvl="0"/>
            <a:r>
              <a:rPr lang="en-US"/>
              <a:t>“</a:t>
            </a:r>
          </a:p>
        </p:txBody>
      </p:sp>
      <p:pic>
        <p:nvPicPr>
          <p:cNvPr id="9" name="Graphic 4">
            <a:extLst>
              <a:ext uri="{FF2B5EF4-FFF2-40B4-BE49-F238E27FC236}">
                <a16:creationId xmlns:a16="http://schemas.microsoft.com/office/drawing/2014/main" id="{F88FCAFF-97CB-ACD5-9F9F-D9B3EFDBF27E}"/>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255140" y="4913719"/>
            <a:ext cx="380786" cy="113702"/>
          </a:xfrm>
          <a:prstGeom prst="rect">
            <a:avLst/>
          </a:prstGeom>
        </p:spPr>
      </p:pic>
      <p:sp>
        <p:nvSpPr>
          <p:cNvPr id="10" name="Slide Number Placeholder 5">
            <a:extLst>
              <a:ext uri="{FF2B5EF4-FFF2-40B4-BE49-F238E27FC236}">
                <a16:creationId xmlns:a16="http://schemas.microsoft.com/office/drawing/2014/main" id="{539E8CA0-2C59-D668-05BF-F5D2846DD375}"/>
              </a:ext>
            </a:extLst>
          </p:cNvPr>
          <p:cNvSpPr>
            <a:spLocks noGrp="1"/>
          </p:cNvSpPr>
          <p:nvPr>
            <p:ph type="sldNum" sz="quarter" idx="4294967295"/>
          </p:nvPr>
        </p:nvSpPr>
        <p:spPr>
          <a:xfrm>
            <a:off x="8729560" y="4911474"/>
            <a:ext cx="342581" cy="96296"/>
          </a:xfrm>
          <a:prstGeom prst="rect">
            <a:avLst/>
          </a:prstGeom>
          <a:noFill/>
        </p:spPr>
        <p:txBody>
          <a:bodyPr anchor="ctr" anchorCtr="0"/>
          <a:lstStyle>
            <a:lvl1pPr rtl="0">
              <a:defRPr>
                <a:solidFill>
                  <a:schemeClr val="bg1"/>
                </a:solidFill>
              </a:defRPr>
            </a:lvl1pPr>
          </a:lstStyle>
          <a:p>
            <a:fld id="{A90607E6-BCED-4FC1-A345-AB2A307AB80F}" type="slidenum">
              <a:rPr lang="en-US" sz="700" b="1" smtClean="0"/>
              <a:pPr/>
              <a:t>‹#›</a:t>
            </a:fld>
            <a:endParaRPr lang="en-US" b="1"/>
          </a:p>
        </p:txBody>
      </p:sp>
    </p:spTree>
    <p:extLst>
      <p:ext uri="{BB962C8B-B14F-4D97-AF65-F5344CB8AC3E}">
        <p14:creationId xmlns:p14="http://schemas.microsoft.com/office/powerpoint/2010/main" val="39092160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ld full page quote alt">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9D14310-ED21-48DB-41E6-69648C0CBC83}"/>
              </a:ext>
            </a:extLst>
          </p:cNvPr>
          <p:cNvGraphicFramePr>
            <a:graphicFrameLocks noChangeAspect="1"/>
          </p:cNvGraphicFramePr>
          <p:nvPr userDrawn="1">
            <p:custDataLst>
              <p:tags r:id="rId1"/>
            </p:custDataLst>
            <p:extLst>
              <p:ext uri="{D42A27DB-BD31-4B8C-83A1-F6EECF244321}">
                <p14:modId xmlns:p14="http://schemas.microsoft.com/office/powerpoint/2010/main" val="1785961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29D14310-ED21-48DB-41E6-69648C0CBC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Google Shape;155;p17">
            <a:extLst>
              <a:ext uri="{FF2B5EF4-FFF2-40B4-BE49-F238E27FC236}">
                <a16:creationId xmlns:a16="http://schemas.microsoft.com/office/drawing/2014/main" id="{AE9D624E-8F08-36EA-19BC-3AAE5F4B7108}"/>
              </a:ext>
            </a:extLst>
          </p:cNvPr>
          <p:cNvSpPr/>
          <p:nvPr userDrawn="1"/>
        </p:nvSpPr>
        <p:spPr>
          <a:xfrm rot="10800000">
            <a:off x="-13775" y="-13426"/>
            <a:ext cx="9173922" cy="5166079"/>
          </a:xfrm>
          <a:prstGeom prst="rect">
            <a:avLst/>
          </a:prstGeom>
          <a:gradFill>
            <a:gsLst>
              <a:gs pos="43000">
                <a:srgbClr val="FFAB15"/>
              </a:gs>
              <a:gs pos="100000">
                <a:srgbClr val="F5D59A"/>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endParaRPr lang="en-US" sz="3800">
              <a:latin typeface="Lato"/>
              <a:ea typeface="Lato"/>
              <a:cs typeface="Lato"/>
              <a:sym typeface="Lato"/>
            </a:endParaRPr>
          </a:p>
        </p:txBody>
      </p:sp>
      <p:sp>
        <p:nvSpPr>
          <p:cNvPr id="3" name="Google Shape;160;p17">
            <a:extLst>
              <a:ext uri="{FF2B5EF4-FFF2-40B4-BE49-F238E27FC236}">
                <a16:creationId xmlns:a16="http://schemas.microsoft.com/office/drawing/2014/main" id="{FEBCF124-DA62-0D46-8D16-B82FFEBDEEFA}"/>
              </a:ext>
            </a:extLst>
          </p:cNvPr>
          <p:cNvSpPr/>
          <p:nvPr userDrawn="1"/>
        </p:nvSpPr>
        <p:spPr>
          <a:xfrm rot="3873340">
            <a:off x="861456" y="1382163"/>
            <a:ext cx="3077959" cy="3077959"/>
          </a:xfrm>
          <a:prstGeom prst="ellipse">
            <a:avLst/>
          </a:prstGeom>
          <a:gradFill>
            <a:gsLst>
              <a:gs pos="0">
                <a:srgbClr val="611333"/>
              </a:gs>
              <a:gs pos="100000">
                <a:srgbClr val="BA4570"/>
              </a:gs>
            </a:gsLst>
            <a:lin ang="2700006"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4" name="Google Shape;162;p17">
            <a:extLst>
              <a:ext uri="{FF2B5EF4-FFF2-40B4-BE49-F238E27FC236}">
                <a16:creationId xmlns:a16="http://schemas.microsoft.com/office/drawing/2014/main" id="{5611494D-41D7-3773-0875-5720C730F927}"/>
              </a:ext>
            </a:extLst>
          </p:cNvPr>
          <p:cNvSpPr/>
          <p:nvPr userDrawn="1"/>
        </p:nvSpPr>
        <p:spPr>
          <a:xfrm rot="-10376410">
            <a:off x="730836" y="1016828"/>
            <a:ext cx="327080" cy="326782"/>
          </a:xfrm>
          <a:prstGeom prst="ellipse">
            <a:avLst/>
          </a:prstGeom>
          <a:solidFill>
            <a:srgbClr val="88194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5" name="Marcador de posición de imagen 23">
            <a:extLst>
              <a:ext uri="{FF2B5EF4-FFF2-40B4-BE49-F238E27FC236}">
                <a16:creationId xmlns:a16="http://schemas.microsoft.com/office/drawing/2014/main" id="{ED70BD81-FA4E-984E-5E2C-0ECC3B18A223}"/>
              </a:ext>
            </a:extLst>
          </p:cNvPr>
          <p:cNvSpPr>
            <a:spLocks noGrp="1"/>
          </p:cNvSpPr>
          <p:nvPr>
            <p:ph type="pic" sz="quarter" idx="10"/>
          </p:nvPr>
        </p:nvSpPr>
        <p:spPr>
          <a:xfrm>
            <a:off x="973278" y="1490197"/>
            <a:ext cx="2848595" cy="2867186"/>
          </a:xfrm>
          <a:prstGeom prst="ellipse">
            <a:avLst/>
          </a:prstGeom>
          <a:blipFill>
            <a:blip r:embed="rId5"/>
            <a:stretch>
              <a:fillRect/>
            </a:stretch>
          </a:blipFill>
        </p:spPr>
        <p:txBody>
          <a:bodyPr/>
          <a:lstStyle/>
          <a:p>
            <a:r>
              <a:rPr lang="en-US"/>
              <a:t>Click icon to add picture</a:t>
            </a:r>
            <a:endParaRPr lang="es-MX"/>
          </a:p>
        </p:txBody>
      </p:sp>
      <p:sp>
        <p:nvSpPr>
          <p:cNvPr id="6" name="Marcador de texto 26">
            <a:extLst>
              <a:ext uri="{FF2B5EF4-FFF2-40B4-BE49-F238E27FC236}">
                <a16:creationId xmlns:a16="http://schemas.microsoft.com/office/drawing/2014/main" id="{06F392A1-924D-D1FD-9217-EA0993115F06}"/>
              </a:ext>
            </a:extLst>
          </p:cNvPr>
          <p:cNvSpPr>
            <a:spLocks noGrp="1"/>
          </p:cNvSpPr>
          <p:nvPr>
            <p:ph type="body" sz="quarter" idx="11" hasCustomPrompt="1"/>
          </p:nvPr>
        </p:nvSpPr>
        <p:spPr>
          <a:xfrm>
            <a:off x="4416121" y="1042436"/>
            <a:ext cx="4205108" cy="2914650"/>
          </a:xfrm>
        </p:spPr>
        <p:txBody>
          <a:bodyPr/>
          <a:lstStyle>
            <a:lvl1pPr marL="0" indent="0" algn="r" rtl="0">
              <a:lnSpc>
                <a:spcPct val="120000"/>
              </a:lnSpc>
              <a:buNone/>
              <a:defRPr sz="3200" b="0" i="0">
                <a:solidFill>
                  <a:srgbClr val="8D193F"/>
                </a:solidFill>
                <a:latin typeface="+mn-lt"/>
                <a:ea typeface="Lato Light" panose="020F0502020204030203" pitchFamily="34" charset="0"/>
                <a:cs typeface="Lato Light" panose="020F0502020204030203" pitchFamily="34" charset="0"/>
              </a:defRPr>
            </a:lvl1pPr>
          </a:lstStyle>
          <a:p>
            <a:pPr lvl="0"/>
            <a:r>
              <a:rPr lang="en-US"/>
              <a:t>Here goes an outstanding stat or pull quote that you’d like to highlight. Try to keep it at five lines max.”</a:t>
            </a:r>
          </a:p>
        </p:txBody>
      </p:sp>
      <p:sp>
        <p:nvSpPr>
          <p:cNvPr id="7" name="Marcador de texto 26">
            <a:extLst>
              <a:ext uri="{FF2B5EF4-FFF2-40B4-BE49-F238E27FC236}">
                <a16:creationId xmlns:a16="http://schemas.microsoft.com/office/drawing/2014/main" id="{2148A24D-B01D-AA43-D274-F413421511A6}"/>
              </a:ext>
            </a:extLst>
          </p:cNvPr>
          <p:cNvSpPr>
            <a:spLocks noGrp="1"/>
          </p:cNvSpPr>
          <p:nvPr>
            <p:ph type="body" sz="quarter" idx="12" hasCustomPrompt="1"/>
          </p:nvPr>
        </p:nvSpPr>
        <p:spPr>
          <a:xfrm>
            <a:off x="5663050" y="4147430"/>
            <a:ext cx="2958179" cy="584745"/>
          </a:xfrm>
        </p:spPr>
        <p:txBody>
          <a:bodyPr/>
          <a:lstStyle>
            <a:lvl1pPr marL="0" indent="0" algn="r" rtl="0">
              <a:lnSpc>
                <a:spcPct val="120000"/>
              </a:lnSpc>
              <a:buNone/>
              <a:defRPr sz="1300" b="0" i="0">
                <a:solidFill>
                  <a:srgbClr val="8D193F"/>
                </a:solidFill>
                <a:latin typeface="Lato Medium" panose="020F0502020204030203" pitchFamily="34" charset="0"/>
                <a:ea typeface="Lato Medium" panose="020F0502020204030203" pitchFamily="34" charset="0"/>
                <a:cs typeface="Lato Medium" panose="020F0502020204030203" pitchFamily="34" charset="0"/>
              </a:defRPr>
            </a:lvl1pPr>
          </a:lstStyle>
          <a:p>
            <a:pPr lvl="0"/>
            <a:r>
              <a:rPr lang="en-US"/>
              <a:t>ATTRIBUTION GOES HERE            TITLE AND ORGANIZATION GO HERE</a:t>
            </a:r>
          </a:p>
        </p:txBody>
      </p:sp>
      <p:sp>
        <p:nvSpPr>
          <p:cNvPr id="8" name="Marcador de texto 26">
            <a:extLst>
              <a:ext uri="{FF2B5EF4-FFF2-40B4-BE49-F238E27FC236}">
                <a16:creationId xmlns:a16="http://schemas.microsoft.com/office/drawing/2014/main" id="{1319169D-7E13-4FD3-C225-417624529A9E}"/>
              </a:ext>
            </a:extLst>
          </p:cNvPr>
          <p:cNvSpPr>
            <a:spLocks noGrp="1"/>
          </p:cNvSpPr>
          <p:nvPr>
            <p:ph type="body" sz="quarter" idx="13" hasCustomPrompt="1"/>
          </p:nvPr>
        </p:nvSpPr>
        <p:spPr>
          <a:xfrm>
            <a:off x="8108721" y="397251"/>
            <a:ext cx="521311" cy="722036"/>
          </a:xfrm>
        </p:spPr>
        <p:txBody>
          <a:bodyPr anchor="t"/>
          <a:lstStyle>
            <a:lvl1pPr marL="0" indent="0" rtl="0">
              <a:lnSpc>
                <a:spcPct val="110000"/>
              </a:lnSpc>
              <a:buNone/>
              <a:defRPr sz="7000" b="1" i="0">
                <a:solidFill>
                  <a:srgbClr val="8D193F"/>
                </a:solidFill>
                <a:latin typeface="Arial" panose="020B0604020202020204" pitchFamily="34" charset="0"/>
                <a:ea typeface="Lato Light" panose="020F0502020204030203" pitchFamily="34" charset="0"/>
                <a:cs typeface="Arial" panose="020B0604020202020204" pitchFamily="34" charset="0"/>
              </a:defRPr>
            </a:lvl1pPr>
          </a:lstStyle>
          <a:p>
            <a:pPr lvl="0"/>
            <a:r>
              <a:rPr lang="en-US"/>
              <a:t>“</a:t>
            </a:r>
          </a:p>
        </p:txBody>
      </p:sp>
      <p:pic>
        <p:nvPicPr>
          <p:cNvPr id="9" name="Graphic 4">
            <a:extLst>
              <a:ext uri="{FF2B5EF4-FFF2-40B4-BE49-F238E27FC236}">
                <a16:creationId xmlns:a16="http://schemas.microsoft.com/office/drawing/2014/main" id="{5E087243-C67C-3836-0113-C490C5D6F407}"/>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255140" y="4913719"/>
            <a:ext cx="380786" cy="113702"/>
          </a:xfrm>
          <a:prstGeom prst="rect">
            <a:avLst/>
          </a:prstGeom>
        </p:spPr>
      </p:pic>
      <p:sp>
        <p:nvSpPr>
          <p:cNvPr id="10" name="Slide Number Placeholder 5">
            <a:extLst>
              <a:ext uri="{FF2B5EF4-FFF2-40B4-BE49-F238E27FC236}">
                <a16:creationId xmlns:a16="http://schemas.microsoft.com/office/drawing/2014/main" id="{07F90012-7ABA-EA4C-388A-6A8960700460}"/>
              </a:ext>
            </a:extLst>
          </p:cNvPr>
          <p:cNvSpPr>
            <a:spLocks noGrp="1"/>
          </p:cNvSpPr>
          <p:nvPr>
            <p:ph type="sldNum" sz="quarter" idx="4294967295"/>
          </p:nvPr>
        </p:nvSpPr>
        <p:spPr>
          <a:xfrm>
            <a:off x="8729560" y="4911474"/>
            <a:ext cx="342581" cy="96296"/>
          </a:xfrm>
          <a:prstGeom prst="rect">
            <a:avLst/>
          </a:prstGeom>
        </p:spPr>
        <p:txBody>
          <a:bodyPr anchor="ctr" anchorCtr="0"/>
          <a:lstStyle>
            <a:lvl1pPr rtl="0">
              <a:defRPr>
                <a:solidFill>
                  <a:schemeClr val="tx2"/>
                </a:solidFill>
              </a:defRPr>
            </a:lvl1pPr>
          </a:lstStyle>
          <a:p>
            <a:fld id="{A90607E6-BCED-4FC1-A345-AB2A307AB80F}" type="slidenum">
              <a:rPr lang="en-US" sz="700" b="1" smtClean="0"/>
              <a:pPr/>
              <a:t>‹#›</a:t>
            </a:fld>
            <a:endParaRPr lang="en-US" b="1"/>
          </a:p>
        </p:txBody>
      </p:sp>
    </p:spTree>
    <p:extLst>
      <p:ext uri="{BB962C8B-B14F-4D97-AF65-F5344CB8AC3E}">
        <p14:creationId xmlns:p14="http://schemas.microsoft.com/office/powerpoint/2010/main" val="30630682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ld two-column">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8C5FB625-436A-AF88-D191-571271CCCAEF}"/>
              </a:ext>
            </a:extLst>
          </p:cNvPr>
          <p:cNvGraphicFramePr>
            <a:graphicFrameLocks noChangeAspect="1"/>
          </p:cNvGraphicFramePr>
          <p:nvPr userDrawn="1">
            <p:custDataLst>
              <p:tags r:id="rId1"/>
            </p:custDataLst>
            <p:extLst>
              <p:ext uri="{D42A27DB-BD31-4B8C-83A1-F6EECF244321}">
                <p14:modId xmlns:p14="http://schemas.microsoft.com/office/powerpoint/2010/main" val="2453310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1" name="think-cell data - do not delete" hidden="1">
                        <a:extLst>
                          <a:ext uri="{FF2B5EF4-FFF2-40B4-BE49-F238E27FC236}">
                            <a16:creationId xmlns:a16="http://schemas.microsoft.com/office/drawing/2014/main" id="{8C5FB625-436A-AF88-D191-571271CCCA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Marcador de texto 51">
            <a:extLst>
              <a:ext uri="{FF2B5EF4-FFF2-40B4-BE49-F238E27FC236}">
                <a16:creationId xmlns:a16="http://schemas.microsoft.com/office/drawing/2014/main" id="{EF6D52AE-6458-3564-DA8D-CFF7D20BD644}"/>
              </a:ext>
            </a:extLst>
          </p:cNvPr>
          <p:cNvSpPr>
            <a:spLocks noGrp="1"/>
          </p:cNvSpPr>
          <p:nvPr>
            <p:ph type="body" sz="quarter" idx="63" hasCustomPrompt="1"/>
          </p:nvPr>
        </p:nvSpPr>
        <p:spPr>
          <a:xfrm>
            <a:off x="4621638" y="1129595"/>
            <a:ext cx="4014216" cy="658368"/>
          </a:xfrm>
          <a:prstGeom prst="round2SameRect">
            <a:avLst>
              <a:gd name="adj1" fmla="val 23992"/>
              <a:gd name="adj2" fmla="val 0"/>
            </a:avLst>
          </a:prstGeom>
          <a:solidFill>
            <a:schemeClr val="accent2"/>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2" name="Marcador de texto 51">
            <a:extLst>
              <a:ext uri="{FF2B5EF4-FFF2-40B4-BE49-F238E27FC236}">
                <a16:creationId xmlns:a16="http://schemas.microsoft.com/office/drawing/2014/main" id="{E2C2D945-98C3-44F7-F3A5-962BA7C505DC}"/>
              </a:ext>
            </a:extLst>
          </p:cNvPr>
          <p:cNvSpPr>
            <a:spLocks noGrp="1"/>
          </p:cNvSpPr>
          <p:nvPr>
            <p:ph type="body" sz="quarter" idx="62" hasCustomPrompt="1"/>
          </p:nvPr>
        </p:nvSpPr>
        <p:spPr>
          <a:xfrm>
            <a:off x="466343" y="1129595"/>
            <a:ext cx="4014216" cy="658368"/>
          </a:xfrm>
          <a:prstGeom prst="round2SameRect">
            <a:avLst>
              <a:gd name="adj1" fmla="val 23992"/>
              <a:gd name="adj2" fmla="val 0"/>
            </a:avLst>
          </a:prstGeom>
          <a:solidFill>
            <a:schemeClr val="accent2"/>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1" name="Marcador de texto 51">
            <a:extLst>
              <a:ext uri="{FF2B5EF4-FFF2-40B4-BE49-F238E27FC236}">
                <a16:creationId xmlns:a16="http://schemas.microsoft.com/office/drawing/2014/main" id="{7C0ED36B-A339-0FF8-A081-27761C04EFEC}"/>
              </a:ext>
            </a:extLst>
          </p:cNvPr>
          <p:cNvSpPr>
            <a:spLocks noGrp="1"/>
          </p:cNvSpPr>
          <p:nvPr>
            <p:ph type="body" sz="quarter" idx="61" hasCustomPrompt="1"/>
          </p:nvPr>
        </p:nvSpPr>
        <p:spPr>
          <a:xfrm>
            <a:off x="4621638" y="1789926"/>
            <a:ext cx="4014216" cy="2688336"/>
          </a:xfrm>
          <a:prstGeom prst="round2SameRect">
            <a:avLst>
              <a:gd name="adj1" fmla="val 0"/>
              <a:gd name="adj2" fmla="val 7288"/>
            </a:avLst>
          </a:prstGeom>
          <a:solidFill>
            <a:schemeClr val="bg1"/>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2" name="Marcador de texto 51">
            <a:extLst>
              <a:ext uri="{FF2B5EF4-FFF2-40B4-BE49-F238E27FC236}">
                <a16:creationId xmlns:a16="http://schemas.microsoft.com/office/drawing/2014/main" id="{30619855-FB90-AE68-E73D-CEFD9E672659}"/>
              </a:ext>
            </a:extLst>
          </p:cNvPr>
          <p:cNvSpPr>
            <a:spLocks noGrp="1"/>
          </p:cNvSpPr>
          <p:nvPr>
            <p:ph type="body" sz="quarter" idx="60" hasCustomPrompt="1"/>
          </p:nvPr>
        </p:nvSpPr>
        <p:spPr>
          <a:xfrm>
            <a:off x="466343" y="1789926"/>
            <a:ext cx="4014216" cy="2688336"/>
          </a:xfrm>
          <a:prstGeom prst="round2SameRect">
            <a:avLst>
              <a:gd name="adj1" fmla="val 0"/>
              <a:gd name="adj2" fmla="val 7288"/>
            </a:avLst>
          </a:prstGeom>
          <a:solidFill>
            <a:schemeClr val="bg1"/>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3" name="Marcador de texto 51">
            <a:extLst>
              <a:ext uri="{FF2B5EF4-FFF2-40B4-BE49-F238E27FC236}">
                <a16:creationId xmlns:a16="http://schemas.microsoft.com/office/drawing/2014/main" id="{F4953910-B631-973A-A7D9-85374092FFF2}"/>
              </a:ext>
            </a:extLst>
          </p:cNvPr>
          <p:cNvSpPr>
            <a:spLocks noGrp="1"/>
          </p:cNvSpPr>
          <p:nvPr userDrawn="1">
            <p:ph type="body" sz="quarter" idx="22" hasCustomPrompt="1"/>
          </p:nvPr>
        </p:nvSpPr>
        <p:spPr>
          <a:xfrm>
            <a:off x="687494" y="2002560"/>
            <a:ext cx="3545216" cy="2309479"/>
          </a:xfrm>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a:p>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4" name="Marcador de texto 30">
            <a:extLst>
              <a:ext uri="{FF2B5EF4-FFF2-40B4-BE49-F238E27FC236}">
                <a16:creationId xmlns:a16="http://schemas.microsoft.com/office/drawing/2014/main" id="{F413C556-EA7C-848C-9046-82CFBEE35BE1}"/>
              </a:ext>
            </a:extLst>
          </p:cNvPr>
          <p:cNvSpPr>
            <a:spLocks noGrp="1"/>
          </p:cNvSpPr>
          <p:nvPr userDrawn="1">
            <p:ph type="body" sz="quarter" idx="50" hasCustomPrompt="1"/>
          </p:nvPr>
        </p:nvSpPr>
        <p:spPr>
          <a:xfrm>
            <a:off x="687494" y="1334419"/>
            <a:ext cx="2848018" cy="279757"/>
          </a:xfrm>
        </p:spPr>
        <p:txBody>
          <a:bodyPr anchor="ctr" anchorCtr="0"/>
          <a:lstStyle>
            <a:lvl1pPr marL="0" indent="0" algn="l" rtl="0">
              <a:buNone/>
              <a:defRPr sz="1300" spc="100" baseline="0">
                <a:solidFill>
                  <a:schemeClr val="tx2"/>
                </a:solidFill>
              </a:defRPr>
            </a:lvl1pPr>
          </a:lstStyle>
          <a:p>
            <a:pPr lvl="0"/>
            <a:r>
              <a:rPr lang="en-US"/>
              <a:t>TITLE GOES HERE</a:t>
            </a:r>
          </a:p>
          <a:p>
            <a:pPr lvl="0"/>
            <a:r>
              <a:rPr lang="en-US"/>
              <a:t>AND HERE</a:t>
            </a:r>
          </a:p>
        </p:txBody>
      </p:sp>
      <p:sp>
        <p:nvSpPr>
          <p:cNvPr id="15" name="Marcador de texto 51">
            <a:extLst>
              <a:ext uri="{FF2B5EF4-FFF2-40B4-BE49-F238E27FC236}">
                <a16:creationId xmlns:a16="http://schemas.microsoft.com/office/drawing/2014/main" id="{05990CAD-DD3A-1F58-5B38-59E150D6074A}"/>
              </a:ext>
            </a:extLst>
          </p:cNvPr>
          <p:cNvSpPr>
            <a:spLocks noGrp="1"/>
          </p:cNvSpPr>
          <p:nvPr userDrawn="1">
            <p:ph type="body" sz="quarter" idx="53" hasCustomPrompt="1"/>
          </p:nvPr>
        </p:nvSpPr>
        <p:spPr>
          <a:xfrm>
            <a:off x="4878225" y="2002560"/>
            <a:ext cx="3545216" cy="2309479"/>
          </a:xfrm>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met, consecteur adipiscing elit, sed do eiusmod tempor incididunt ut labore et dolore magna aliqua. Ut enim ad minim veniam, quis nostrud exercitation ullamco laboris nisi nostrud exercitation ullamco laboris nisi ut aliquip ex ea commodo consequat. </a:t>
            </a:r>
          </a:p>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a:p>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met, consecteur adipiscing elit, sed do eiusmod tempor incididunt ut labore et dolore magna aliqua. Ut enim ad minim veniam. Lorem ipsum dolor sit amet, consecteur adipiscing elit, sed do eiusmod tempor incididunt ut labore et dolore magna aliqua. Ut enim ad minim veniam. Lorem ipsum dolor sit amet, consecteur adipiscing elit, sed do eiusmod tempor incididunt ut labore et dolore magna aliqua.</a:t>
            </a:r>
          </a:p>
        </p:txBody>
      </p:sp>
      <p:sp>
        <p:nvSpPr>
          <p:cNvPr id="16" name="Marcador de texto 30">
            <a:extLst>
              <a:ext uri="{FF2B5EF4-FFF2-40B4-BE49-F238E27FC236}">
                <a16:creationId xmlns:a16="http://schemas.microsoft.com/office/drawing/2014/main" id="{613C4A40-1D21-AE13-77F7-963245B1E994}"/>
              </a:ext>
            </a:extLst>
          </p:cNvPr>
          <p:cNvSpPr>
            <a:spLocks noGrp="1"/>
          </p:cNvSpPr>
          <p:nvPr userDrawn="1">
            <p:ph type="body" sz="quarter" idx="55" hasCustomPrompt="1"/>
          </p:nvPr>
        </p:nvSpPr>
        <p:spPr>
          <a:xfrm>
            <a:off x="4878225" y="1334419"/>
            <a:ext cx="2848018" cy="279757"/>
          </a:xfrm>
        </p:spPr>
        <p:txBody>
          <a:bodyPr anchor="ctr" anchorCtr="0"/>
          <a:lstStyle>
            <a:lvl1pPr marL="0" indent="0" algn="l" rtl="0">
              <a:buNone/>
              <a:defRPr sz="1300" spc="100" baseline="0">
                <a:solidFill>
                  <a:schemeClr val="tx2"/>
                </a:solidFill>
              </a:defRPr>
            </a:lvl1pPr>
          </a:lstStyle>
          <a:p>
            <a:pPr lvl="0"/>
            <a:r>
              <a:rPr lang="en-US"/>
              <a:t>TITLE GOES HERE</a:t>
            </a:r>
          </a:p>
          <a:p>
            <a:pPr lvl="0"/>
            <a:r>
              <a:rPr lang="en-US"/>
              <a:t>AND HERE</a:t>
            </a:r>
          </a:p>
        </p:txBody>
      </p:sp>
      <p:sp>
        <p:nvSpPr>
          <p:cNvPr id="19" name="Slide Number Placeholder 5">
            <a:extLst>
              <a:ext uri="{FF2B5EF4-FFF2-40B4-BE49-F238E27FC236}">
                <a16:creationId xmlns:a16="http://schemas.microsoft.com/office/drawing/2014/main" id="{B0BD797B-F843-029E-0F68-A1BE2E345623}"/>
              </a:ext>
            </a:extLst>
          </p:cNvPr>
          <p:cNvSpPr>
            <a:spLocks noGrp="1"/>
          </p:cNvSpPr>
          <p:nvPr userDrawn="1">
            <p:ph type="sldNum" sz="quarter" idx="4294967295"/>
          </p:nvPr>
        </p:nvSpPr>
        <p:spPr>
          <a:xfrm>
            <a:off x="8729560" y="4911474"/>
            <a:ext cx="342581" cy="96296"/>
          </a:xfrm>
          <a:prstGeom prst="rect">
            <a:avLst/>
          </a:prstGeom>
        </p:spPr>
        <p:txBody>
          <a:bodyPr anchor="ctr" anchorCtr="0"/>
          <a:lstStyle>
            <a:lvl1pPr rtl="0">
              <a:defRPr>
                <a:solidFill>
                  <a:srgbClr val="881946"/>
                </a:solidFill>
              </a:defRPr>
            </a:lvl1pPr>
          </a:lstStyle>
          <a:p>
            <a:fld id="{A90607E6-BCED-4FC1-A345-AB2A307AB80F}" type="slidenum">
              <a:rPr lang="en-US" sz="700" b="1" smtClean="0"/>
              <a:pPr/>
              <a:t>‹#›</a:t>
            </a:fld>
            <a:endParaRPr lang="en-US" b="1"/>
          </a:p>
        </p:txBody>
      </p:sp>
      <p:pic>
        <p:nvPicPr>
          <p:cNvPr id="20" name="Graphic 4">
            <a:extLst>
              <a:ext uri="{FF2B5EF4-FFF2-40B4-BE49-F238E27FC236}">
                <a16:creationId xmlns:a16="http://schemas.microsoft.com/office/drawing/2014/main" id="{A26F9BDA-9EAF-8A46-2F18-EB426408F4B6}"/>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255140" y="4913719"/>
            <a:ext cx="380786" cy="113702"/>
          </a:xfrm>
          <a:prstGeom prst="rect">
            <a:avLst/>
          </a:prstGeom>
        </p:spPr>
      </p:pic>
      <p:sp>
        <p:nvSpPr>
          <p:cNvPr id="23" name="Google Shape;149;p16">
            <a:extLst>
              <a:ext uri="{FF2B5EF4-FFF2-40B4-BE49-F238E27FC236}">
                <a16:creationId xmlns:a16="http://schemas.microsoft.com/office/drawing/2014/main" id="{9CE63A89-4637-2753-1E91-4812ECFD1D66}"/>
              </a:ext>
            </a:extLst>
          </p:cNvPr>
          <p:cNvSpPr/>
          <p:nvPr userDrawn="1"/>
        </p:nvSpPr>
        <p:spPr>
          <a:xfrm>
            <a:off x="-3265" y="-23643"/>
            <a:ext cx="9157775" cy="59436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24" name="Marcador de texto 28">
            <a:extLst>
              <a:ext uri="{FF2B5EF4-FFF2-40B4-BE49-F238E27FC236}">
                <a16:creationId xmlns:a16="http://schemas.microsoft.com/office/drawing/2014/main" id="{B587C65D-0EA6-1596-0652-D04149DA327F}"/>
              </a:ext>
            </a:extLst>
          </p:cNvPr>
          <p:cNvSpPr>
            <a:spLocks noGrp="1"/>
          </p:cNvSpPr>
          <p:nvPr userDrawn="1">
            <p:ph type="body" sz="quarter" idx="11" hasCustomPrompt="1"/>
          </p:nvPr>
        </p:nvSpPr>
        <p:spPr>
          <a:xfrm>
            <a:off x="466344" y="58653"/>
            <a:ext cx="8169510" cy="429768"/>
          </a:xfrm>
        </p:spPr>
        <p:txBody>
          <a:bodyPr anchor="ctr" anchorCtr="0"/>
          <a:lstStyle>
            <a:lvl1pPr marL="0" indent="0" rtl="0">
              <a:buNone/>
              <a:defRPr sz="1400">
                <a:solidFill>
                  <a:schemeClr val="bg1"/>
                </a:solidFill>
              </a:defRPr>
            </a:lvl1pPr>
          </a:lstStyle>
          <a:p>
            <a:pPr marL="0" marR="0" lvl="0" indent="0" algn="l" defTabSz="10728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is a two-column slide.</a:t>
            </a:r>
          </a:p>
        </p:txBody>
      </p:sp>
      <p:sp>
        <p:nvSpPr>
          <p:cNvPr id="25" name="Marcador de texto 11">
            <a:extLst>
              <a:ext uri="{FF2B5EF4-FFF2-40B4-BE49-F238E27FC236}">
                <a16:creationId xmlns:a16="http://schemas.microsoft.com/office/drawing/2014/main" id="{E3D89251-24FF-CCE0-2CE9-704EC95FE810}"/>
              </a:ext>
            </a:extLst>
          </p:cNvPr>
          <p:cNvSpPr>
            <a:spLocks noGrp="1"/>
          </p:cNvSpPr>
          <p:nvPr userDrawn="1">
            <p:ph type="body" sz="quarter" idx="28" hasCustomPrompt="1"/>
          </p:nvPr>
        </p:nvSpPr>
        <p:spPr>
          <a:xfrm>
            <a:off x="466344" y="4837588"/>
            <a:ext cx="7323915" cy="231775"/>
          </a:xfrm>
        </p:spPr>
        <p:txBody>
          <a:bodyPr anchor="b"/>
          <a:lstStyle>
            <a:lvl1pPr marL="0" indent="0" rtl="0">
              <a:lnSpc>
                <a:spcPct val="100000"/>
              </a:lnSpc>
              <a:spcBef>
                <a:spcPts val="0"/>
              </a:spcBef>
              <a:buNone/>
              <a:defRPr sz="700">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26" name="Text Placeholder 6">
            <a:extLst>
              <a:ext uri="{FF2B5EF4-FFF2-40B4-BE49-F238E27FC236}">
                <a16:creationId xmlns:a16="http://schemas.microsoft.com/office/drawing/2014/main" id="{6B43495B-85E4-AEAF-FC7C-A9A14D51C2FE}"/>
              </a:ext>
            </a:extLst>
          </p:cNvPr>
          <p:cNvSpPr>
            <a:spLocks noGrp="1"/>
          </p:cNvSpPr>
          <p:nvPr>
            <p:ph type="body" sz="quarter" idx="49" hasCustomPrompt="1"/>
          </p:nvPr>
        </p:nvSpPr>
        <p:spPr>
          <a:xfrm>
            <a:off x="3650319" y="765404"/>
            <a:ext cx="694944" cy="694944"/>
          </a:xfrm>
          <a:prstGeom prst="ellipse">
            <a:avLst/>
          </a:prstGeom>
          <a:solidFill>
            <a:schemeClr val="tx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Icon</a:t>
            </a:r>
          </a:p>
        </p:txBody>
      </p:sp>
      <p:sp>
        <p:nvSpPr>
          <p:cNvPr id="28" name="Text Placeholder 6">
            <a:extLst>
              <a:ext uri="{FF2B5EF4-FFF2-40B4-BE49-F238E27FC236}">
                <a16:creationId xmlns:a16="http://schemas.microsoft.com/office/drawing/2014/main" id="{33591F1E-9320-87ED-66CB-58DBC272BD1B}"/>
              </a:ext>
            </a:extLst>
          </p:cNvPr>
          <p:cNvSpPr>
            <a:spLocks noGrp="1"/>
          </p:cNvSpPr>
          <p:nvPr>
            <p:ph type="body" sz="quarter" idx="64" hasCustomPrompt="1"/>
          </p:nvPr>
        </p:nvSpPr>
        <p:spPr>
          <a:xfrm>
            <a:off x="7812886" y="765404"/>
            <a:ext cx="694944" cy="694944"/>
          </a:xfrm>
          <a:prstGeom prst="ellipse">
            <a:avLst/>
          </a:prstGeom>
          <a:solidFill>
            <a:schemeClr val="tx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Icon</a:t>
            </a:r>
          </a:p>
        </p:txBody>
      </p:sp>
    </p:spTree>
    <p:extLst>
      <p:ext uri="{BB962C8B-B14F-4D97-AF65-F5344CB8AC3E}">
        <p14:creationId xmlns:p14="http://schemas.microsoft.com/office/powerpoint/2010/main" val="3118943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old three-column">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D9CD9C22-1340-58B8-25FF-589A6132AC73}"/>
              </a:ext>
            </a:extLst>
          </p:cNvPr>
          <p:cNvGraphicFramePr>
            <a:graphicFrameLocks noChangeAspect="1"/>
          </p:cNvGraphicFramePr>
          <p:nvPr userDrawn="1">
            <p:custDataLst>
              <p:tags r:id="rId1"/>
            </p:custDataLst>
            <p:extLst>
              <p:ext uri="{D42A27DB-BD31-4B8C-83A1-F6EECF244321}">
                <p14:modId xmlns:p14="http://schemas.microsoft.com/office/powerpoint/2010/main" val="4186321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5" name="think-cell data - do not delete" hidden="1">
                        <a:extLst>
                          <a:ext uri="{FF2B5EF4-FFF2-40B4-BE49-F238E27FC236}">
                            <a16:creationId xmlns:a16="http://schemas.microsoft.com/office/drawing/2014/main" id="{D9CD9C22-1340-58B8-25FF-589A6132AC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Marcador de texto 51">
            <a:extLst>
              <a:ext uri="{FF2B5EF4-FFF2-40B4-BE49-F238E27FC236}">
                <a16:creationId xmlns:a16="http://schemas.microsoft.com/office/drawing/2014/main" id="{0D624D42-0E14-5496-223C-BC5755B65802}"/>
              </a:ext>
            </a:extLst>
          </p:cNvPr>
          <p:cNvSpPr>
            <a:spLocks noGrp="1"/>
          </p:cNvSpPr>
          <p:nvPr>
            <p:ph type="body" sz="quarter" idx="60" hasCustomPrompt="1"/>
          </p:nvPr>
        </p:nvSpPr>
        <p:spPr>
          <a:xfrm>
            <a:off x="483422" y="1890500"/>
            <a:ext cx="2578608" cy="2688336"/>
          </a:xfrm>
          <a:prstGeom prst="round2SameRect">
            <a:avLst>
              <a:gd name="adj1" fmla="val 0"/>
              <a:gd name="adj2" fmla="val 7288"/>
            </a:avLst>
          </a:prstGeom>
          <a:solidFill>
            <a:schemeClr val="bg1"/>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2" name="Marcador de texto 51">
            <a:extLst>
              <a:ext uri="{FF2B5EF4-FFF2-40B4-BE49-F238E27FC236}">
                <a16:creationId xmlns:a16="http://schemas.microsoft.com/office/drawing/2014/main" id="{44A1E723-A721-0E83-E9AA-9AC167B94ABA}"/>
              </a:ext>
            </a:extLst>
          </p:cNvPr>
          <p:cNvSpPr>
            <a:spLocks noGrp="1"/>
          </p:cNvSpPr>
          <p:nvPr>
            <p:ph type="body" sz="quarter" idx="62" hasCustomPrompt="1"/>
          </p:nvPr>
        </p:nvSpPr>
        <p:spPr>
          <a:xfrm>
            <a:off x="483422" y="1228934"/>
            <a:ext cx="2578608" cy="658368"/>
          </a:xfrm>
          <a:prstGeom prst="round2SameRect">
            <a:avLst>
              <a:gd name="adj1" fmla="val 23992"/>
              <a:gd name="adj2" fmla="val 0"/>
            </a:avLst>
          </a:prstGeom>
          <a:solidFill>
            <a:schemeClr val="accent2"/>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4" name="Redondear rectángulo de esquina del mismo lado 3">
            <a:extLst>
              <a:ext uri="{FF2B5EF4-FFF2-40B4-BE49-F238E27FC236}">
                <a16:creationId xmlns:a16="http://schemas.microsoft.com/office/drawing/2014/main" id="{94CE194F-DBEF-A197-6970-650401BBCB8A}"/>
              </a:ext>
            </a:extLst>
          </p:cNvPr>
          <p:cNvSpPr/>
          <p:nvPr userDrawn="1"/>
        </p:nvSpPr>
        <p:spPr>
          <a:xfrm>
            <a:off x="485840" y="1890500"/>
            <a:ext cx="2573772" cy="2684670"/>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11" name="Marcador de texto 30">
            <a:extLst>
              <a:ext uri="{FF2B5EF4-FFF2-40B4-BE49-F238E27FC236}">
                <a16:creationId xmlns:a16="http://schemas.microsoft.com/office/drawing/2014/main" id="{435D23DF-559F-C818-CEF0-E9F3F763F0AF}"/>
              </a:ext>
            </a:extLst>
          </p:cNvPr>
          <p:cNvSpPr>
            <a:spLocks noGrp="1"/>
          </p:cNvSpPr>
          <p:nvPr>
            <p:ph type="body" sz="quarter" idx="11" hasCustomPrompt="1"/>
          </p:nvPr>
        </p:nvSpPr>
        <p:spPr>
          <a:xfrm>
            <a:off x="551794" y="1490505"/>
            <a:ext cx="2441864" cy="279757"/>
          </a:xfrm>
        </p:spPr>
        <p:txBody>
          <a:bodyPr anchor="ctr" anchorCtr="0"/>
          <a:lstStyle>
            <a:lvl1pPr marL="0" indent="0" algn="ctr" rtl="0">
              <a:buNone/>
              <a:defRPr sz="1300" spc="100" baseline="0">
                <a:solidFill>
                  <a:schemeClr val="tx2"/>
                </a:solidFill>
              </a:defRPr>
            </a:lvl1pPr>
          </a:lstStyle>
          <a:p>
            <a:pPr lvl="0"/>
            <a:r>
              <a:rPr lang="en-US"/>
              <a:t>TITLE HERE</a:t>
            </a:r>
          </a:p>
        </p:txBody>
      </p:sp>
      <p:sp>
        <p:nvSpPr>
          <p:cNvPr id="14" name="Marcador de texto 51">
            <a:extLst>
              <a:ext uri="{FF2B5EF4-FFF2-40B4-BE49-F238E27FC236}">
                <a16:creationId xmlns:a16="http://schemas.microsoft.com/office/drawing/2014/main" id="{DEB4F492-0E9B-2E12-1E78-A8E0D925C2CF}"/>
              </a:ext>
            </a:extLst>
          </p:cNvPr>
          <p:cNvSpPr>
            <a:spLocks noGrp="1"/>
          </p:cNvSpPr>
          <p:nvPr>
            <p:ph type="body" sz="quarter" idx="15" hasCustomPrompt="1"/>
          </p:nvPr>
        </p:nvSpPr>
        <p:spPr>
          <a:xfrm>
            <a:off x="636319" y="2081721"/>
            <a:ext cx="2272814" cy="2309479"/>
          </a:xfrm>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a:t>
            </a:r>
          </a:p>
        </p:txBody>
      </p:sp>
      <p:sp>
        <p:nvSpPr>
          <p:cNvPr id="23" name="Slide Number Placeholder 5">
            <a:extLst>
              <a:ext uri="{FF2B5EF4-FFF2-40B4-BE49-F238E27FC236}">
                <a16:creationId xmlns:a16="http://schemas.microsoft.com/office/drawing/2014/main" id="{93A1B3A0-C000-A64F-7F97-65BC44A5C3DB}"/>
              </a:ext>
            </a:extLst>
          </p:cNvPr>
          <p:cNvSpPr>
            <a:spLocks noGrp="1"/>
          </p:cNvSpPr>
          <p:nvPr>
            <p:ph type="sldNum" sz="quarter" idx="4294967295"/>
          </p:nvPr>
        </p:nvSpPr>
        <p:spPr>
          <a:xfrm>
            <a:off x="8729560" y="4911474"/>
            <a:ext cx="342581" cy="96296"/>
          </a:xfrm>
          <a:prstGeom prst="rect">
            <a:avLst/>
          </a:prstGeom>
        </p:spPr>
        <p:txBody>
          <a:bodyPr anchor="ctr" anchorCtr="0"/>
          <a:lstStyle>
            <a:lvl1pPr rtl="0">
              <a:defRPr>
                <a:solidFill>
                  <a:schemeClr val="tx1"/>
                </a:solidFill>
              </a:defRPr>
            </a:lvl1pPr>
          </a:lstStyle>
          <a:p>
            <a:fld id="{A90607E6-BCED-4FC1-A345-AB2A307AB80F}" type="slidenum">
              <a:rPr lang="en-US" sz="700" b="1" smtClean="0"/>
              <a:pPr/>
              <a:t>‹#›</a:t>
            </a:fld>
            <a:endParaRPr lang="en-US" b="1"/>
          </a:p>
        </p:txBody>
      </p:sp>
      <p:sp>
        <p:nvSpPr>
          <p:cNvPr id="29" name="Marcador de texto 11">
            <a:extLst>
              <a:ext uri="{FF2B5EF4-FFF2-40B4-BE49-F238E27FC236}">
                <a16:creationId xmlns:a16="http://schemas.microsoft.com/office/drawing/2014/main" id="{95008C2A-5835-E299-A94C-8075A5A6A64B}"/>
              </a:ext>
            </a:extLst>
          </p:cNvPr>
          <p:cNvSpPr>
            <a:spLocks noGrp="1"/>
          </p:cNvSpPr>
          <p:nvPr>
            <p:ph type="body" sz="quarter" idx="28" hasCustomPrompt="1"/>
          </p:nvPr>
        </p:nvSpPr>
        <p:spPr>
          <a:xfrm>
            <a:off x="466344" y="4837588"/>
            <a:ext cx="7323915" cy="231775"/>
          </a:xfrm>
        </p:spPr>
        <p:txBody>
          <a:bodyPr anchor="b"/>
          <a:lstStyle>
            <a:lvl1pPr marL="0" indent="0" rtl="0">
              <a:lnSpc>
                <a:spcPct val="100000"/>
              </a:lnSpc>
              <a:spcBef>
                <a:spcPts val="0"/>
              </a:spcBef>
              <a:buNone/>
              <a:defRPr sz="700">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10" name="Text Placeholder 6">
            <a:extLst>
              <a:ext uri="{FF2B5EF4-FFF2-40B4-BE49-F238E27FC236}">
                <a16:creationId xmlns:a16="http://schemas.microsoft.com/office/drawing/2014/main" id="{8F7CE19C-E60A-685A-D582-5B6808BDF9AA}"/>
              </a:ext>
            </a:extLst>
          </p:cNvPr>
          <p:cNvSpPr>
            <a:spLocks noGrp="1"/>
          </p:cNvSpPr>
          <p:nvPr>
            <p:ph type="body" sz="quarter" idx="63" hasCustomPrompt="1"/>
          </p:nvPr>
        </p:nvSpPr>
        <p:spPr>
          <a:xfrm>
            <a:off x="1425254" y="759778"/>
            <a:ext cx="694944" cy="694944"/>
          </a:xfrm>
          <a:prstGeom prst="ellipse">
            <a:avLst/>
          </a:prstGeom>
          <a:solidFill>
            <a:schemeClr val="tx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Icon</a:t>
            </a:r>
          </a:p>
        </p:txBody>
      </p:sp>
      <p:sp>
        <p:nvSpPr>
          <p:cNvPr id="26" name="Marcador de texto 51">
            <a:extLst>
              <a:ext uri="{FF2B5EF4-FFF2-40B4-BE49-F238E27FC236}">
                <a16:creationId xmlns:a16="http://schemas.microsoft.com/office/drawing/2014/main" id="{3948A0EC-ADFE-089C-DACD-2B7DEAD2A8A8}"/>
              </a:ext>
            </a:extLst>
          </p:cNvPr>
          <p:cNvSpPr>
            <a:spLocks noGrp="1"/>
          </p:cNvSpPr>
          <p:nvPr>
            <p:ph type="body" sz="quarter" idx="64" hasCustomPrompt="1"/>
          </p:nvPr>
        </p:nvSpPr>
        <p:spPr>
          <a:xfrm>
            <a:off x="6057246" y="1890500"/>
            <a:ext cx="2578608" cy="2688336"/>
          </a:xfrm>
          <a:prstGeom prst="round2SameRect">
            <a:avLst>
              <a:gd name="adj1" fmla="val 0"/>
              <a:gd name="adj2" fmla="val 7288"/>
            </a:avLst>
          </a:prstGeom>
          <a:solidFill>
            <a:schemeClr val="bg1"/>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30" name="Marcador de texto 51">
            <a:extLst>
              <a:ext uri="{FF2B5EF4-FFF2-40B4-BE49-F238E27FC236}">
                <a16:creationId xmlns:a16="http://schemas.microsoft.com/office/drawing/2014/main" id="{61E29C5B-AC43-D181-E9E9-159B9A1C1E5B}"/>
              </a:ext>
            </a:extLst>
          </p:cNvPr>
          <p:cNvSpPr>
            <a:spLocks noGrp="1"/>
          </p:cNvSpPr>
          <p:nvPr>
            <p:ph type="body" sz="quarter" idx="65" hasCustomPrompt="1"/>
          </p:nvPr>
        </p:nvSpPr>
        <p:spPr>
          <a:xfrm>
            <a:off x="6057246" y="1228934"/>
            <a:ext cx="2578608" cy="658368"/>
          </a:xfrm>
          <a:prstGeom prst="round2SameRect">
            <a:avLst>
              <a:gd name="adj1" fmla="val 23992"/>
              <a:gd name="adj2" fmla="val 0"/>
            </a:avLst>
          </a:prstGeom>
          <a:solidFill>
            <a:schemeClr val="accent2"/>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31" name="Redondear rectángulo de esquina del mismo lado 3">
            <a:extLst>
              <a:ext uri="{FF2B5EF4-FFF2-40B4-BE49-F238E27FC236}">
                <a16:creationId xmlns:a16="http://schemas.microsoft.com/office/drawing/2014/main" id="{317F7A33-7BCF-7440-6CA5-898077648810}"/>
              </a:ext>
            </a:extLst>
          </p:cNvPr>
          <p:cNvSpPr/>
          <p:nvPr userDrawn="1"/>
        </p:nvSpPr>
        <p:spPr>
          <a:xfrm>
            <a:off x="6059664" y="1890500"/>
            <a:ext cx="2573772" cy="2684670"/>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32" name="Marcador de texto 30">
            <a:extLst>
              <a:ext uri="{FF2B5EF4-FFF2-40B4-BE49-F238E27FC236}">
                <a16:creationId xmlns:a16="http://schemas.microsoft.com/office/drawing/2014/main" id="{9BFAB518-94C2-C651-57D3-30101A609E29}"/>
              </a:ext>
            </a:extLst>
          </p:cNvPr>
          <p:cNvSpPr>
            <a:spLocks noGrp="1"/>
          </p:cNvSpPr>
          <p:nvPr>
            <p:ph type="body" sz="quarter" idx="66" hasCustomPrompt="1"/>
          </p:nvPr>
        </p:nvSpPr>
        <p:spPr>
          <a:xfrm>
            <a:off x="6125618" y="1490505"/>
            <a:ext cx="2441864" cy="279757"/>
          </a:xfrm>
        </p:spPr>
        <p:txBody>
          <a:bodyPr anchor="ctr" anchorCtr="0"/>
          <a:lstStyle>
            <a:lvl1pPr marL="0" indent="0" algn="ctr" rtl="0">
              <a:buNone/>
              <a:defRPr sz="1300" spc="100" baseline="0">
                <a:solidFill>
                  <a:schemeClr val="tx2"/>
                </a:solidFill>
              </a:defRPr>
            </a:lvl1pPr>
          </a:lstStyle>
          <a:p>
            <a:pPr lvl="0"/>
            <a:r>
              <a:rPr lang="en-US"/>
              <a:t>TITLE HERE</a:t>
            </a:r>
          </a:p>
        </p:txBody>
      </p:sp>
      <p:sp>
        <p:nvSpPr>
          <p:cNvPr id="33" name="Marcador de texto 51">
            <a:extLst>
              <a:ext uri="{FF2B5EF4-FFF2-40B4-BE49-F238E27FC236}">
                <a16:creationId xmlns:a16="http://schemas.microsoft.com/office/drawing/2014/main" id="{DBC74E61-E9A8-CA9C-9FF8-6444BCE256FE}"/>
              </a:ext>
            </a:extLst>
          </p:cNvPr>
          <p:cNvSpPr>
            <a:spLocks noGrp="1"/>
          </p:cNvSpPr>
          <p:nvPr>
            <p:ph type="body" sz="quarter" idx="67" hasCustomPrompt="1"/>
          </p:nvPr>
        </p:nvSpPr>
        <p:spPr>
          <a:xfrm>
            <a:off x="6210143" y="2081721"/>
            <a:ext cx="2272814" cy="2309479"/>
          </a:xfrm>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a:t>
            </a:r>
          </a:p>
        </p:txBody>
      </p:sp>
      <p:sp>
        <p:nvSpPr>
          <p:cNvPr id="34" name="Text Placeholder 6">
            <a:extLst>
              <a:ext uri="{FF2B5EF4-FFF2-40B4-BE49-F238E27FC236}">
                <a16:creationId xmlns:a16="http://schemas.microsoft.com/office/drawing/2014/main" id="{8E4F61F0-45F2-1BC1-40B8-AB0D337430AC}"/>
              </a:ext>
            </a:extLst>
          </p:cNvPr>
          <p:cNvSpPr>
            <a:spLocks noGrp="1"/>
          </p:cNvSpPr>
          <p:nvPr>
            <p:ph type="body" sz="quarter" idx="68" hasCustomPrompt="1"/>
          </p:nvPr>
        </p:nvSpPr>
        <p:spPr>
          <a:xfrm>
            <a:off x="6999078" y="759778"/>
            <a:ext cx="694944" cy="694944"/>
          </a:xfrm>
          <a:prstGeom prst="ellipse">
            <a:avLst/>
          </a:prstGeom>
          <a:solidFill>
            <a:schemeClr val="tx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Icon</a:t>
            </a:r>
          </a:p>
        </p:txBody>
      </p:sp>
      <p:sp>
        <p:nvSpPr>
          <p:cNvPr id="35" name="Marcador de texto 51">
            <a:extLst>
              <a:ext uri="{FF2B5EF4-FFF2-40B4-BE49-F238E27FC236}">
                <a16:creationId xmlns:a16="http://schemas.microsoft.com/office/drawing/2014/main" id="{27C935A6-D90B-B7C4-CF6F-993A2197739A}"/>
              </a:ext>
            </a:extLst>
          </p:cNvPr>
          <p:cNvSpPr>
            <a:spLocks noGrp="1"/>
          </p:cNvSpPr>
          <p:nvPr>
            <p:ph type="body" sz="quarter" idx="69" hasCustomPrompt="1"/>
          </p:nvPr>
        </p:nvSpPr>
        <p:spPr>
          <a:xfrm>
            <a:off x="3267916" y="1890500"/>
            <a:ext cx="2578608" cy="2688336"/>
          </a:xfrm>
          <a:prstGeom prst="round2SameRect">
            <a:avLst>
              <a:gd name="adj1" fmla="val 0"/>
              <a:gd name="adj2" fmla="val 7288"/>
            </a:avLst>
          </a:prstGeom>
          <a:solidFill>
            <a:schemeClr val="bg1"/>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36" name="Marcador de texto 51">
            <a:extLst>
              <a:ext uri="{FF2B5EF4-FFF2-40B4-BE49-F238E27FC236}">
                <a16:creationId xmlns:a16="http://schemas.microsoft.com/office/drawing/2014/main" id="{EB2862F4-BC43-C09F-C6ED-8E6049D96931}"/>
              </a:ext>
            </a:extLst>
          </p:cNvPr>
          <p:cNvSpPr>
            <a:spLocks noGrp="1"/>
          </p:cNvSpPr>
          <p:nvPr>
            <p:ph type="body" sz="quarter" idx="70" hasCustomPrompt="1"/>
          </p:nvPr>
        </p:nvSpPr>
        <p:spPr>
          <a:xfrm>
            <a:off x="3267916" y="1228934"/>
            <a:ext cx="2578608" cy="658368"/>
          </a:xfrm>
          <a:prstGeom prst="round2SameRect">
            <a:avLst>
              <a:gd name="adj1" fmla="val 23992"/>
              <a:gd name="adj2" fmla="val 0"/>
            </a:avLst>
          </a:prstGeom>
          <a:solidFill>
            <a:schemeClr val="accent2"/>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37" name="Redondear rectángulo de esquina del mismo lado 3">
            <a:extLst>
              <a:ext uri="{FF2B5EF4-FFF2-40B4-BE49-F238E27FC236}">
                <a16:creationId xmlns:a16="http://schemas.microsoft.com/office/drawing/2014/main" id="{D4C2ABA3-FF2E-8430-EE72-5FE3F12405F8}"/>
              </a:ext>
            </a:extLst>
          </p:cNvPr>
          <p:cNvSpPr/>
          <p:nvPr userDrawn="1"/>
        </p:nvSpPr>
        <p:spPr>
          <a:xfrm>
            <a:off x="3270334" y="1890500"/>
            <a:ext cx="2573772" cy="2684670"/>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38" name="Marcador de texto 30">
            <a:extLst>
              <a:ext uri="{FF2B5EF4-FFF2-40B4-BE49-F238E27FC236}">
                <a16:creationId xmlns:a16="http://schemas.microsoft.com/office/drawing/2014/main" id="{0A7A2D61-34EB-BDC9-503F-2F2481795566}"/>
              </a:ext>
            </a:extLst>
          </p:cNvPr>
          <p:cNvSpPr>
            <a:spLocks noGrp="1"/>
          </p:cNvSpPr>
          <p:nvPr>
            <p:ph type="body" sz="quarter" idx="71" hasCustomPrompt="1"/>
          </p:nvPr>
        </p:nvSpPr>
        <p:spPr>
          <a:xfrm>
            <a:off x="3336288" y="1490505"/>
            <a:ext cx="2441864" cy="279757"/>
          </a:xfrm>
        </p:spPr>
        <p:txBody>
          <a:bodyPr anchor="ctr" anchorCtr="0"/>
          <a:lstStyle>
            <a:lvl1pPr marL="0" indent="0" algn="ctr" rtl="0">
              <a:buNone/>
              <a:defRPr sz="1300" spc="100" baseline="0">
                <a:solidFill>
                  <a:schemeClr val="tx2"/>
                </a:solidFill>
              </a:defRPr>
            </a:lvl1pPr>
          </a:lstStyle>
          <a:p>
            <a:pPr lvl="0"/>
            <a:r>
              <a:rPr lang="en-US"/>
              <a:t>TITLE HERE</a:t>
            </a:r>
          </a:p>
        </p:txBody>
      </p:sp>
      <p:sp>
        <p:nvSpPr>
          <p:cNvPr id="39" name="Marcador de texto 51">
            <a:extLst>
              <a:ext uri="{FF2B5EF4-FFF2-40B4-BE49-F238E27FC236}">
                <a16:creationId xmlns:a16="http://schemas.microsoft.com/office/drawing/2014/main" id="{401E6ECB-807C-DFE7-6DD2-1EFA99967C3B}"/>
              </a:ext>
            </a:extLst>
          </p:cNvPr>
          <p:cNvSpPr>
            <a:spLocks noGrp="1"/>
          </p:cNvSpPr>
          <p:nvPr>
            <p:ph type="body" sz="quarter" idx="72" hasCustomPrompt="1"/>
          </p:nvPr>
        </p:nvSpPr>
        <p:spPr>
          <a:xfrm>
            <a:off x="3420813" y="2081721"/>
            <a:ext cx="2272814" cy="2309479"/>
          </a:xfrm>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a:t>
            </a:r>
          </a:p>
        </p:txBody>
      </p:sp>
      <p:sp>
        <p:nvSpPr>
          <p:cNvPr id="40" name="Text Placeholder 6">
            <a:extLst>
              <a:ext uri="{FF2B5EF4-FFF2-40B4-BE49-F238E27FC236}">
                <a16:creationId xmlns:a16="http://schemas.microsoft.com/office/drawing/2014/main" id="{A6242645-B3BA-8CBB-DF76-58414C89E63F}"/>
              </a:ext>
            </a:extLst>
          </p:cNvPr>
          <p:cNvSpPr>
            <a:spLocks noGrp="1"/>
          </p:cNvSpPr>
          <p:nvPr>
            <p:ph type="body" sz="quarter" idx="73" hasCustomPrompt="1"/>
          </p:nvPr>
        </p:nvSpPr>
        <p:spPr>
          <a:xfrm>
            <a:off x="4209748" y="759778"/>
            <a:ext cx="694944" cy="694944"/>
          </a:xfrm>
          <a:prstGeom prst="ellipse">
            <a:avLst/>
          </a:prstGeom>
          <a:solidFill>
            <a:schemeClr val="tx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Icon</a:t>
            </a:r>
          </a:p>
        </p:txBody>
      </p:sp>
      <p:sp>
        <p:nvSpPr>
          <p:cNvPr id="43" name="Google Shape;149;p16">
            <a:extLst>
              <a:ext uri="{FF2B5EF4-FFF2-40B4-BE49-F238E27FC236}">
                <a16:creationId xmlns:a16="http://schemas.microsoft.com/office/drawing/2014/main" id="{2813A01B-3592-E72A-32AB-C691463748B3}"/>
              </a:ext>
            </a:extLst>
          </p:cNvPr>
          <p:cNvSpPr/>
          <p:nvPr userDrawn="1"/>
        </p:nvSpPr>
        <p:spPr>
          <a:xfrm>
            <a:off x="-3265" y="-23643"/>
            <a:ext cx="9157775" cy="59436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44" name="Marcador de texto 28">
            <a:extLst>
              <a:ext uri="{FF2B5EF4-FFF2-40B4-BE49-F238E27FC236}">
                <a16:creationId xmlns:a16="http://schemas.microsoft.com/office/drawing/2014/main" id="{9CA14B31-62BE-C70E-8568-37A06A7143AC}"/>
              </a:ext>
            </a:extLst>
          </p:cNvPr>
          <p:cNvSpPr>
            <a:spLocks noGrp="1"/>
          </p:cNvSpPr>
          <p:nvPr>
            <p:ph type="body" sz="quarter" idx="27" hasCustomPrompt="1"/>
          </p:nvPr>
        </p:nvSpPr>
        <p:spPr>
          <a:xfrm>
            <a:off x="466344" y="58653"/>
            <a:ext cx="7128101" cy="429768"/>
          </a:xfrm>
        </p:spPr>
        <p:txBody>
          <a:bodyPr anchor="ctr" anchorCtr="0"/>
          <a:lstStyle>
            <a:lvl1pPr marL="0" indent="0" rtl="0">
              <a:buNone/>
              <a:defRPr sz="1400">
                <a:solidFill>
                  <a:schemeClr val="bg1"/>
                </a:solidFill>
              </a:defRPr>
            </a:lvl1pPr>
          </a:lstStyle>
          <a:p>
            <a:pPr marL="0" marR="0" lvl="0" indent="0" algn="l" defTabSz="10728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numbers</a:t>
            </a:r>
          </a:p>
        </p:txBody>
      </p:sp>
      <p:sp>
        <p:nvSpPr>
          <p:cNvPr id="45" name="Text Placeholder 6">
            <a:extLst>
              <a:ext uri="{FF2B5EF4-FFF2-40B4-BE49-F238E27FC236}">
                <a16:creationId xmlns:a16="http://schemas.microsoft.com/office/drawing/2014/main" id="{89038DD0-B38A-54AC-D892-79C926F9986A}"/>
              </a:ext>
            </a:extLst>
          </p:cNvPr>
          <p:cNvSpPr>
            <a:spLocks noGrp="1"/>
          </p:cNvSpPr>
          <p:nvPr>
            <p:ph type="body" sz="quarter" idx="35" hasCustomPrompt="1"/>
          </p:nvPr>
        </p:nvSpPr>
        <p:spPr>
          <a:xfrm rot="16200000">
            <a:off x="8161020" y="-453411"/>
            <a:ext cx="512064" cy="1453896"/>
          </a:xfrm>
          <a:prstGeom prst="round2SameRect">
            <a:avLst>
              <a:gd name="adj1" fmla="val 50000"/>
              <a:gd name="adj2" fmla="val 0"/>
            </a:avLst>
          </a:prstGeom>
          <a:solidFill>
            <a:schemeClr val="bg1"/>
          </a:solidFill>
        </p:spPr>
        <p:txBody>
          <a:bodyPr anchor="ctr"/>
          <a:lstStyle>
            <a:lvl1pPr marL="0" indent="0" algn="ctr" rtl="0">
              <a:buNone/>
              <a:defRPr sz="1000" b="0" i="0">
                <a:solidFill>
                  <a:schemeClr val="bg1"/>
                </a:solidFill>
                <a:latin typeface="+mj-lt"/>
              </a:defRPr>
            </a:lvl1pPr>
          </a:lstStyle>
          <a:p>
            <a:pPr lvl="0"/>
            <a:r>
              <a:rPr lang="en-US"/>
              <a:t> </a:t>
            </a:r>
          </a:p>
        </p:txBody>
      </p:sp>
      <p:sp>
        <p:nvSpPr>
          <p:cNvPr id="46" name="Text Placeholder 6">
            <a:extLst>
              <a:ext uri="{FF2B5EF4-FFF2-40B4-BE49-F238E27FC236}">
                <a16:creationId xmlns:a16="http://schemas.microsoft.com/office/drawing/2014/main" id="{E69861FC-25BB-27F5-E027-45ABCC794840}"/>
              </a:ext>
            </a:extLst>
          </p:cNvPr>
          <p:cNvSpPr>
            <a:spLocks noGrp="1"/>
          </p:cNvSpPr>
          <p:nvPr>
            <p:ph type="body" sz="quarter" idx="51" hasCustomPrompt="1"/>
          </p:nvPr>
        </p:nvSpPr>
        <p:spPr>
          <a:xfrm>
            <a:off x="7774438" y="122661"/>
            <a:ext cx="301752" cy="301752"/>
          </a:xfrm>
          <a:prstGeom prst="ellipse">
            <a:avLst/>
          </a:prstGeom>
          <a:solidFill>
            <a:schemeClr val="accent2"/>
          </a:solidFill>
          <a:ln>
            <a:solidFill>
              <a:schemeClr val="tx2"/>
            </a:solidFill>
          </a:ln>
        </p:spPr>
        <p:txBody>
          <a:bodyPr anchor="ctr"/>
          <a:lstStyle>
            <a:lvl1pPr marL="0" indent="0" algn="ctr" rtl="0">
              <a:buNone/>
              <a:defRPr sz="700" b="0" i="1">
                <a:solidFill>
                  <a:schemeClr val="bg1"/>
                </a:solidFill>
                <a:latin typeface="+mj-lt"/>
              </a:defRPr>
            </a:lvl1pPr>
          </a:lstStyle>
          <a:p>
            <a:pPr lvl="0"/>
            <a:r>
              <a:rPr lang="en-US"/>
              <a:t> </a:t>
            </a:r>
          </a:p>
        </p:txBody>
      </p:sp>
      <p:sp>
        <p:nvSpPr>
          <p:cNvPr id="47" name="Text Placeholder 6">
            <a:extLst>
              <a:ext uri="{FF2B5EF4-FFF2-40B4-BE49-F238E27FC236}">
                <a16:creationId xmlns:a16="http://schemas.microsoft.com/office/drawing/2014/main" id="{22B9B5E6-FFD0-0BE3-A1E6-B8C56C146755}"/>
              </a:ext>
            </a:extLst>
          </p:cNvPr>
          <p:cNvSpPr>
            <a:spLocks noGrp="1"/>
          </p:cNvSpPr>
          <p:nvPr>
            <p:ph type="body" sz="quarter" idx="52" hasCustomPrompt="1"/>
          </p:nvPr>
        </p:nvSpPr>
        <p:spPr>
          <a:xfrm>
            <a:off x="8218347" y="236961"/>
            <a:ext cx="73152" cy="73152"/>
          </a:xfrm>
          <a:prstGeom prst="ellipse">
            <a:avLst/>
          </a:prstGeom>
          <a:solidFill>
            <a:schemeClr val="tx2"/>
          </a:solidFill>
        </p:spPr>
        <p:txBody>
          <a:bodyPr anchor="ctr"/>
          <a:lstStyle>
            <a:lvl1pPr marL="0" indent="0" algn="ctr" rtl="0">
              <a:buNone/>
              <a:defRPr sz="700" b="0" i="1">
                <a:solidFill>
                  <a:schemeClr val="bg1"/>
                </a:solidFill>
                <a:latin typeface="+mj-lt"/>
              </a:defRPr>
            </a:lvl1pPr>
          </a:lstStyle>
          <a:p>
            <a:pPr lvl="0"/>
            <a:r>
              <a:rPr lang="en-US"/>
              <a:t> </a:t>
            </a:r>
          </a:p>
        </p:txBody>
      </p:sp>
      <p:sp>
        <p:nvSpPr>
          <p:cNvPr id="48" name="Text Placeholder 6">
            <a:extLst>
              <a:ext uri="{FF2B5EF4-FFF2-40B4-BE49-F238E27FC236}">
                <a16:creationId xmlns:a16="http://schemas.microsoft.com/office/drawing/2014/main" id="{86781B10-8A99-22F7-0188-7A9D8E241892}"/>
              </a:ext>
            </a:extLst>
          </p:cNvPr>
          <p:cNvSpPr>
            <a:spLocks noGrp="1"/>
          </p:cNvSpPr>
          <p:nvPr>
            <p:ph type="body" sz="quarter" idx="53" hasCustomPrompt="1"/>
          </p:nvPr>
        </p:nvSpPr>
        <p:spPr>
          <a:xfrm>
            <a:off x="8433656" y="236961"/>
            <a:ext cx="73152" cy="73152"/>
          </a:xfrm>
          <a:prstGeom prst="ellipse">
            <a:avLst/>
          </a:prstGeom>
          <a:solidFill>
            <a:schemeClr val="tx2"/>
          </a:solidFill>
        </p:spPr>
        <p:txBody>
          <a:bodyPr anchor="ctr"/>
          <a:lstStyle>
            <a:lvl1pPr marL="0" indent="0" algn="ctr" rtl="0">
              <a:buNone/>
              <a:defRPr sz="700" b="0" i="1">
                <a:solidFill>
                  <a:schemeClr val="bg1"/>
                </a:solidFill>
                <a:latin typeface="+mj-lt"/>
              </a:defRPr>
            </a:lvl1pPr>
          </a:lstStyle>
          <a:p>
            <a:pPr lvl="0"/>
            <a:r>
              <a:rPr lang="en-US"/>
              <a:t> </a:t>
            </a:r>
          </a:p>
        </p:txBody>
      </p:sp>
      <p:sp>
        <p:nvSpPr>
          <p:cNvPr id="49" name="Text Placeholder 6">
            <a:extLst>
              <a:ext uri="{FF2B5EF4-FFF2-40B4-BE49-F238E27FC236}">
                <a16:creationId xmlns:a16="http://schemas.microsoft.com/office/drawing/2014/main" id="{BDA86288-F76C-7B8C-C3D0-460A533E92BE}"/>
              </a:ext>
            </a:extLst>
          </p:cNvPr>
          <p:cNvSpPr>
            <a:spLocks noGrp="1"/>
          </p:cNvSpPr>
          <p:nvPr>
            <p:ph type="body" sz="quarter" idx="54" hasCustomPrompt="1"/>
          </p:nvPr>
        </p:nvSpPr>
        <p:spPr>
          <a:xfrm>
            <a:off x="8648965" y="236961"/>
            <a:ext cx="73152" cy="73152"/>
          </a:xfrm>
          <a:prstGeom prst="ellipse">
            <a:avLst/>
          </a:prstGeom>
          <a:solidFill>
            <a:schemeClr val="tx2"/>
          </a:solidFill>
        </p:spPr>
        <p:txBody>
          <a:bodyPr anchor="ctr"/>
          <a:lstStyle>
            <a:lvl1pPr marL="0" indent="0" algn="ctr" rtl="0">
              <a:buNone/>
              <a:defRPr sz="700" b="0" i="1">
                <a:solidFill>
                  <a:schemeClr val="bg1"/>
                </a:solidFill>
                <a:latin typeface="+mj-lt"/>
              </a:defRPr>
            </a:lvl1pPr>
          </a:lstStyle>
          <a:p>
            <a:pPr lvl="0"/>
            <a:r>
              <a:rPr lang="en-US"/>
              <a:t> </a:t>
            </a:r>
          </a:p>
        </p:txBody>
      </p:sp>
      <p:sp>
        <p:nvSpPr>
          <p:cNvPr id="50" name="Text Placeholder 6">
            <a:extLst>
              <a:ext uri="{FF2B5EF4-FFF2-40B4-BE49-F238E27FC236}">
                <a16:creationId xmlns:a16="http://schemas.microsoft.com/office/drawing/2014/main" id="{FA790BAD-3008-FAAF-48F4-98AC2CFEF542}"/>
              </a:ext>
            </a:extLst>
          </p:cNvPr>
          <p:cNvSpPr>
            <a:spLocks noGrp="1"/>
          </p:cNvSpPr>
          <p:nvPr>
            <p:ph type="body" sz="quarter" idx="55" hasCustomPrompt="1"/>
          </p:nvPr>
        </p:nvSpPr>
        <p:spPr>
          <a:xfrm>
            <a:off x="8864274" y="236961"/>
            <a:ext cx="73152" cy="73152"/>
          </a:xfrm>
          <a:prstGeom prst="ellipse">
            <a:avLst/>
          </a:prstGeom>
          <a:solidFill>
            <a:schemeClr val="tx2"/>
          </a:solidFill>
        </p:spPr>
        <p:txBody>
          <a:bodyPr anchor="ctr"/>
          <a:lstStyle>
            <a:lvl1pPr marL="0" indent="0" algn="ctr" rtl="0">
              <a:buNone/>
              <a:defRPr sz="700" b="0" i="1">
                <a:solidFill>
                  <a:schemeClr val="bg1"/>
                </a:solidFill>
                <a:latin typeface="+mj-lt"/>
              </a:defRPr>
            </a:lvl1pPr>
          </a:lstStyle>
          <a:p>
            <a:pPr lvl="0"/>
            <a:r>
              <a:rPr lang="en-US"/>
              <a:t> </a:t>
            </a:r>
          </a:p>
        </p:txBody>
      </p:sp>
      <p:sp>
        <p:nvSpPr>
          <p:cNvPr id="51" name="Text Placeholder 6">
            <a:extLst>
              <a:ext uri="{FF2B5EF4-FFF2-40B4-BE49-F238E27FC236}">
                <a16:creationId xmlns:a16="http://schemas.microsoft.com/office/drawing/2014/main" id="{BCC29606-80B8-FC76-11DA-3A7D0A0967EF}"/>
              </a:ext>
            </a:extLst>
          </p:cNvPr>
          <p:cNvSpPr>
            <a:spLocks noGrp="1"/>
          </p:cNvSpPr>
          <p:nvPr>
            <p:ph type="body" sz="quarter" idx="56" hasCustomPrompt="1"/>
          </p:nvPr>
        </p:nvSpPr>
        <p:spPr>
          <a:xfrm>
            <a:off x="7811014" y="159237"/>
            <a:ext cx="228600" cy="228600"/>
          </a:xfrm>
          <a:prstGeom prst="ellipse">
            <a:avLst/>
          </a:prstGeom>
          <a:solidFill>
            <a:srgbClr val="FFE1AB"/>
          </a:solidFill>
        </p:spPr>
        <p:txBody>
          <a:bodyPr anchor="ctr"/>
          <a:lstStyle>
            <a:lvl1pPr marL="0" indent="0" algn="ctr" rtl="0">
              <a:buNone/>
              <a:defRPr sz="700" b="0" i="1">
                <a:solidFill>
                  <a:schemeClr val="tx1"/>
                </a:solidFill>
                <a:latin typeface="+mj-lt"/>
              </a:defRPr>
            </a:lvl1pPr>
          </a:lstStyle>
          <a:p>
            <a:pPr lvl="0"/>
            <a:r>
              <a:rPr lang="en-US"/>
              <a:t>#</a:t>
            </a:r>
          </a:p>
        </p:txBody>
      </p:sp>
    </p:spTree>
    <p:extLst>
      <p:ext uri="{BB962C8B-B14F-4D97-AF65-F5344CB8AC3E}">
        <p14:creationId xmlns:p14="http://schemas.microsoft.com/office/powerpoint/2010/main" val="40429823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ld four-column">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2B1E9D46-007D-AD2B-6D91-0CF949DAC318}"/>
              </a:ext>
            </a:extLst>
          </p:cNvPr>
          <p:cNvGraphicFramePr>
            <a:graphicFrameLocks noChangeAspect="1"/>
          </p:cNvGraphicFramePr>
          <p:nvPr userDrawn="1">
            <p:custDataLst>
              <p:tags r:id="rId1"/>
            </p:custDataLst>
            <p:extLst>
              <p:ext uri="{D42A27DB-BD31-4B8C-83A1-F6EECF244321}">
                <p14:modId xmlns:p14="http://schemas.microsoft.com/office/powerpoint/2010/main" val="802306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1" name="think-cell data - do not delete" hidden="1">
                        <a:extLst>
                          <a:ext uri="{FF2B5EF4-FFF2-40B4-BE49-F238E27FC236}">
                            <a16:creationId xmlns:a16="http://schemas.microsoft.com/office/drawing/2014/main" id="{2B1E9D46-007D-AD2B-6D91-0CF949DAC3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Marcador de texto 51">
            <a:extLst>
              <a:ext uri="{FF2B5EF4-FFF2-40B4-BE49-F238E27FC236}">
                <a16:creationId xmlns:a16="http://schemas.microsoft.com/office/drawing/2014/main" id="{6D63E225-5DCA-DF4F-D628-B5260918AFBD}"/>
              </a:ext>
            </a:extLst>
          </p:cNvPr>
          <p:cNvSpPr>
            <a:spLocks noGrp="1"/>
          </p:cNvSpPr>
          <p:nvPr>
            <p:ph type="body" sz="quarter" idx="62" hasCustomPrompt="1"/>
          </p:nvPr>
        </p:nvSpPr>
        <p:spPr>
          <a:xfrm>
            <a:off x="484631" y="1228934"/>
            <a:ext cx="1920240" cy="429768"/>
          </a:xfrm>
          <a:prstGeom prst="round2SameRect">
            <a:avLst>
              <a:gd name="adj1" fmla="val 23992"/>
              <a:gd name="adj2" fmla="val 0"/>
            </a:avLst>
          </a:prstGeom>
          <a:solidFill>
            <a:schemeClr val="accent2"/>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2" name="Redondear rectángulo de esquina del mismo lado 3">
            <a:extLst>
              <a:ext uri="{FF2B5EF4-FFF2-40B4-BE49-F238E27FC236}">
                <a16:creationId xmlns:a16="http://schemas.microsoft.com/office/drawing/2014/main" id="{568527D5-6D71-316E-8B5A-FF7CC7F69DD0}"/>
              </a:ext>
            </a:extLst>
          </p:cNvPr>
          <p:cNvSpPr/>
          <p:nvPr userDrawn="1"/>
        </p:nvSpPr>
        <p:spPr>
          <a:xfrm>
            <a:off x="484631" y="1667268"/>
            <a:ext cx="1920240" cy="2907792"/>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13" name="Marcador de texto 30">
            <a:extLst>
              <a:ext uri="{FF2B5EF4-FFF2-40B4-BE49-F238E27FC236}">
                <a16:creationId xmlns:a16="http://schemas.microsoft.com/office/drawing/2014/main" id="{FEC4A646-BED8-AEEF-A1EB-C32BDBBAD8F0}"/>
              </a:ext>
            </a:extLst>
          </p:cNvPr>
          <p:cNvSpPr>
            <a:spLocks noGrp="1"/>
          </p:cNvSpPr>
          <p:nvPr>
            <p:ph type="body" sz="quarter" idx="11" hasCustomPrompt="1"/>
          </p:nvPr>
        </p:nvSpPr>
        <p:spPr>
          <a:xfrm>
            <a:off x="631751" y="1340091"/>
            <a:ext cx="1626001" cy="279757"/>
          </a:xfrm>
        </p:spPr>
        <p:txBody>
          <a:bodyPr anchor="ctr" anchorCtr="0"/>
          <a:lstStyle>
            <a:lvl1pPr marL="0" indent="0" algn="ctr" rtl="0">
              <a:buNone/>
              <a:defRPr sz="1000" spc="100" baseline="0">
                <a:solidFill>
                  <a:schemeClr val="tx2"/>
                </a:solidFill>
              </a:defRPr>
            </a:lvl1pPr>
          </a:lstStyle>
          <a:p>
            <a:pPr lvl="0"/>
            <a:r>
              <a:rPr lang="en-US"/>
              <a:t>TITLE ONE HERE</a:t>
            </a:r>
          </a:p>
        </p:txBody>
      </p:sp>
      <p:sp>
        <p:nvSpPr>
          <p:cNvPr id="14" name="Marcador de texto 51">
            <a:extLst>
              <a:ext uri="{FF2B5EF4-FFF2-40B4-BE49-F238E27FC236}">
                <a16:creationId xmlns:a16="http://schemas.microsoft.com/office/drawing/2014/main" id="{8046F6B3-D699-7674-95D5-C6A2B8F93752}"/>
              </a:ext>
            </a:extLst>
          </p:cNvPr>
          <p:cNvSpPr>
            <a:spLocks noGrp="1"/>
          </p:cNvSpPr>
          <p:nvPr>
            <p:ph type="body" sz="quarter" idx="15" hasCustomPrompt="1"/>
          </p:nvPr>
        </p:nvSpPr>
        <p:spPr>
          <a:xfrm>
            <a:off x="562797" y="1788535"/>
            <a:ext cx="1763908" cy="2641317"/>
          </a:xfrm>
        </p:spPr>
        <p:txBody>
          <a:bodyPr/>
          <a:lstStyle>
            <a:lvl1pPr marL="0" indent="0" rtl="0">
              <a:lnSpc>
                <a:spcPct val="130000"/>
              </a:lnSpc>
              <a:buNone/>
              <a:defRPr sz="900" b="0" i="0">
                <a:solidFill>
                  <a:schemeClr val="tx1"/>
                </a:solidFill>
                <a:latin typeface="+mj-lt"/>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a:t>
            </a:r>
          </a:p>
        </p:txBody>
      </p:sp>
      <p:sp>
        <p:nvSpPr>
          <p:cNvPr id="29" name="Slide Number Placeholder 5">
            <a:extLst>
              <a:ext uri="{FF2B5EF4-FFF2-40B4-BE49-F238E27FC236}">
                <a16:creationId xmlns:a16="http://schemas.microsoft.com/office/drawing/2014/main" id="{1803BFB8-7D3D-36A5-4917-44D4B12E6558}"/>
              </a:ext>
            </a:extLst>
          </p:cNvPr>
          <p:cNvSpPr>
            <a:spLocks noGrp="1"/>
          </p:cNvSpPr>
          <p:nvPr>
            <p:ph type="sldNum" sz="quarter" idx="4294967295"/>
          </p:nvPr>
        </p:nvSpPr>
        <p:spPr>
          <a:xfrm>
            <a:off x="8729560" y="4911474"/>
            <a:ext cx="342581" cy="96296"/>
          </a:xfrm>
          <a:prstGeom prst="rect">
            <a:avLst/>
          </a:prstGeom>
        </p:spPr>
        <p:txBody>
          <a:bodyPr anchor="ctr" anchorCtr="0"/>
          <a:lstStyle>
            <a:lvl1pPr rtl="0">
              <a:defRPr>
                <a:solidFill>
                  <a:srgbClr val="881946"/>
                </a:solidFill>
              </a:defRPr>
            </a:lvl1pPr>
          </a:lstStyle>
          <a:p>
            <a:fld id="{A90607E6-BCED-4FC1-A345-AB2A307AB80F}" type="slidenum">
              <a:rPr lang="en-US" sz="700" b="1" smtClean="0"/>
              <a:pPr/>
              <a:t>‹#›</a:t>
            </a:fld>
            <a:endParaRPr lang="en-US" b="1"/>
          </a:p>
        </p:txBody>
      </p:sp>
      <p:pic>
        <p:nvPicPr>
          <p:cNvPr id="30" name="Graphic 4">
            <a:extLst>
              <a:ext uri="{FF2B5EF4-FFF2-40B4-BE49-F238E27FC236}">
                <a16:creationId xmlns:a16="http://schemas.microsoft.com/office/drawing/2014/main" id="{ACB945B2-B77A-E634-192E-45EEE2CB99E8}"/>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255140" y="4913719"/>
            <a:ext cx="380786" cy="113702"/>
          </a:xfrm>
          <a:prstGeom prst="rect">
            <a:avLst/>
          </a:prstGeom>
        </p:spPr>
      </p:pic>
      <p:sp>
        <p:nvSpPr>
          <p:cNvPr id="33" name="Google Shape;149;p16">
            <a:extLst>
              <a:ext uri="{FF2B5EF4-FFF2-40B4-BE49-F238E27FC236}">
                <a16:creationId xmlns:a16="http://schemas.microsoft.com/office/drawing/2014/main" id="{7F8EFDF5-363B-1CD7-B192-A81AAF12E7A7}"/>
              </a:ext>
            </a:extLst>
          </p:cNvPr>
          <p:cNvSpPr/>
          <p:nvPr userDrawn="1"/>
        </p:nvSpPr>
        <p:spPr>
          <a:xfrm>
            <a:off x="-3265" y="-23643"/>
            <a:ext cx="9157775" cy="59436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35" name="Marcador de texto 11">
            <a:extLst>
              <a:ext uri="{FF2B5EF4-FFF2-40B4-BE49-F238E27FC236}">
                <a16:creationId xmlns:a16="http://schemas.microsoft.com/office/drawing/2014/main" id="{9CC37206-9C63-21D2-AB5F-C96AE561FF3F}"/>
              </a:ext>
            </a:extLst>
          </p:cNvPr>
          <p:cNvSpPr>
            <a:spLocks noGrp="1"/>
          </p:cNvSpPr>
          <p:nvPr>
            <p:ph type="body" sz="quarter" idx="28" hasCustomPrompt="1"/>
          </p:nvPr>
        </p:nvSpPr>
        <p:spPr>
          <a:xfrm>
            <a:off x="466344" y="4837588"/>
            <a:ext cx="7323915" cy="231775"/>
          </a:xfrm>
        </p:spPr>
        <p:txBody>
          <a:bodyPr anchor="b"/>
          <a:lstStyle>
            <a:lvl1pPr marL="0" indent="0" rtl="0">
              <a:lnSpc>
                <a:spcPct val="100000"/>
              </a:lnSpc>
              <a:spcBef>
                <a:spcPts val="0"/>
              </a:spcBef>
              <a:buNone/>
              <a:defRPr sz="700">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36" name="Marcador de texto 28">
            <a:extLst>
              <a:ext uri="{FF2B5EF4-FFF2-40B4-BE49-F238E27FC236}">
                <a16:creationId xmlns:a16="http://schemas.microsoft.com/office/drawing/2014/main" id="{42DEB5F6-4FDD-84D4-E09C-96B40B05D0DF}"/>
              </a:ext>
            </a:extLst>
          </p:cNvPr>
          <p:cNvSpPr>
            <a:spLocks noGrp="1"/>
          </p:cNvSpPr>
          <p:nvPr>
            <p:ph type="body" sz="quarter" idx="53" hasCustomPrompt="1"/>
          </p:nvPr>
        </p:nvSpPr>
        <p:spPr>
          <a:xfrm>
            <a:off x="466344" y="58653"/>
            <a:ext cx="8169510" cy="429768"/>
          </a:xfrm>
        </p:spPr>
        <p:txBody>
          <a:bodyPr anchor="ctr" anchorCtr="0"/>
          <a:lstStyle>
            <a:lvl1pPr marL="0" indent="0" rtl="0">
              <a:buNone/>
              <a:defRPr sz="1400">
                <a:solidFill>
                  <a:schemeClr val="bg1"/>
                </a:solidFill>
              </a:defRPr>
            </a:lvl1pPr>
          </a:lstStyle>
          <a:p>
            <a:pPr marL="0" marR="0" lvl="0" indent="0" algn="l" defTabSz="10728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is a four-column slide.</a:t>
            </a:r>
          </a:p>
        </p:txBody>
      </p:sp>
      <p:sp>
        <p:nvSpPr>
          <p:cNvPr id="37" name="Text Placeholder 6">
            <a:extLst>
              <a:ext uri="{FF2B5EF4-FFF2-40B4-BE49-F238E27FC236}">
                <a16:creationId xmlns:a16="http://schemas.microsoft.com/office/drawing/2014/main" id="{31DB99C6-47CC-B9BD-A722-18A41F63F1F7}"/>
              </a:ext>
            </a:extLst>
          </p:cNvPr>
          <p:cNvSpPr>
            <a:spLocks noGrp="1"/>
          </p:cNvSpPr>
          <p:nvPr>
            <p:ph type="body" sz="quarter" idx="65" hasCustomPrompt="1"/>
          </p:nvPr>
        </p:nvSpPr>
        <p:spPr>
          <a:xfrm>
            <a:off x="1133855" y="759778"/>
            <a:ext cx="621792" cy="621792"/>
          </a:xfrm>
          <a:prstGeom prst="ellipse">
            <a:avLst/>
          </a:prstGeom>
          <a:solidFill>
            <a:schemeClr val="tx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Icon</a:t>
            </a:r>
          </a:p>
        </p:txBody>
      </p:sp>
      <p:sp>
        <p:nvSpPr>
          <p:cNvPr id="38" name="Marcador de texto 51">
            <a:extLst>
              <a:ext uri="{FF2B5EF4-FFF2-40B4-BE49-F238E27FC236}">
                <a16:creationId xmlns:a16="http://schemas.microsoft.com/office/drawing/2014/main" id="{4E691DED-D814-69AD-C7E1-E0DFD3CF3AAF}"/>
              </a:ext>
            </a:extLst>
          </p:cNvPr>
          <p:cNvSpPr>
            <a:spLocks noGrp="1"/>
          </p:cNvSpPr>
          <p:nvPr>
            <p:ph type="body" sz="quarter" idx="66" hasCustomPrompt="1"/>
          </p:nvPr>
        </p:nvSpPr>
        <p:spPr>
          <a:xfrm>
            <a:off x="6715614" y="1228934"/>
            <a:ext cx="1920240" cy="429768"/>
          </a:xfrm>
          <a:prstGeom prst="round2SameRect">
            <a:avLst>
              <a:gd name="adj1" fmla="val 23992"/>
              <a:gd name="adj2" fmla="val 0"/>
            </a:avLst>
          </a:prstGeom>
          <a:solidFill>
            <a:schemeClr val="accent2"/>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39" name="Redondear rectángulo de esquina del mismo lado 3">
            <a:extLst>
              <a:ext uri="{FF2B5EF4-FFF2-40B4-BE49-F238E27FC236}">
                <a16:creationId xmlns:a16="http://schemas.microsoft.com/office/drawing/2014/main" id="{4E927F72-CA0F-0ECA-9563-5DB60A575250}"/>
              </a:ext>
            </a:extLst>
          </p:cNvPr>
          <p:cNvSpPr/>
          <p:nvPr userDrawn="1"/>
        </p:nvSpPr>
        <p:spPr>
          <a:xfrm>
            <a:off x="6715614" y="1667268"/>
            <a:ext cx="1920240" cy="2907792"/>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40" name="Marcador de texto 30">
            <a:extLst>
              <a:ext uri="{FF2B5EF4-FFF2-40B4-BE49-F238E27FC236}">
                <a16:creationId xmlns:a16="http://schemas.microsoft.com/office/drawing/2014/main" id="{65081C74-1AB6-9AEB-3733-E95F262F13D2}"/>
              </a:ext>
            </a:extLst>
          </p:cNvPr>
          <p:cNvSpPr>
            <a:spLocks noGrp="1"/>
          </p:cNvSpPr>
          <p:nvPr>
            <p:ph type="body" sz="quarter" idx="67" hasCustomPrompt="1"/>
          </p:nvPr>
        </p:nvSpPr>
        <p:spPr>
          <a:xfrm>
            <a:off x="6862734" y="1340091"/>
            <a:ext cx="1626001" cy="279757"/>
          </a:xfrm>
        </p:spPr>
        <p:txBody>
          <a:bodyPr anchor="ctr" anchorCtr="0"/>
          <a:lstStyle>
            <a:lvl1pPr marL="0" indent="0" algn="ctr" rtl="0">
              <a:buNone/>
              <a:defRPr sz="1000" spc="100" baseline="0">
                <a:solidFill>
                  <a:schemeClr val="tx2"/>
                </a:solidFill>
              </a:defRPr>
            </a:lvl1pPr>
          </a:lstStyle>
          <a:p>
            <a:pPr lvl="0"/>
            <a:r>
              <a:rPr lang="en-US"/>
              <a:t>TITLE ONE HERE</a:t>
            </a:r>
          </a:p>
        </p:txBody>
      </p:sp>
      <p:sp>
        <p:nvSpPr>
          <p:cNvPr id="41" name="Marcador de texto 51">
            <a:extLst>
              <a:ext uri="{FF2B5EF4-FFF2-40B4-BE49-F238E27FC236}">
                <a16:creationId xmlns:a16="http://schemas.microsoft.com/office/drawing/2014/main" id="{8FC36E4A-A21F-8323-4CEF-71F987BFE597}"/>
              </a:ext>
            </a:extLst>
          </p:cNvPr>
          <p:cNvSpPr>
            <a:spLocks noGrp="1"/>
          </p:cNvSpPr>
          <p:nvPr>
            <p:ph type="body" sz="quarter" idx="68" hasCustomPrompt="1"/>
          </p:nvPr>
        </p:nvSpPr>
        <p:spPr>
          <a:xfrm>
            <a:off x="6793780" y="1788535"/>
            <a:ext cx="1763908" cy="2641317"/>
          </a:xfrm>
        </p:spPr>
        <p:txBody>
          <a:bodyPr/>
          <a:lstStyle>
            <a:lvl1pPr marL="0" indent="0" rtl="0">
              <a:lnSpc>
                <a:spcPct val="130000"/>
              </a:lnSpc>
              <a:buNone/>
              <a:defRPr sz="900" b="0" i="0">
                <a:solidFill>
                  <a:schemeClr val="tx1"/>
                </a:solidFill>
                <a:latin typeface="+mj-lt"/>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a:t>
            </a:r>
          </a:p>
        </p:txBody>
      </p:sp>
      <p:sp>
        <p:nvSpPr>
          <p:cNvPr id="42" name="Text Placeholder 6">
            <a:extLst>
              <a:ext uri="{FF2B5EF4-FFF2-40B4-BE49-F238E27FC236}">
                <a16:creationId xmlns:a16="http://schemas.microsoft.com/office/drawing/2014/main" id="{A0E95D6F-D160-51D7-85E7-9E5B619365B3}"/>
              </a:ext>
            </a:extLst>
          </p:cNvPr>
          <p:cNvSpPr>
            <a:spLocks noGrp="1"/>
          </p:cNvSpPr>
          <p:nvPr>
            <p:ph type="body" sz="quarter" idx="69" hasCustomPrompt="1"/>
          </p:nvPr>
        </p:nvSpPr>
        <p:spPr>
          <a:xfrm>
            <a:off x="7364838" y="759778"/>
            <a:ext cx="621792" cy="621792"/>
          </a:xfrm>
          <a:prstGeom prst="ellipse">
            <a:avLst/>
          </a:prstGeom>
          <a:solidFill>
            <a:schemeClr val="tx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Icon</a:t>
            </a:r>
          </a:p>
        </p:txBody>
      </p:sp>
      <p:sp>
        <p:nvSpPr>
          <p:cNvPr id="43" name="Marcador de texto 51">
            <a:extLst>
              <a:ext uri="{FF2B5EF4-FFF2-40B4-BE49-F238E27FC236}">
                <a16:creationId xmlns:a16="http://schemas.microsoft.com/office/drawing/2014/main" id="{C15A8F09-4314-0156-2E30-DA0920369BE2}"/>
              </a:ext>
            </a:extLst>
          </p:cNvPr>
          <p:cNvSpPr>
            <a:spLocks noGrp="1"/>
          </p:cNvSpPr>
          <p:nvPr>
            <p:ph type="body" sz="quarter" idx="70" hasCustomPrompt="1"/>
          </p:nvPr>
        </p:nvSpPr>
        <p:spPr>
          <a:xfrm>
            <a:off x="4638619" y="1228934"/>
            <a:ext cx="1920240" cy="429768"/>
          </a:xfrm>
          <a:prstGeom prst="round2SameRect">
            <a:avLst>
              <a:gd name="adj1" fmla="val 23992"/>
              <a:gd name="adj2" fmla="val 0"/>
            </a:avLst>
          </a:prstGeom>
          <a:solidFill>
            <a:schemeClr val="accent2"/>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44" name="Redondear rectángulo de esquina del mismo lado 3">
            <a:extLst>
              <a:ext uri="{FF2B5EF4-FFF2-40B4-BE49-F238E27FC236}">
                <a16:creationId xmlns:a16="http://schemas.microsoft.com/office/drawing/2014/main" id="{80BDEC37-8D9F-ECE3-065D-967B7B5E5F90}"/>
              </a:ext>
            </a:extLst>
          </p:cNvPr>
          <p:cNvSpPr/>
          <p:nvPr userDrawn="1"/>
        </p:nvSpPr>
        <p:spPr>
          <a:xfrm>
            <a:off x="4638619" y="1667268"/>
            <a:ext cx="1920240" cy="2907792"/>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45" name="Marcador de texto 30">
            <a:extLst>
              <a:ext uri="{FF2B5EF4-FFF2-40B4-BE49-F238E27FC236}">
                <a16:creationId xmlns:a16="http://schemas.microsoft.com/office/drawing/2014/main" id="{14DAEF91-F2BC-529B-E5AC-A0C691A6768C}"/>
              </a:ext>
            </a:extLst>
          </p:cNvPr>
          <p:cNvSpPr>
            <a:spLocks noGrp="1"/>
          </p:cNvSpPr>
          <p:nvPr>
            <p:ph type="body" sz="quarter" idx="71" hasCustomPrompt="1"/>
          </p:nvPr>
        </p:nvSpPr>
        <p:spPr>
          <a:xfrm>
            <a:off x="4785739" y="1340091"/>
            <a:ext cx="1626001" cy="279757"/>
          </a:xfrm>
        </p:spPr>
        <p:txBody>
          <a:bodyPr anchor="ctr" anchorCtr="0"/>
          <a:lstStyle>
            <a:lvl1pPr marL="0" indent="0" algn="ctr" rtl="0">
              <a:buNone/>
              <a:defRPr sz="1000" spc="100" baseline="0">
                <a:solidFill>
                  <a:schemeClr val="tx2"/>
                </a:solidFill>
              </a:defRPr>
            </a:lvl1pPr>
          </a:lstStyle>
          <a:p>
            <a:pPr lvl="0"/>
            <a:r>
              <a:rPr lang="en-US"/>
              <a:t>TITLE ONE HERE</a:t>
            </a:r>
          </a:p>
        </p:txBody>
      </p:sp>
      <p:sp>
        <p:nvSpPr>
          <p:cNvPr id="46" name="Marcador de texto 51">
            <a:extLst>
              <a:ext uri="{FF2B5EF4-FFF2-40B4-BE49-F238E27FC236}">
                <a16:creationId xmlns:a16="http://schemas.microsoft.com/office/drawing/2014/main" id="{0F03C93F-6ABC-B525-3FD8-8AA38C892AD5}"/>
              </a:ext>
            </a:extLst>
          </p:cNvPr>
          <p:cNvSpPr>
            <a:spLocks noGrp="1"/>
          </p:cNvSpPr>
          <p:nvPr>
            <p:ph type="body" sz="quarter" idx="72" hasCustomPrompt="1"/>
          </p:nvPr>
        </p:nvSpPr>
        <p:spPr>
          <a:xfrm>
            <a:off x="4716785" y="1788535"/>
            <a:ext cx="1763908" cy="2641317"/>
          </a:xfrm>
        </p:spPr>
        <p:txBody>
          <a:bodyPr/>
          <a:lstStyle>
            <a:lvl1pPr marL="0" indent="0" rtl="0">
              <a:lnSpc>
                <a:spcPct val="130000"/>
              </a:lnSpc>
              <a:buNone/>
              <a:defRPr sz="900" b="0" i="0">
                <a:solidFill>
                  <a:schemeClr val="tx1"/>
                </a:solidFill>
                <a:latin typeface="+mj-lt"/>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a:t>
            </a:r>
          </a:p>
        </p:txBody>
      </p:sp>
      <p:sp>
        <p:nvSpPr>
          <p:cNvPr id="47" name="Text Placeholder 6">
            <a:extLst>
              <a:ext uri="{FF2B5EF4-FFF2-40B4-BE49-F238E27FC236}">
                <a16:creationId xmlns:a16="http://schemas.microsoft.com/office/drawing/2014/main" id="{768172FC-3EEF-5078-5779-747BEE771A90}"/>
              </a:ext>
            </a:extLst>
          </p:cNvPr>
          <p:cNvSpPr>
            <a:spLocks noGrp="1"/>
          </p:cNvSpPr>
          <p:nvPr>
            <p:ph type="body" sz="quarter" idx="73" hasCustomPrompt="1"/>
          </p:nvPr>
        </p:nvSpPr>
        <p:spPr>
          <a:xfrm>
            <a:off x="5287843" y="759778"/>
            <a:ext cx="621792" cy="621792"/>
          </a:xfrm>
          <a:prstGeom prst="ellipse">
            <a:avLst/>
          </a:prstGeom>
          <a:solidFill>
            <a:schemeClr val="tx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Icon</a:t>
            </a:r>
          </a:p>
        </p:txBody>
      </p:sp>
      <p:sp>
        <p:nvSpPr>
          <p:cNvPr id="48" name="Marcador de texto 51">
            <a:extLst>
              <a:ext uri="{FF2B5EF4-FFF2-40B4-BE49-F238E27FC236}">
                <a16:creationId xmlns:a16="http://schemas.microsoft.com/office/drawing/2014/main" id="{048CC65B-1BB1-CB0A-ECE4-4231033AC847}"/>
              </a:ext>
            </a:extLst>
          </p:cNvPr>
          <p:cNvSpPr>
            <a:spLocks noGrp="1"/>
          </p:cNvSpPr>
          <p:nvPr>
            <p:ph type="body" sz="quarter" idx="74" hasCustomPrompt="1"/>
          </p:nvPr>
        </p:nvSpPr>
        <p:spPr>
          <a:xfrm>
            <a:off x="2561625" y="1228934"/>
            <a:ext cx="1920240" cy="429768"/>
          </a:xfrm>
          <a:prstGeom prst="round2SameRect">
            <a:avLst>
              <a:gd name="adj1" fmla="val 23992"/>
              <a:gd name="adj2" fmla="val 0"/>
            </a:avLst>
          </a:prstGeom>
          <a:solidFill>
            <a:schemeClr val="accent2"/>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49" name="Redondear rectángulo de esquina del mismo lado 3">
            <a:extLst>
              <a:ext uri="{FF2B5EF4-FFF2-40B4-BE49-F238E27FC236}">
                <a16:creationId xmlns:a16="http://schemas.microsoft.com/office/drawing/2014/main" id="{1FC326CD-C9AA-010B-8387-89B8CEA1AFE9}"/>
              </a:ext>
            </a:extLst>
          </p:cNvPr>
          <p:cNvSpPr/>
          <p:nvPr userDrawn="1"/>
        </p:nvSpPr>
        <p:spPr>
          <a:xfrm>
            <a:off x="2561625" y="1667268"/>
            <a:ext cx="1920240" cy="2907792"/>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50" name="Marcador de texto 30">
            <a:extLst>
              <a:ext uri="{FF2B5EF4-FFF2-40B4-BE49-F238E27FC236}">
                <a16:creationId xmlns:a16="http://schemas.microsoft.com/office/drawing/2014/main" id="{4B747F65-DFB1-A657-B0E6-10B684E6F33D}"/>
              </a:ext>
            </a:extLst>
          </p:cNvPr>
          <p:cNvSpPr>
            <a:spLocks noGrp="1"/>
          </p:cNvSpPr>
          <p:nvPr>
            <p:ph type="body" sz="quarter" idx="75" hasCustomPrompt="1"/>
          </p:nvPr>
        </p:nvSpPr>
        <p:spPr>
          <a:xfrm>
            <a:off x="2708745" y="1340091"/>
            <a:ext cx="1626001" cy="279757"/>
          </a:xfrm>
        </p:spPr>
        <p:txBody>
          <a:bodyPr anchor="ctr" anchorCtr="0"/>
          <a:lstStyle>
            <a:lvl1pPr marL="0" indent="0" algn="ctr" rtl="0">
              <a:buNone/>
              <a:defRPr sz="1000" spc="100" baseline="0">
                <a:solidFill>
                  <a:schemeClr val="tx2"/>
                </a:solidFill>
              </a:defRPr>
            </a:lvl1pPr>
          </a:lstStyle>
          <a:p>
            <a:pPr lvl="0"/>
            <a:r>
              <a:rPr lang="en-US"/>
              <a:t>TITLE ONE HERE</a:t>
            </a:r>
          </a:p>
        </p:txBody>
      </p:sp>
      <p:sp>
        <p:nvSpPr>
          <p:cNvPr id="51" name="Marcador de texto 51">
            <a:extLst>
              <a:ext uri="{FF2B5EF4-FFF2-40B4-BE49-F238E27FC236}">
                <a16:creationId xmlns:a16="http://schemas.microsoft.com/office/drawing/2014/main" id="{8919D345-FCF3-0EED-2661-79D3666AB174}"/>
              </a:ext>
            </a:extLst>
          </p:cNvPr>
          <p:cNvSpPr>
            <a:spLocks noGrp="1"/>
          </p:cNvSpPr>
          <p:nvPr>
            <p:ph type="body" sz="quarter" idx="76" hasCustomPrompt="1"/>
          </p:nvPr>
        </p:nvSpPr>
        <p:spPr>
          <a:xfrm>
            <a:off x="2639791" y="1788535"/>
            <a:ext cx="1763908" cy="2641317"/>
          </a:xfrm>
        </p:spPr>
        <p:txBody>
          <a:bodyPr/>
          <a:lstStyle>
            <a:lvl1pPr marL="0" indent="0" rtl="0">
              <a:lnSpc>
                <a:spcPct val="130000"/>
              </a:lnSpc>
              <a:buNone/>
              <a:defRPr sz="900" b="0" i="0">
                <a:solidFill>
                  <a:schemeClr val="tx1"/>
                </a:solidFill>
                <a:latin typeface="+mj-lt"/>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a:t>
            </a:r>
          </a:p>
        </p:txBody>
      </p:sp>
      <p:sp>
        <p:nvSpPr>
          <p:cNvPr id="52" name="Text Placeholder 6">
            <a:extLst>
              <a:ext uri="{FF2B5EF4-FFF2-40B4-BE49-F238E27FC236}">
                <a16:creationId xmlns:a16="http://schemas.microsoft.com/office/drawing/2014/main" id="{5624E2EC-C1C0-D824-DF42-13B6469BC89D}"/>
              </a:ext>
            </a:extLst>
          </p:cNvPr>
          <p:cNvSpPr>
            <a:spLocks noGrp="1"/>
          </p:cNvSpPr>
          <p:nvPr>
            <p:ph type="body" sz="quarter" idx="77" hasCustomPrompt="1"/>
          </p:nvPr>
        </p:nvSpPr>
        <p:spPr>
          <a:xfrm>
            <a:off x="3210849" y="759778"/>
            <a:ext cx="621792" cy="621792"/>
          </a:xfrm>
          <a:prstGeom prst="ellipse">
            <a:avLst/>
          </a:prstGeom>
          <a:solidFill>
            <a:schemeClr val="tx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Icon</a:t>
            </a:r>
          </a:p>
        </p:txBody>
      </p:sp>
    </p:spTree>
    <p:extLst>
      <p:ext uri="{BB962C8B-B14F-4D97-AF65-F5344CB8AC3E}">
        <p14:creationId xmlns:p14="http://schemas.microsoft.com/office/powerpoint/2010/main" val="40194859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ld five-segment">
    <p:spTree>
      <p:nvGrpSpPr>
        <p:cNvPr id="1" name=""/>
        <p:cNvGrpSpPr/>
        <p:nvPr/>
      </p:nvGrpSpPr>
      <p:grpSpPr>
        <a:xfrm>
          <a:off x="0" y="0"/>
          <a:ext cx="0" cy="0"/>
          <a:chOff x="0" y="0"/>
          <a:chExt cx="0" cy="0"/>
        </a:xfrm>
      </p:grpSpPr>
      <p:graphicFrame>
        <p:nvGraphicFramePr>
          <p:cNvPr id="42" name="think-cell data - do not delete" hidden="1">
            <a:extLst>
              <a:ext uri="{FF2B5EF4-FFF2-40B4-BE49-F238E27FC236}">
                <a16:creationId xmlns:a16="http://schemas.microsoft.com/office/drawing/2014/main" id="{ED3BEEE4-BF2F-DBBC-C58A-85B67574A531}"/>
              </a:ext>
            </a:extLst>
          </p:cNvPr>
          <p:cNvGraphicFramePr>
            <a:graphicFrameLocks noChangeAspect="1"/>
          </p:cNvGraphicFramePr>
          <p:nvPr userDrawn="1">
            <p:custDataLst>
              <p:tags r:id="rId1"/>
            </p:custDataLst>
            <p:extLst>
              <p:ext uri="{D42A27DB-BD31-4B8C-83A1-F6EECF244321}">
                <p14:modId xmlns:p14="http://schemas.microsoft.com/office/powerpoint/2010/main" val="1869113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2" name="think-cell data - do not delete" hidden="1">
                        <a:extLst>
                          <a:ext uri="{FF2B5EF4-FFF2-40B4-BE49-F238E27FC236}">
                            <a16:creationId xmlns:a16="http://schemas.microsoft.com/office/drawing/2014/main" id="{ED3BEEE4-BF2F-DBBC-C58A-85B67574A5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1" name="Marcador de texto 51">
            <a:extLst>
              <a:ext uri="{FF2B5EF4-FFF2-40B4-BE49-F238E27FC236}">
                <a16:creationId xmlns:a16="http://schemas.microsoft.com/office/drawing/2014/main" id="{D9F27551-AFEC-217B-1AAF-70EAA72FB1ED}"/>
              </a:ext>
            </a:extLst>
          </p:cNvPr>
          <p:cNvSpPr>
            <a:spLocks noGrp="1"/>
          </p:cNvSpPr>
          <p:nvPr>
            <p:ph type="body" sz="quarter" idx="101" hasCustomPrompt="1"/>
          </p:nvPr>
        </p:nvSpPr>
        <p:spPr>
          <a:xfrm rot="16200000">
            <a:off x="5101698" y="-2049522"/>
            <a:ext cx="676656" cy="6391656"/>
          </a:xfrm>
          <a:prstGeom prst="round2SameRect">
            <a:avLst>
              <a:gd name="adj1" fmla="val 0"/>
              <a:gd name="adj2" fmla="val 0"/>
            </a:avLst>
          </a:prstGeom>
          <a:solidFill>
            <a:schemeClr val="bg1"/>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72" name="Marcador de texto 51">
            <a:extLst>
              <a:ext uri="{FF2B5EF4-FFF2-40B4-BE49-F238E27FC236}">
                <a16:creationId xmlns:a16="http://schemas.microsoft.com/office/drawing/2014/main" id="{B713BE46-F8C8-3B12-5A06-271059D1B15D}"/>
              </a:ext>
            </a:extLst>
          </p:cNvPr>
          <p:cNvSpPr>
            <a:spLocks noGrp="1"/>
          </p:cNvSpPr>
          <p:nvPr>
            <p:ph type="body" sz="quarter" idx="102" hasCustomPrompt="1"/>
          </p:nvPr>
        </p:nvSpPr>
        <p:spPr>
          <a:xfrm rot="16200000">
            <a:off x="5101698" y="1021947"/>
            <a:ext cx="676656" cy="6391656"/>
          </a:xfrm>
          <a:prstGeom prst="round2SameRect">
            <a:avLst>
              <a:gd name="adj1" fmla="val 0"/>
              <a:gd name="adj2" fmla="val 0"/>
            </a:avLst>
          </a:prstGeom>
          <a:solidFill>
            <a:schemeClr val="bg1"/>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73" name="Marcador de texto 51">
            <a:extLst>
              <a:ext uri="{FF2B5EF4-FFF2-40B4-BE49-F238E27FC236}">
                <a16:creationId xmlns:a16="http://schemas.microsoft.com/office/drawing/2014/main" id="{62BB2EC9-EAE2-6E52-21C0-025FDB2493E4}"/>
              </a:ext>
            </a:extLst>
          </p:cNvPr>
          <p:cNvSpPr>
            <a:spLocks noGrp="1"/>
          </p:cNvSpPr>
          <p:nvPr>
            <p:ph type="body" sz="quarter" idx="103" hasCustomPrompt="1"/>
          </p:nvPr>
        </p:nvSpPr>
        <p:spPr>
          <a:xfrm rot="16200000">
            <a:off x="5101698" y="254079"/>
            <a:ext cx="676656" cy="6391656"/>
          </a:xfrm>
          <a:prstGeom prst="round2SameRect">
            <a:avLst>
              <a:gd name="adj1" fmla="val 0"/>
              <a:gd name="adj2" fmla="val 0"/>
            </a:avLst>
          </a:prstGeom>
          <a:solidFill>
            <a:schemeClr val="bg1"/>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74" name="Marcador de texto 51">
            <a:extLst>
              <a:ext uri="{FF2B5EF4-FFF2-40B4-BE49-F238E27FC236}">
                <a16:creationId xmlns:a16="http://schemas.microsoft.com/office/drawing/2014/main" id="{AC2D6FBA-203E-2338-4B42-27610F25AE77}"/>
              </a:ext>
            </a:extLst>
          </p:cNvPr>
          <p:cNvSpPr>
            <a:spLocks noGrp="1"/>
          </p:cNvSpPr>
          <p:nvPr>
            <p:ph type="body" sz="quarter" idx="104" hasCustomPrompt="1"/>
          </p:nvPr>
        </p:nvSpPr>
        <p:spPr>
          <a:xfrm rot="16200000">
            <a:off x="5101698" y="-513788"/>
            <a:ext cx="676656" cy="6391656"/>
          </a:xfrm>
          <a:prstGeom prst="round2SameRect">
            <a:avLst>
              <a:gd name="adj1" fmla="val 0"/>
              <a:gd name="adj2" fmla="val 0"/>
            </a:avLst>
          </a:prstGeom>
          <a:solidFill>
            <a:schemeClr val="bg1"/>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75" name="Marcador de texto 51">
            <a:extLst>
              <a:ext uri="{FF2B5EF4-FFF2-40B4-BE49-F238E27FC236}">
                <a16:creationId xmlns:a16="http://schemas.microsoft.com/office/drawing/2014/main" id="{1588D082-0442-6454-1C23-61516649F6A6}"/>
              </a:ext>
            </a:extLst>
          </p:cNvPr>
          <p:cNvSpPr>
            <a:spLocks noGrp="1"/>
          </p:cNvSpPr>
          <p:nvPr>
            <p:ph type="body" sz="quarter" idx="105" hasCustomPrompt="1"/>
          </p:nvPr>
        </p:nvSpPr>
        <p:spPr>
          <a:xfrm rot="16200000">
            <a:off x="5101698" y="-1281655"/>
            <a:ext cx="676656" cy="6391656"/>
          </a:xfrm>
          <a:prstGeom prst="round2SameRect">
            <a:avLst>
              <a:gd name="adj1" fmla="val 0"/>
              <a:gd name="adj2" fmla="val 0"/>
            </a:avLst>
          </a:prstGeom>
          <a:solidFill>
            <a:schemeClr val="bg1"/>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2" name="Marcador de texto 51">
            <a:extLst>
              <a:ext uri="{FF2B5EF4-FFF2-40B4-BE49-F238E27FC236}">
                <a16:creationId xmlns:a16="http://schemas.microsoft.com/office/drawing/2014/main" id="{4E9D9A05-8EF6-1049-1194-017EA66811D7}"/>
              </a:ext>
            </a:extLst>
          </p:cNvPr>
          <p:cNvSpPr>
            <a:spLocks noGrp="1"/>
          </p:cNvSpPr>
          <p:nvPr>
            <p:ph type="body" sz="quarter" idx="62" hasCustomPrompt="1"/>
          </p:nvPr>
        </p:nvSpPr>
        <p:spPr>
          <a:xfrm rot="16200000">
            <a:off x="1129815" y="364494"/>
            <a:ext cx="676656" cy="1563624"/>
          </a:xfrm>
          <a:prstGeom prst="round2SameRect">
            <a:avLst>
              <a:gd name="adj1" fmla="val 13133"/>
              <a:gd name="adj2" fmla="val 0"/>
            </a:avLst>
          </a:prstGeom>
          <a:solidFill>
            <a:schemeClr val="accent2"/>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20" name="Marcador de texto 30">
            <a:extLst>
              <a:ext uri="{FF2B5EF4-FFF2-40B4-BE49-F238E27FC236}">
                <a16:creationId xmlns:a16="http://schemas.microsoft.com/office/drawing/2014/main" id="{43A07E85-F3DF-1BBE-3F48-1EDC6C883F34}"/>
              </a:ext>
            </a:extLst>
          </p:cNvPr>
          <p:cNvSpPr>
            <a:spLocks noGrp="1"/>
          </p:cNvSpPr>
          <p:nvPr userDrawn="1">
            <p:ph type="body" sz="quarter" idx="11" hasCustomPrompt="1"/>
          </p:nvPr>
        </p:nvSpPr>
        <p:spPr>
          <a:xfrm>
            <a:off x="1062895" y="956056"/>
            <a:ext cx="1122517" cy="380499"/>
          </a:xfrm>
        </p:spPr>
        <p:txBody>
          <a:bodyPr anchor="ctr" anchorCtr="0"/>
          <a:lstStyle>
            <a:lvl1pPr marL="0" indent="0" algn="l" rtl="0">
              <a:buNone/>
              <a:defRPr sz="1050" spc="100" baseline="0">
                <a:solidFill>
                  <a:schemeClr val="tx2"/>
                </a:solidFill>
              </a:defRPr>
            </a:lvl1pPr>
          </a:lstStyle>
          <a:p>
            <a:pPr lvl="0"/>
            <a:r>
              <a:rPr lang="en-US"/>
              <a:t>TITLE ONE GOES HERE</a:t>
            </a:r>
          </a:p>
        </p:txBody>
      </p:sp>
      <p:sp>
        <p:nvSpPr>
          <p:cNvPr id="25" name="Marcador de texto 49">
            <a:extLst>
              <a:ext uri="{FF2B5EF4-FFF2-40B4-BE49-F238E27FC236}">
                <a16:creationId xmlns:a16="http://schemas.microsoft.com/office/drawing/2014/main" id="{7AA7A429-83DC-EC83-F85A-BB91A52CD3F4}"/>
              </a:ext>
            </a:extLst>
          </p:cNvPr>
          <p:cNvSpPr>
            <a:spLocks noGrp="1"/>
          </p:cNvSpPr>
          <p:nvPr userDrawn="1">
            <p:ph type="body" sz="quarter" idx="22" hasCustomPrompt="1"/>
          </p:nvPr>
        </p:nvSpPr>
        <p:spPr>
          <a:xfrm>
            <a:off x="2473352" y="908974"/>
            <a:ext cx="6111953" cy="474663"/>
          </a:xfrm>
        </p:spPr>
        <p:txBody>
          <a:bodyPr/>
          <a:lstStyle>
            <a:lvl1pPr marL="0" indent="0" rtl="0">
              <a:buNone/>
              <a:defRPr sz="900"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40" name="Slide Number Placeholder 5">
            <a:extLst>
              <a:ext uri="{FF2B5EF4-FFF2-40B4-BE49-F238E27FC236}">
                <a16:creationId xmlns:a16="http://schemas.microsoft.com/office/drawing/2014/main" id="{BCB7889D-BF20-2DF0-CE40-45E481D760C9}"/>
              </a:ext>
            </a:extLst>
          </p:cNvPr>
          <p:cNvSpPr>
            <a:spLocks noGrp="1"/>
          </p:cNvSpPr>
          <p:nvPr userDrawn="1">
            <p:ph type="sldNum" sz="quarter" idx="4294967295"/>
          </p:nvPr>
        </p:nvSpPr>
        <p:spPr>
          <a:xfrm>
            <a:off x="8729560" y="4911474"/>
            <a:ext cx="342581" cy="96296"/>
          </a:xfrm>
          <a:prstGeom prst="rect">
            <a:avLst/>
          </a:prstGeom>
        </p:spPr>
        <p:txBody>
          <a:bodyPr anchor="ctr" anchorCtr="0"/>
          <a:lstStyle>
            <a:lvl1pPr rtl="0">
              <a:defRPr>
                <a:solidFill>
                  <a:srgbClr val="881946"/>
                </a:solidFill>
              </a:defRPr>
            </a:lvl1pPr>
          </a:lstStyle>
          <a:p>
            <a:fld id="{A90607E6-BCED-4FC1-A345-AB2A307AB80F}" type="slidenum">
              <a:rPr lang="en-US" sz="700" b="1" smtClean="0"/>
              <a:pPr/>
              <a:t>‹#›</a:t>
            </a:fld>
            <a:endParaRPr lang="en-US" b="1"/>
          </a:p>
        </p:txBody>
      </p:sp>
      <p:pic>
        <p:nvPicPr>
          <p:cNvPr id="41" name="Graphic 4">
            <a:extLst>
              <a:ext uri="{FF2B5EF4-FFF2-40B4-BE49-F238E27FC236}">
                <a16:creationId xmlns:a16="http://schemas.microsoft.com/office/drawing/2014/main" id="{6698304B-203B-3EAE-E4D9-D46382DAF24C}"/>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255140" y="4913719"/>
            <a:ext cx="380786" cy="113702"/>
          </a:xfrm>
          <a:prstGeom prst="rect">
            <a:avLst/>
          </a:prstGeom>
        </p:spPr>
      </p:pic>
      <p:sp>
        <p:nvSpPr>
          <p:cNvPr id="44" name="Google Shape;149;p16">
            <a:extLst>
              <a:ext uri="{FF2B5EF4-FFF2-40B4-BE49-F238E27FC236}">
                <a16:creationId xmlns:a16="http://schemas.microsoft.com/office/drawing/2014/main" id="{04049E18-141F-9980-97F6-F0F4ABC891DE}"/>
              </a:ext>
            </a:extLst>
          </p:cNvPr>
          <p:cNvSpPr/>
          <p:nvPr userDrawn="1"/>
        </p:nvSpPr>
        <p:spPr>
          <a:xfrm>
            <a:off x="-3265" y="-23643"/>
            <a:ext cx="9157775" cy="59436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46" name="Marcador de texto 11">
            <a:extLst>
              <a:ext uri="{FF2B5EF4-FFF2-40B4-BE49-F238E27FC236}">
                <a16:creationId xmlns:a16="http://schemas.microsoft.com/office/drawing/2014/main" id="{723E68E2-D9B0-4659-72AF-9EE6CA8AD4EF}"/>
              </a:ext>
            </a:extLst>
          </p:cNvPr>
          <p:cNvSpPr>
            <a:spLocks noGrp="1"/>
          </p:cNvSpPr>
          <p:nvPr userDrawn="1">
            <p:ph type="body" sz="quarter" idx="28" hasCustomPrompt="1"/>
          </p:nvPr>
        </p:nvSpPr>
        <p:spPr>
          <a:xfrm>
            <a:off x="466344" y="4837588"/>
            <a:ext cx="7323915" cy="231775"/>
          </a:xfrm>
        </p:spPr>
        <p:txBody>
          <a:bodyPr anchor="b"/>
          <a:lstStyle>
            <a:lvl1pPr marL="0" indent="0" rtl="0">
              <a:lnSpc>
                <a:spcPct val="100000"/>
              </a:lnSpc>
              <a:spcBef>
                <a:spcPts val="0"/>
              </a:spcBef>
              <a:buNone/>
              <a:defRPr sz="700">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47" name="Marcador de texto 28">
            <a:extLst>
              <a:ext uri="{FF2B5EF4-FFF2-40B4-BE49-F238E27FC236}">
                <a16:creationId xmlns:a16="http://schemas.microsoft.com/office/drawing/2014/main" id="{FED4C4AF-7D4C-AAA7-796A-0ABACB8EEF3E}"/>
              </a:ext>
            </a:extLst>
          </p:cNvPr>
          <p:cNvSpPr>
            <a:spLocks noGrp="1"/>
          </p:cNvSpPr>
          <p:nvPr userDrawn="1">
            <p:ph type="body" sz="quarter" idx="84" hasCustomPrompt="1"/>
          </p:nvPr>
        </p:nvSpPr>
        <p:spPr>
          <a:xfrm>
            <a:off x="466344" y="58653"/>
            <a:ext cx="8169510" cy="429768"/>
          </a:xfrm>
        </p:spPr>
        <p:txBody>
          <a:bodyPr anchor="ctr" anchorCtr="0"/>
          <a:lstStyle>
            <a:lvl1pPr marL="0" indent="0" rtl="0">
              <a:buNone/>
              <a:defRPr sz="1400">
                <a:solidFill>
                  <a:schemeClr val="bg1"/>
                </a:solidFill>
              </a:defRPr>
            </a:lvl1pPr>
          </a:lstStyle>
          <a:p>
            <a:pPr marL="0" marR="0" lvl="0" indent="0" algn="l" defTabSz="10728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is a five-section slide.</a:t>
            </a:r>
          </a:p>
        </p:txBody>
      </p:sp>
      <p:sp>
        <p:nvSpPr>
          <p:cNvPr id="19" name="Text Placeholder 6">
            <a:extLst>
              <a:ext uri="{FF2B5EF4-FFF2-40B4-BE49-F238E27FC236}">
                <a16:creationId xmlns:a16="http://schemas.microsoft.com/office/drawing/2014/main" id="{0B0932DC-6FEE-1E64-4DC1-27987B5BB93D}"/>
              </a:ext>
            </a:extLst>
          </p:cNvPr>
          <p:cNvSpPr>
            <a:spLocks noGrp="1"/>
          </p:cNvSpPr>
          <p:nvPr>
            <p:ph type="body" sz="quarter" idx="65" hasCustomPrompt="1"/>
          </p:nvPr>
        </p:nvSpPr>
        <p:spPr>
          <a:xfrm>
            <a:off x="460524" y="908561"/>
            <a:ext cx="475488" cy="475488"/>
          </a:xfrm>
          <a:prstGeom prst="ellipse">
            <a:avLst/>
          </a:prstGeom>
          <a:solidFill>
            <a:schemeClr val="tx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Icon</a:t>
            </a:r>
          </a:p>
        </p:txBody>
      </p:sp>
      <p:sp>
        <p:nvSpPr>
          <p:cNvPr id="52" name="Marcador de texto 51">
            <a:extLst>
              <a:ext uri="{FF2B5EF4-FFF2-40B4-BE49-F238E27FC236}">
                <a16:creationId xmlns:a16="http://schemas.microsoft.com/office/drawing/2014/main" id="{B3C9CDEC-4D1B-29F8-A820-86F5B2144D76}"/>
              </a:ext>
            </a:extLst>
          </p:cNvPr>
          <p:cNvSpPr>
            <a:spLocks noGrp="1"/>
          </p:cNvSpPr>
          <p:nvPr>
            <p:ph type="body" sz="quarter" idx="85" hasCustomPrompt="1"/>
          </p:nvPr>
        </p:nvSpPr>
        <p:spPr>
          <a:xfrm rot="16200000">
            <a:off x="1129815" y="1132412"/>
            <a:ext cx="676656" cy="1563624"/>
          </a:xfrm>
          <a:prstGeom prst="round2SameRect">
            <a:avLst>
              <a:gd name="adj1" fmla="val 13133"/>
              <a:gd name="adj2" fmla="val 0"/>
            </a:avLst>
          </a:prstGeom>
          <a:solidFill>
            <a:schemeClr val="accent2"/>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53" name="Marcador de texto 30">
            <a:extLst>
              <a:ext uri="{FF2B5EF4-FFF2-40B4-BE49-F238E27FC236}">
                <a16:creationId xmlns:a16="http://schemas.microsoft.com/office/drawing/2014/main" id="{52EE45AD-91F8-8B24-3CA9-BF9B9C5F7995}"/>
              </a:ext>
            </a:extLst>
          </p:cNvPr>
          <p:cNvSpPr>
            <a:spLocks noGrp="1"/>
          </p:cNvSpPr>
          <p:nvPr>
            <p:ph type="body" sz="quarter" idx="86" hasCustomPrompt="1"/>
          </p:nvPr>
        </p:nvSpPr>
        <p:spPr>
          <a:xfrm>
            <a:off x="1062895" y="1723975"/>
            <a:ext cx="1122517" cy="380499"/>
          </a:xfrm>
        </p:spPr>
        <p:txBody>
          <a:bodyPr anchor="ctr" anchorCtr="0"/>
          <a:lstStyle>
            <a:lvl1pPr marL="0" indent="0" algn="l" rtl="0">
              <a:buNone/>
              <a:defRPr sz="1050" spc="100" baseline="0">
                <a:solidFill>
                  <a:schemeClr val="tx2"/>
                </a:solidFill>
              </a:defRPr>
            </a:lvl1pPr>
          </a:lstStyle>
          <a:p>
            <a:pPr lvl="0"/>
            <a:r>
              <a:rPr lang="en-US"/>
              <a:t>TITLE ONE GOES HERE</a:t>
            </a:r>
          </a:p>
        </p:txBody>
      </p:sp>
      <p:sp>
        <p:nvSpPr>
          <p:cNvPr id="54" name="Marcador de texto 49">
            <a:extLst>
              <a:ext uri="{FF2B5EF4-FFF2-40B4-BE49-F238E27FC236}">
                <a16:creationId xmlns:a16="http://schemas.microsoft.com/office/drawing/2014/main" id="{6EAC3376-5B4D-3963-0C22-38ACF0637569}"/>
              </a:ext>
            </a:extLst>
          </p:cNvPr>
          <p:cNvSpPr>
            <a:spLocks noGrp="1"/>
          </p:cNvSpPr>
          <p:nvPr>
            <p:ph type="body" sz="quarter" idx="87" hasCustomPrompt="1"/>
          </p:nvPr>
        </p:nvSpPr>
        <p:spPr>
          <a:xfrm>
            <a:off x="2473352" y="1676893"/>
            <a:ext cx="6111953" cy="474663"/>
          </a:xfrm>
        </p:spPr>
        <p:txBody>
          <a:bodyPr/>
          <a:lstStyle>
            <a:lvl1pPr marL="0" indent="0" rtl="0">
              <a:buNone/>
              <a:defRPr sz="900" b="0" i="0">
                <a:solidFill>
                  <a:srgbClr val="414244"/>
                </a:solidFill>
                <a:latin typeface="Open Sans" pitchFamily="2" charset="0"/>
                <a:ea typeface="Open Sans" pitchFamily="2" charset="0"/>
                <a:cs typeface="Open Sans"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55" name="Text Placeholder 6">
            <a:extLst>
              <a:ext uri="{FF2B5EF4-FFF2-40B4-BE49-F238E27FC236}">
                <a16:creationId xmlns:a16="http://schemas.microsoft.com/office/drawing/2014/main" id="{582D1AC8-20DC-71A9-FF49-A1F881F6193B}"/>
              </a:ext>
            </a:extLst>
          </p:cNvPr>
          <p:cNvSpPr>
            <a:spLocks noGrp="1"/>
          </p:cNvSpPr>
          <p:nvPr>
            <p:ph type="body" sz="quarter" idx="88" hasCustomPrompt="1"/>
          </p:nvPr>
        </p:nvSpPr>
        <p:spPr>
          <a:xfrm>
            <a:off x="460524" y="1676480"/>
            <a:ext cx="475488" cy="475488"/>
          </a:xfrm>
          <a:prstGeom prst="ellipse">
            <a:avLst/>
          </a:prstGeom>
          <a:solidFill>
            <a:schemeClr val="tx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Icon</a:t>
            </a:r>
          </a:p>
        </p:txBody>
      </p:sp>
      <p:sp>
        <p:nvSpPr>
          <p:cNvPr id="57" name="Marcador de texto 51">
            <a:extLst>
              <a:ext uri="{FF2B5EF4-FFF2-40B4-BE49-F238E27FC236}">
                <a16:creationId xmlns:a16="http://schemas.microsoft.com/office/drawing/2014/main" id="{4D8AF51D-D9B1-1800-FE7B-D13925ABFA04}"/>
              </a:ext>
            </a:extLst>
          </p:cNvPr>
          <p:cNvSpPr>
            <a:spLocks noGrp="1"/>
          </p:cNvSpPr>
          <p:nvPr>
            <p:ph type="body" sz="quarter" idx="89" hasCustomPrompt="1"/>
          </p:nvPr>
        </p:nvSpPr>
        <p:spPr>
          <a:xfrm rot="16200000">
            <a:off x="1129815" y="1900331"/>
            <a:ext cx="676656" cy="1563624"/>
          </a:xfrm>
          <a:prstGeom prst="round2SameRect">
            <a:avLst>
              <a:gd name="adj1" fmla="val 13133"/>
              <a:gd name="adj2" fmla="val 0"/>
            </a:avLst>
          </a:prstGeom>
          <a:solidFill>
            <a:schemeClr val="accent2"/>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58" name="Marcador de texto 30">
            <a:extLst>
              <a:ext uri="{FF2B5EF4-FFF2-40B4-BE49-F238E27FC236}">
                <a16:creationId xmlns:a16="http://schemas.microsoft.com/office/drawing/2014/main" id="{3CC862A8-1BCE-DB18-B9E2-E2C4F5036C99}"/>
              </a:ext>
            </a:extLst>
          </p:cNvPr>
          <p:cNvSpPr>
            <a:spLocks noGrp="1"/>
          </p:cNvSpPr>
          <p:nvPr>
            <p:ph type="body" sz="quarter" idx="90" hasCustomPrompt="1"/>
          </p:nvPr>
        </p:nvSpPr>
        <p:spPr>
          <a:xfrm>
            <a:off x="1062895" y="2491894"/>
            <a:ext cx="1122517" cy="380499"/>
          </a:xfrm>
        </p:spPr>
        <p:txBody>
          <a:bodyPr anchor="ctr" anchorCtr="0"/>
          <a:lstStyle>
            <a:lvl1pPr marL="0" indent="0" algn="l" rtl="0">
              <a:buNone/>
              <a:defRPr sz="1050" spc="100" baseline="0">
                <a:solidFill>
                  <a:schemeClr val="tx2"/>
                </a:solidFill>
              </a:defRPr>
            </a:lvl1pPr>
          </a:lstStyle>
          <a:p>
            <a:pPr lvl="0"/>
            <a:r>
              <a:rPr lang="en-US"/>
              <a:t>TITLE ONE GOES HERE</a:t>
            </a:r>
          </a:p>
        </p:txBody>
      </p:sp>
      <p:sp>
        <p:nvSpPr>
          <p:cNvPr id="59" name="Marcador de texto 49">
            <a:extLst>
              <a:ext uri="{FF2B5EF4-FFF2-40B4-BE49-F238E27FC236}">
                <a16:creationId xmlns:a16="http://schemas.microsoft.com/office/drawing/2014/main" id="{C9A4D98A-86BE-DBEA-3EAE-FC2F0CEC7F54}"/>
              </a:ext>
            </a:extLst>
          </p:cNvPr>
          <p:cNvSpPr>
            <a:spLocks noGrp="1"/>
          </p:cNvSpPr>
          <p:nvPr>
            <p:ph type="body" sz="quarter" idx="91" hasCustomPrompt="1"/>
          </p:nvPr>
        </p:nvSpPr>
        <p:spPr>
          <a:xfrm>
            <a:off x="2473352" y="2444812"/>
            <a:ext cx="6111953" cy="474663"/>
          </a:xfrm>
        </p:spPr>
        <p:txBody>
          <a:bodyPr/>
          <a:lstStyle>
            <a:lvl1pPr marL="0" indent="0" rtl="0">
              <a:buNone/>
              <a:defRPr sz="900"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60" name="Text Placeholder 6">
            <a:extLst>
              <a:ext uri="{FF2B5EF4-FFF2-40B4-BE49-F238E27FC236}">
                <a16:creationId xmlns:a16="http://schemas.microsoft.com/office/drawing/2014/main" id="{FDEA9434-AE9C-B394-2F22-71C4488B8182}"/>
              </a:ext>
            </a:extLst>
          </p:cNvPr>
          <p:cNvSpPr>
            <a:spLocks noGrp="1"/>
          </p:cNvSpPr>
          <p:nvPr>
            <p:ph type="body" sz="quarter" idx="92" hasCustomPrompt="1"/>
          </p:nvPr>
        </p:nvSpPr>
        <p:spPr>
          <a:xfrm>
            <a:off x="460524" y="2444399"/>
            <a:ext cx="475488" cy="475488"/>
          </a:xfrm>
          <a:prstGeom prst="ellipse">
            <a:avLst/>
          </a:prstGeom>
          <a:solidFill>
            <a:schemeClr val="tx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Icon</a:t>
            </a:r>
          </a:p>
        </p:txBody>
      </p:sp>
      <p:sp>
        <p:nvSpPr>
          <p:cNvPr id="62" name="Marcador de texto 51">
            <a:extLst>
              <a:ext uri="{FF2B5EF4-FFF2-40B4-BE49-F238E27FC236}">
                <a16:creationId xmlns:a16="http://schemas.microsoft.com/office/drawing/2014/main" id="{0934166E-CE99-0E25-3362-B9AB6DDB3F87}"/>
              </a:ext>
            </a:extLst>
          </p:cNvPr>
          <p:cNvSpPr>
            <a:spLocks noGrp="1"/>
          </p:cNvSpPr>
          <p:nvPr>
            <p:ph type="body" sz="quarter" idx="93" hasCustomPrompt="1"/>
          </p:nvPr>
        </p:nvSpPr>
        <p:spPr>
          <a:xfrm rot="16200000">
            <a:off x="1129815" y="2668251"/>
            <a:ext cx="676656" cy="1563624"/>
          </a:xfrm>
          <a:prstGeom prst="round2SameRect">
            <a:avLst>
              <a:gd name="adj1" fmla="val 13133"/>
              <a:gd name="adj2" fmla="val 0"/>
            </a:avLst>
          </a:prstGeom>
          <a:solidFill>
            <a:schemeClr val="accent2"/>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63" name="Marcador de texto 30">
            <a:extLst>
              <a:ext uri="{FF2B5EF4-FFF2-40B4-BE49-F238E27FC236}">
                <a16:creationId xmlns:a16="http://schemas.microsoft.com/office/drawing/2014/main" id="{012DCA2D-B46C-5561-C502-F29F671B6670}"/>
              </a:ext>
            </a:extLst>
          </p:cNvPr>
          <p:cNvSpPr>
            <a:spLocks noGrp="1"/>
          </p:cNvSpPr>
          <p:nvPr>
            <p:ph type="body" sz="quarter" idx="94" hasCustomPrompt="1"/>
          </p:nvPr>
        </p:nvSpPr>
        <p:spPr>
          <a:xfrm>
            <a:off x="1062895" y="3259814"/>
            <a:ext cx="1122517" cy="380499"/>
          </a:xfrm>
        </p:spPr>
        <p:txBody>
          <a:bodyPr anchor="ctr" anchorCtr="0"/>
          <a:lstStyle>
            <a:lvl1pPr marL="0" indent="0" algn="l" rtl="0">
              <a:buNone/>
              <a:defRPr sz="1050" spc="100" baseline="0">
                <a:solidFill>
                  <a:schemeClr val="tx2"/>
                </a:solidFill>
              </a:defRPr>
            </a:lvl1pPr>
          </a:lstStyle>
          <a:p>
            <a:pPr lvl="0"/>
            <a:r>
              <a:rPr lang="en-US"/>
              <a:t>TITLE ONE GOES HERE</a:t>
            </a:r>
          </a:p>
        </p:txBody>
      </p:sp>
      <p:sp>
        <p:nvSpPr>
          <p:cNvPr id="64" name="Marcador de texto 49">
            <a:extLst>
              <a:ext uri="{FF2B5EF4-FFF2-40B4-BE49-F238E27FC236}">
                <a16:creationId xmlns:a16="http://schemas.microsoft.com/office/drawing/2014/main" id="{F5C1D006-0F50-DF84-C70D-87FBF77BF082}"/>
              </a:ext>
            </a:extLst>
          </p:cNvPr>
          <p:cNvSpPr>
            <a:spLocks noGrp="1"/>
          </p:cNvSpPr>
          <p:nvPr>
            <p:ph type="body" sz="quarter" idx="95" hasCustomPrompt="1"/>
          </p:nvPr>
        </p:nvSpPr>
        <p:spPr>
          <a:xfrm>
            <a:off x="2473352" y="3212732"/>
            <a:ext cx="6111953" cy="474663"/>
          </a:xfrm>
        </p:spPr>
        <p:txBody>
          <a:bodyPr/>
          <a:lstStyle>
            <a:lvl1pPr marL="0" indent="0" rtl="0">
              <a:buNone/>
              <a:defRPr sz="900"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65" name="Text Placeholder 6">
            <a:extLst>
              <a:ext uri="{FF2B5EF4-FFF2-40B4-BE49-F238E27FC236}">
                <a16:creationId xmlns:a16="http://schemas.microsoft.com/office/drawing/2014/main" id="{75A4D53C-9AA4-EF8D-701D-23629375F1A9}"/>
              </a:ext>
            </a:extLst>
          </p:cNvPr>
          <p:cNvSpPr>
            <a:spLocks noGrp="1"/>
          </p:cNvSpPr>
          <p:nvPr>
            <p:ph type="body" sz="quarter" idx="96" hasCustomPrompt="1"/>
          </p:nvPr>
        </p:nvSpPr>
        <p:spPr>
          <a:xfrm>
            <a:off x="460524" y="3212319"/>
            <a:ext cx="475488" cy="475488"/>
          </a:xfrm>
          <a:prstGeom prst="ellipse">
            <a:avLst/>
          </a:prstGeom>
          <a:solidFill>
            <a:schemeClr val="tx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Icon</a:t>
            </a:r>
          </a:p>
        </p:txBody>
      </p:sp>
      <p:sp>
        <p:nvSpPr>
          <p:cNvPr id="67" name="Marcador de texto 51">
            <a:extLst>
              <a:ext uri="{FF2B5EF4-FFF2-40B4-BE49-F238E27FC236}">
                <a16:creationId xmlns:a16="http://schemas.microsoft.com/office/drawing/2014/main" id="{3F746B5A-8B42-EF1B-AECA-38966A5048A0}"/>
              </a:ext>
            </a:extLst>
          </p:cNvPr>
          <p:cNvSpPr>
            <a:spLocks noGrp="1"/>
          </p:cNvSpPr>
          <p:nvPr>
            <p:ph type="body" sz="quarter" idx="97" hasCustomPrompt="1"/>
          </p:nvPr>
        </p:nvSpPr>
        <p:spPr>
          <a:xfrm rot="16200000">
            <a:off x="1129815" y="3435962"/>
            <a:ext cx="676656" cy="1563624"/>
          </a:xfrm>
          <a:prstGeom prst="round2SameRect">
            <a:avLst>
              <a:gd name="adj1" fmla="val 13133"/>
              <a:gd name="adj2" fmla="val 0"/>
            </a:avLst>
          </a:prstGeom>
          <a:solidFill>
            <a:schemeClr val="accent2"/>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68" name="Marcador de texto 30">
            <a:extLst>
              <a:ext uri="{FF2B5EF4-FFF2-40B4-BE49-F238E27FC236}">
                <a16:creationId xmlns:a16="http://schemas.microsoft.com/office/drawing/2014/main" id="{A63A38D2-0935-EAFE-4F6D-054CABBE2B04}"/>
              </a:ext>
            </a:extLst>
          </p:cNvPr>
          <p:cNvSpPr>
            <a:spLocks noGrp="1"/>
          </p:cNvSpPr>
          <p:nvPr>
            <p:ph type="body" sz="quarter" idx="98" hasCustomPrompt="1"/>
          </p:nvPr>
        </p:nvSpPr>
        <p:spPr>
          <a:xfrm>
            <a:off x="1062895" y="4027525"/>
            <a:ext cx="1122517" cy="380499"/>
          </a:xfrm>
        </p:spPr>
        <p:txBody>
          <a:bodyPr anchor="ctr" anchorCtr="0"/>
          <a:lstStyle>
            <a:lvl1pPr marL="0" indent="0" algn="l" rtl="0">
              <a:buNone/>
              <a:defRPr sz="1050" spc="100" baseline="0">
                <a:solidFill>
                  <a:schemeClr val="tx2"/>
                </a:solidFill>
              </a:defRPr>
            </a:lvl1pPr>
          </a:lstStyle>
          <a:p>
            <a:pPr lvl="0"/>
            <a:r>
              <a:rPr lang="en-US"/>
              <a:t>TITLE ONE GOES HERE</a:t>
            </a:r>
          </a:p>
        </p:txBody>
      </p:sp>
      <p:sp>
        <p:nvSpPr>
          <p:cNvPr id="69" name="Marcador de texto 49">
            <a:extLst>
              <a:ext uri="{FF2B5EF4-FFF2-40B4-BE49-F238E27FC236}">
                <a16:creationId xmlns:a16="http://schemas.microsoft.com/office/drawing/2014/main" id="{45463B79-9D24-E17A-3412-220A33026638}"/>
              </a:ext>
            </a:extLst>
          </p:cNvPr>
          <p:cNvSpPr>
            <a:spLocks noGrp="1"/>
          </p:cNvSpPr>
          <p:nvPr>
            <p:ph type="body" sz="quarter" idx="99" hasCustomPrompt="1"/>
          </p:nvPr>
        </p:nvSpPr>
        <p:spPr>
          <a:xfrm>
            <a:off x="2473352" y="3980443"/>
            <a:ext cx="6111953" cy="474663"/>
          </a:xfrm>
        </p:spPr>
        <p:txBody>
          <a:bodyPr/>
          <a:lstStyle>
            <a:lvl1pPr marL="0" indent="0" rtl="0">
              <a:buNone/>
              <a:defRPr sz="900"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70" name="Text Placeholder 6">
            <a:extLst>
              <a:ext uri="{FF2B5EF4-FFF2-40B4-BE49-F238E27FC236}">
                <a16:creationId xmlns:a16="http://schemas.microsoft.com/office/drawing/2014/main" id="{E1702FD7-FFAA-F37C-08E0-6E7D388D5CA5}"/>
              </a:ext>
            </a:extLst>
          </p:cNvPr>
          <p:cNvSpPr>
            <a:spLocks noGrp="1"/>
          </p:cNvSpPr>
          <p:nvPr>
            <p:ph type="body" sz="quarter" idx="100" hasCustomPrompt="1"/>
          </p:nvPr>
        </p:nvSpPr>
        <p:spPr>
          <a:xfrm>
            <a:off x="460524" y="3980030"/>
            <a:ext cx="475488" cy="475488"/>
          </a:xfrm>
          <a:prstGeom prst="ellipse">
            <a:avLst/>
          </a:prstGeom>
          <a:solidFill>
            <a:schemeClr val="tx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Icon</a:t>
            </a:r>
          </a:p>
        </p:txBody>
      </p:sp>
    </p:spTree>
    <p:extLst>
      <p:ext uri="{BB962C8B-B14F-4D97-AF65-F5344CB8AC3E}">
        <p14:creationId xmlns:p14="http://schemas.microsoft.com/office/powerpoint/2010/main" val="18283659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ld six-segment">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900B73A8-592A-AF89-8073-73169078ED1D}"/>
              </a:ext>
            </a:extLst>
          </p:cNvPr>
          <p:cNvGraphicFramePr>
            <a:graphicFrameLocks noChangeAspect="1"/>
          </p:cNvGraphicFramePr>
          <p:nvPr userDrawn="1">
            <p:custDataLst>
              <p:tags r:id="rId1"/>
            </p:custDataLst>
            <p:extLst>
              <p:ext uri="{D42A27DB-BD31-4B8C-83A1-F6EECF244321}">
                <p14:modId xmlns:p14="http://schemas.microsoft.com/office/powerpoint/2010/main" val="4078720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1" name="think-cell data - do not delete" hidden="1">
                        <a:extLst>
                          <a:ext uri="{FF2B5EF4-FFF2-40B4-BE49-F238E27FC236}">
                            <a16:creationId xmlns:a16="http://schemas.microsoft.com/office/drawing/2014/main" id="{900B73A8-592A-AF89-8073-73169078ED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dondear rectángulo de esquina del mismo lado 3">
            <a:extLst>
              <a:ext uri="{FF2B5EF4-FFF2-40B4-BE49-F238E27FC236}">
                <a16:creationId xmlns:a16="http://schemas.microsoft.com/office/drawing/2014/main" id="{C7243301-6742-57C9-2828-6162319F3750}"/>
              </a:ext>
            </a:extLst>
          </p:cNvPr>
          <p:cNvSpPr/>
          <p:nvPr userDrawn="1"/>
        </p:nvSpPr>
        <p:spPr>
          <a:xfrm>
            <a:off x="966952" y="759557"/>
            <a:ext cx="3529584" cy="1197864"/>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11" name="Marcador de texto 49">
            <a:extLst>
              <a:ext uri="{FF2B5EF4-FFF2-40B4-BE49-F238E27FC236}">
                <a16:creationId xmlns:a16="http://schemas.microsoft.com/office/drawing/2014/main" id="{ADC80068-2E16-1E1A-C967-995F853110B9}"/>
              </a:ext>
            </a:extLst>
          </p:cNvPr>
          <p:cNvSpPr>
            <a:spLocks noGrp="1"/>
          </p:cNvSpPr>
          <p:nvPr>
            <p:ph type="body" sz="quarter" idx="22" hasCustomPrompt="1"/>
          </p:nvPr>
        </p:nvSpPr>
        <p:spPr>
          <a:xfrm>
            <a:off x="1429957" y="930881"/>
            <a:ext cx="2813431" cy="855216"/>
          </a:xfrm>
        </p:spPr>
        <p:txBody>
          <a:bodyPr/>
          <a:lstStyle>
            <a:lvl1pPr marL="0" indent="0" rtl="0">
              <a:buNone/>
              <a:defRPr sz="900"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29" name="Slide Number Placeholder 5">
            <a:extLst>
              <a:ext uri="{FF2B5EF4-FFF2-40B4-BE49-F238E27FC236}">
                <a16:creationId xmlns:a16="http://schemas.microsoft.com/office/drawing/2014/main" id="{999A8719-8200-AACC-FACD-E8DFEFC5E575}"/>
              </a:ext>
            </a:extLst>
          </p:cNvPr>
          <p:cNvSpPr>
            <a:spLocks noGrp="1"/>
          </p:cNvSpPr>
          <p:nvPr>
            <p:ph type="sldNum" sz="quarter" idx="4294967295"/>
          </p:nvPr>
        </p:nvSpPr>
        <p:spPr>
          <a:xfrm>
            <a:off x="8729560" y="4911474"/>
            <a:ext cx="342581" cy="96296"/>
          </a:xfrm>
          <a:prstGeom prst="rect">
            <a:avLst/>
          </a:prstGeom>
        </p:spPr>
        <p:txBody>
          <a:bodyPr anchor="ctr" anchorCtr="0"/>
          <a:lstStyle>
            <a:lvl1pPr rtl="0">
              <a:defRPr>
                <a:solidFill>
                  <a:srgbClr val="881946"/>
                </a:solidFill>
              </a:defRPr>
            </a:lvl1pPr>
          </a:lstStyle>
          <a:p>
            <a:fld id="{A90607E6-BCED-4FC1-A345-AB2A307AB80F}" type="slidenum">
              <a:rPr lang="en-US" sz="700" b="1" smtClean="0"/>
              <a:pPr/>
              <a:t>‹#›</a:t>
            </a:fld>
            <a:endParaRPr lang="en-US" b="1"/>
          </a:p>
        </p:txBody>
      </p:sp>
      <p:pic>
        <p:nvPicPr>
          <p:cNvPr id="30" name="Graphic 4">
            <a:extLst>
              <a:ext uri="{FF2B5EF4-FFF2-40B4-BE49-F238E27FC236}">
                <a16:creationId xmlns:a16="http://schemas.microsoft.com/office/drawing/2014/main" id="{AF5AB40B-2094-2691-FFE8-4AB83B9E82EB}"/>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255140" y="4913719"/>
            <a:ext cx="380786" cy="113702"/>
          </a:xfrm>
          <a:prstGeom prst="rect">
            <a:avLst/>
          </a:prstGeom>
        </p:spPr>
      </p:pic>
      <p:sp>
        <p:nvSpPr>
          <p:cNvPr id="33" name="Google Shape;149;p16">
            <a:extLst>
              <a:ext uri="{FF2B5EF4-FFF2-40B4-BE49-F238E27FC236}">
                <a16:creationId xmlns:a16="http://schemas.microsoft.com/office/drawing/2014/main" id="{B80B97D3-0A9F-463A-A511-1A4167B773CF}"/>
              </a:ext>
            </a:extLst>
          </p:cNvPr>
          <p:cNvSpPr/>
          <p:nvPr userDrawn="1"/>
        </p:nvSpPr>
        <p:spPr>
          <a:xfrm>
            <a:off x="-3265" y="-23643"/>
            <a:ext cx="9157775" cy="59436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34" name="Marcador de texto 11">
            <a:extLst>
              <a:ext uri="{FF2B5EF4-FFF2-40B4-BE49-F238E27FC236}">
                <a16:creationId xmlns:a16="http://schemas.microsoft.com/office/drawing/2014/main" id="{5843EC93-9D42-C44C-1606-A07BF8514D10}"/>
              </a:ext>
            </a:extLst>
          </p:cNvPr>
          <p:cNvSpPr>
            <a:spLocks noGrp="1"/>
          </p:cNvSpPr>
          <p:nvPr>
            <p:ph type="body" sz="quarter" idx="28" hasCustomPrompt="1"/>
          </p:nvPr>
        </p:nvSpPr>
        <p:spPr>
          <a:xfrm>
            <a:off x="466344" y="4837588"/>
            <a:ext cx="7323915" cy="231775"/>
          </a:xfrm>
        </p:spPr>
        <p:txBody>
          <a:bodyPr anchor="b"/>
          <a:lstStyle>
            <a:lvl1pPr marL="0" indent="0" rtl="0">
              <a:lnSpc>
                <a:spcPct val="100000"/>
              </a:lnSpc>
              <a:spcBef>
                <a:spcPts val="0"/>
              </a:spcBef>
              <a:buNone/>
              <a:defRPr sz="700">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35" name="Marcador de texto 28">
            <a:extLst>
              <a:ext uri="{FF2B5EF4-FFF2-40B4-BE49-F238E27FC236}">
                <a16:creationId xmlns:a16="http://schemas.microsoft.com/office/drawing/2014/main" id="{BC95FE40-473B-C4DF-A643-2D02AB205083}"/>
              </a:ext>
            </a:extLst>
          </p:cNvPr>
          <p:cNvSpPr>
            <a:spLocks noGrp="1"/>
          </p:cNvSpPr>
          <p:nvPr>
            <p:ph type="body" sz="quarter" idx="84" hasCustomPrompt="1"/>
          </p:nvPr>
        </p:nvSpPr>
        <p:spPr>
          <a:xfrm>
            <a:off x="466344" y="58653"/>
            <a:ext cx="8169510" cy="429768"/>
          </a:xfrm>
        </p:spPr>
        <p:txBody>
          <a:bodyPr anchor="ctr" anchorCtr="0"/>
          <a:lstStyle>
            <a:lvl1pPr marL="0" indent="0" rtl="0">
              <a:buNone/>
              <a:defRPr sz="1400">
                <a:solidFill>
                  <a:schemeClr val="bg1"/>
                </a:solidFill>
              </a:defRPr>
            </a:lvl1pPr>
          </a:lstStyle>
          <a:p>
            <a:pPr marL="0" marR="0" lvl="0" indent="0" algn="l" defTabSz="10728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is a six-section slide.</a:t>
            </a:r>
          </a:p>
        </p:txBody>
      </p:sp>
      <p:sp>
        <p:nvSpPr>
          <p:cNvPr id="6" name="Text Placeholder 6">
            <a:extLst>
              <a:ext uri="{FF2B5EF4-FFF2-40B4-BE49-F238E27FC236}">
                <a16:creationId xmlns:a16="http://schemas.microsoft.com/office/drawing/2014/main" id="{FBF535C0-63EB-1115-F672-1D55208101E9}"/>
              </a:ext>
            </a:extLst>
          </p:cNvPr>
          <p:cNvSpPr>
            <a:spLocks noGrp="1"/>
          </p:cNvSpPr>
          <p:nvPr>
            <p:ph type="body" sz="quarter" idx="65" hasCustomPrompt="1"/>
          </p:nvPr>
        </p:nvSpPr>
        <p:spPr>
          <a:xfrm>
            <a:off x="522131" y="1011017"/>
            <a:ext cx="694944" cy="694944"/>
          </a:xfrm>
          <a:prstGeom prst="ellipse">
            <a:avLst/>
          </a:prstGeom>
          <a:solidFill>
            <a:schemeClr val="tx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Icon</a:t>
            </a:r>
          </a:p>
        </p:txBody>
      </p:sp>
      <p:sp>
        <p:nvSpPr>
          <p:cNvPr id="10" name="Redondear rectángulo de esquina del mismo lado 3">
            <a:extLst>
              <a:ext uri="{FF2B5EF4-FFF2-40B4-BE49-F238E27FC236}">
                <a16:creationId xmlns:a16="http://schemas.microsoft.com/office/drawing/2014/main" id="{1B86936B-9DFD-6FEB-02A1-620C385EE837}"/>
              </a:ext>
            </a:extLst>
          </p:cNvPr>
          <p:cNvSpPr/>
          <p:nvPr userDrawn="1"/>
        </p:nvSpPr>
        <p:spPr>
          <a:xfrm>
            <a:off x="966952" y="2105220"/>
            <a:ext cx="3529584" cy="1197864"/>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32" name="Marcador de texto 49">
            <a:extLst>
              <a:ext uri="{FF2B5EF4-FFF2-40B4-BE49-F238E27FC236}">
                <a16:creationId xmlns:a16="http://schemas.microsoft.com/office/drawing/2014/main" id="{80916ED7-EDCA-0E40-2C2C-FC00CCDFC28C}"/>
              </a:ext>
            </a:extLst>
          </p:cNvPr>
          <p:cNvSpPr>
            <a:spLocks noGrp="1"/>
          </p:cNvSpPr>
          <p:nvPr>
            <p:ph type="body" sz="quarter" idx="85" hasCustomPrompt="1"/>
          </p:nvPr>
        </p:nvSpPr>
        <p:spPr>
          <a:xfrm>
            <a:off x="1429957" y="2276544"/>
            <a:ext cx="2813431" cy="855216"/>
          </a:xfrm>
        </p:spPr>
        <p:txBody>
          <a:bodyPr/>
          <a:lstStyle>
            <a:lvl1pPr marL="0" indent="0" rtl="0">
              <a:buNone/>
              <a:defRPr sz="900"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36" name="Text Placeholder 6">
            <a:extLst>
              <a:ext uri="{FF2B5EF4-FFF2-40B4-BE49-F238E27FC236}">
                <a16:creationId xmlns:a16="http://schemas.microsoft.com/office/drawing/2014/main" id="{BF4B67DC-4DB6-3FE9-9002-10A194B6C6D7}"/>
              </a:ext>
            </a:extLst>
          </p:cNvPr>
          <p:cNvSpPr>
            <a:spLocks noGrp="1"/>
          </p:cNvSpPr>
          <p:nvPr>
            <p:ph type="body" sz="quarter" idx="86" hasCustomPrompt="1"/>
          </p:nvPr>
        </p:nvSpPr>
        <p:spPr>
          <a:xfrm>
            <a:off x="522131" y="2356680"/>
            <a:ext cx="694944" cy="694944"/>
          </a:xfrm>
          <a:prstGeom prst="ellipse">
            <a:avLst/>
          </a:prstGeom>
          <a:solidFill>
            <a:schemeClr val="accent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Icon</a:t>
            </a:r>
          </a:p>
        </p:txBody>
      </p:sp>
      <p:sp>
        <p:nvSpPr>
          <p:cNvPr id="37" name="Redondear rectángulo de esquina del mismo lado 3">
            <a:extLst>
              <a:ext uri="{FF2B5EF4-FFF2-40B4-BE49-F238E27FC236}">
                <a16:creationId xmlns:a16="http://schemas.microsoft.com/office/drawing/2014/main" id="{91967AF8-C123-C9FA-82EB-F2AA72DD1B83}"/>
              </a:ext>
            </a:extLst>
          </p:cNvPr>
          <p:cNvSpPr/>
          <p:nvPr userDrawn="1"/>
        </p:nvSpPr>
        <p:spPr>
          <a:xfrm>
            <a:off x="966952" y="3455816"/>
            <a:ext cx="3529584" cy="1197864"/>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38" name="Marcador de texto 49">
            <a:extLst>
              <a:ext uri="{FF2B5EF4-FFF2-40B4-BE49-F238E27FC236}">
                <a16:creationId xmlns:a16="http://schemas.microsoft.com/office/drawing/2014/main" id="{EA5CCED3-D084-6F7F-1D45-86E8E97961AC}"/>
              </a:ext>
            </a:extLst>
          </p:cNvPr>
          <p:cNvSpPr>
            <a:spLocks noGrp="1"/>
          </p:cNvSpPr>
          <p:nvPr>
            <p:ph type="body" sz="quarter" idx="87" hasCustomPrompt="1"/>
          </p:nvPr>
        </p:nvSpPr>
        <p:spPr>
          <a:xfrm>
            <a:off x="1429957" y="3627140"/>
            <a:ext cx="2813431" cy="855216"/>
          </a:xfrm>
        </p:spPr>
        <p:txBody>
          <a:bodyPr/>
          <a:lstStyle>
            <a:lvl1pPr marL="0" indent="0" rtl="0">
              <a:buNone/>
              <a:defRPr sz="900"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39" name="Text Placeholder 6">
            <a:extLst>
              <a:ext uri="{FF2B5EF4-FFF2-40B4-BE49-F238E27FC236}">
                <a16:creationId xmlns:a16="http://schemas.microsoft.com/office/drawing/2014/main" id="{9A9E1686-FA36-FB4E-91EF-F8777640DEE9}"/>
              </a:ext>
            </a:extLst>
          </p:cNvPr>
          <p:cNvSpPr>
            <a:spLocks noGrp="1"/>
          </p:cNvSpPr>
          <p:nvPr>
            <p:ph type="body" sz="quarter" idx="88" hasCustomPrompt="1"/>
          </p:nvPr>
        </p:nvSpPr>
        <p:spPr>
          <a:xfrm>
            <a:off x="522131" y="3707276"/>
            <a:ext cx="694944" cy="694944"/>
          </a:xfrm>
          <a:prstGeom prst="ellipse">
            <a:avLst/>
          </a:prstGeom>
          <a:solidFill>
            <a:schemeClr val="tx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Icon</a:t>
            </a:r>
          </a:p>
        </p:txBody>
      </p:sp>
      <p:sp>
        <p:nvSpPr>
          <p:cNvPr id="40" name="Redondear rectángulo de esquina del mismo lado 3">
            <a:extLst>
              <a:ext uri="{FF2B5EF4-FFF2-40B4-BE49-F238E27FC236}">
                <a16:creationId xmlns:a16="http://schemas.microsoft.com/office/drawing/2014/main" id="{0F1E5045-C639-31E9-F697-E7E279CDAE24}"/>
              </a:ext>
            </a:extLst>
          </p:cNvPr>
          <p:cNvSpPr/>
          <p:nvPr userDrawn="1"/>
        </p:nvSpPr>
        <p:spPr>
          <a:xfrm>
            <a:off x="5106653" y="759557"/>
            <a:ext cx="3529584" cy="1197864"/>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41" name="Marcador de texto 49">
            <a:extLst>
              <a:ext uri="{FF2B5EF4-FFF2-40B4-BE49-F238E27FC236}">
                <a16:creationId xmlns:a16="http://schemas.microsoft.com/office/drawing/2014/main" id="{A69D4F43-CF70-C3D3-C00E-8C617455A597}"/>
              </a:ext>
            </a:extLst>
          </p:cNvPr>
          <p:cNvSpPr>
            <a:spLocks noGrp="1"/>
          </p:cNvSpPr>
          <p:nvPr>
            <p:ph type="body" sz="quarter" idx="89" hasCustomPrompt="1"/>
          </p:nvPr>
        </p:nvSpPr>
        <p:spPr>
          <a:xfrm>
            <a:off x="5569658" y="930881"/>
            <a:ext cx="2813431" cy="855216"/>
          </a:xfrm>
        </p:spPr>
        <p:txBody>
          <a:bodyPr/>
          <a:lstStyle>
            <a:lvl1pPr marL="0" indent="0" rtl="0">
              <a:buNone/>
              <a:defRPr sz="900"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42" name="Text Placeholder 6">
            <a:extLst>
              <a:ext uri="{FF2B5EF4-FFF2-40B4-BE49-F238E27FC236}">
                <a16:creationId xmlns:a16="http://schemas.microsoft.com/office/drawing/2014/main" id="{765C26BB-CDA8-550D-FD3E-A93D4B94A8DE}"/>
              </a:ext>
            </a:extLst>
          </p:cNvPr>
          <p:cNvSpPr>
            <a:spLocks noGrp="1"/>
          </p:cNvSpPr>
          <p:nvPr>
            <p:ph type="body" sz="quarter" idx="90" hasCustomPrompt="1"/>
          </p:nvPr>
        </p:nvSpPr>
        <p:spPr>
          <a:xfrm>
            <a:off x="4661832" y="1011017"/>
            <a:ext cx="694944" cy="694944"/>
          </a:xfrm>
          <a:prstGeom prst="ellipse">
            <a:avLst/>
          </a:prstGeom>
          <a:solidFill>
            <a:schemeClr val="accent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Icon</a:t>
            </a:r>
          </a:p>
        </p:txBody>
      </p:sp>
      <p:sp>
        <p:nvSpPr>
          <p:cNvPr id="43" name="Redondear rectángulo de esquina del mismo lado 3">
            <a:extLst>
              <a:ext uri="{FF2B5EF4-FFF2-40B4-BE49-F238E27FC236}">
                <a16:creationId xmlns:a16="http://schemas.microsoft.com/office/drawing/2014/main" id="{8CC647AB-99A1-454B-5431-11166E4BE615}"/>
              </a:ext>
            </a:extLst>
          </p:cNvPr>
          <p:cNvSpPr/>
          <p:nvPr userDrawn="1"/>
        </p:nvSpPr>
        <p:spPr>
          <a:xfrm>
            <a:off x="5106653" y="2105220"/>
            <a:ext cx="3529584" cy="1197864"/>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44" name="Marcador de texto 49">
            <a:extLst>
              <a:ext uri="{FF2B5EF4-FFF2-40B4-BE49-F238E27FC236}">
                <a16:creationId xmlns:a16="http://schemas.microsoft.com/office/drawing/2014/main" id="{365D3FE0-8394-C7C9-EB7C-60419DD55B17}"/>
              </a:ext>
            </a:extLst>
          </p:cNvPr>
          <p:cNvSpPr>
            <a:spLocks noGrp="1"/>
          </p:cNvSpPr>
          <p:nvPr>
            <p:ph type="body" sz="quarter" idx="91" hasCustomPrompt="1"/>
          </p:nvPr>
        </p:nvSpPr>
        <p:spPr>
          <a:xfrm>
            <a:off x="5569658" y="2276544"/>
            <a:ext cx="2813431" cy="855216"/>
          </a:xfrm>
        </p:spPr>
        <p:txBody>
          <a:bodyPr/>
          <a:lstStyle>
            <a:lvl1pPr marL="0" indent="0" rtl="0">
              <a:buNone/>
              <a:defRPr sz="900"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45" name="Text Placeholder 6">
            <a:extLst>
              <a:ext uri="{FF2B5EF4-FFF2-40B4-BE49-F238E27FC236}">
                <a16:creationId xmlns:a16="http://schemas.microsoft.com/office/drawing/2014/main" id="{C68F285A-3A1E-8B72-E321-9C35BED41CC8}"/>
              </a:ext>
            </a:extLst>
          </p:cNvPr>
          <p:cNvSpPr>
            <a:spLocks noGrp="1"/>
          </p:cNvSpPr>
          <p:nvPr>
            <p:ph type="body" sz="quarter" idx="92" hasCustomPrompt="1"/>
          </p:nvPr>
        </p:nvSpPr>
        <p:spPr>
          <a:xfrm>
            <a:off x="4661832" y="2356680"/>
            <a:ext cx="694944" cy="694944"/>
          </a:xfrm>
          <a:prstGeom prst="ellipse">
            <a:avLst/>
          </a:prstGeom>
          <a:solidFill>
            <a:schemeClr val="tx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Icon</a:t>
            </a:r>
          </a:p>
        </p:txBody>
      </p:sp>
      <p:sp>
        <p:nvSpPr>
          <p:cNvPr id="46" name="Redondear rectángulo de esquina del mismo lado 3">
            <a:extLst>
              <a:ext uri="{FF2B5EF4-FFF2-40B4-BE49-F238E27FC236}">
                <a16:creationId xmlns:a16="http://schemas.microsoft.com/office/drawing/2014/main" id="{653750A9-52DD-5C2A-8268-E627C5B2B2C5}"/>
              </a:ext>
            </a:extLst>
          </p:cNvPr>
          <p:cNvSpPr/>
          <p:nvPr userDrawn="1"/>
        </p:nvSpPr>
        <p:spPr>
          <a:xfrm>
            <a:off x="5106653" y="3455816"/>
            <a:ext cx="3529584" cy="1197864"/>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47" name="Marcador de texto 49">
            <a:extLst>
              <a:ext uri="{FF2B5EF4-FFF2-40B4-BE49-F238E27FC236}">
                <a16:creationId xmlns:a16="http://schemas.microsoft.com/office/drawing/2014/main" id="{44F7C4AC-FFB9-B99E-F22A-224DA11C7B1F}"/>
              </a:ext>
            </a:extLst>
          </p:cNvPr>
          <p:cNvSpPr>
            <a:spLocks noGrp="1"/>
          </p:cNvSpPr>
          <p:nvPr>
            <p:ph type="body" sz="quarter" idx="93" hasCustomPrompt="1"/>
          </p:nvPr>
        </p:nvSpPr>
        <p:spPr>
          <a:xfrm>
            <a:off x="5569658" y="3627140"/>
            <a:ext cx="2813431" cy="855216"/>
          </a:xfrm>
        </p:spPr>
        <p:txBody>
          <a:bodyPr/>
          <a:lstStyle>
            <a:lvl1pPr marL="0" indent="0" rtl="0">
              <a:buNone/>
              <a:defRPr sz="900" b="0" i="0">
                <a:solidFill>
                  <a:srgbClr val="414244"/>
                </a:solidFill>
                <a:latin typeface="Open Sans" pitchFamily="2" charset="0"/>
                <a:ea typeface="Open Sans" pitchFamily="2" charset="0"/>
                <a:cs typeface="Open Sans" pitchFamily="2" charset="0"/>
              </a:defRPr>
            </a:lvl1pPr>
          </a:lstStyle>
          <a:p>
            <a:pPr lvl="0"/>
            <a:r>
              <a:rPr lang="en-US"/>
              <a:t>Lorem ipsum dolor sit amet, consectetur adipiscing elit, sed do eiusmod tempor incididunt ut labore et dolore magna aliqua. Ut enim ad minim veniam, quis nostrud exercitation ullamco laboris nisi ut aliquip ex ea commodo consequat.</a:t>
            </a:r>
          </a:p>
        </p:txBody>
      </p:sp>
      <p:sp>
        <p:nvSpPr>
          <p:cNvPr id="48" name="Text Placeholder 6">
            <a:extLst>
              <a:ext uri="{FF2B5EF4-FFF2-40B4-BE49-F238E27FC236}">
                <a16:creationId xmlns:a16="http://schemas.microsoft.com/office/drawing/2014/main" id="{E003E388-F3DD-FAAC-72C0-312C97BE177A}"/>
              </a:ext>
            </a:extLst>
          </p:cNvPr>
          <p:cNvSpPr>
            <a:spLocks noGrp="1"/>
          </p:cNvSpPr>
          <p:nvPr>
            <p:ph type="body" sz="quarter" idx="94" hasCustomPrompt="1"/>
          </p:nvPr>
        </p:nvSpPr>
        <p:spPr>
          <a:xfrm>
            <a:off x="4661832" y="3707276"/>
            <a:ext cx="694944" cy="694944"/>
          </a:xfrm>
          <a:prstGeom prst="ellipse">
            <a:avLst/>
          </a:prstGeom>
          <a:solidFill>
            <a:schemeClr val="accent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Icon</a:t>
            </a:r>
          </a:p>
        </p:txBody>
      </p:sp>
    </p:spTree>
    <p:extLst>
      <p:ext uri="{BB962C8B-B14F-4D97-AF65-F5344CB8AC3E}">
        <p14:creationId xmlns:p14="http://schemas.microsoft.com/office/powerpoint/2010/main" val="31524632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rows one column">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EE96348-E63A-FCC2-FB6F-367F71B81F73}"/>
              </a:ext>
            </a:extLst>
          </p:cNvPr>
          <p:cNvGraphicFramePr>
            <a:graphicFrameLocks noChangeAspect="1"/>
          </p:cNvGraphicFramePr>
          <p:nvPr userDrawn="1">
            <p:custDataLst>
              <p:tags r:id="rId1"/>
            </p:custDataLst>
            <p:extLst>
              <p:ext uri="{D42A27DB-BD31-4B8C-83A1-F6EECF244321}">
                <p14:modId xmlns:p14="http://schemas.microsoft.com/office/powerpoint/2010/main" val="21426751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7EE96348-E63A-FCC2-FB6F-367F71B81F7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51">
            <a:extLst>
              <a:ext uri="{FF2B5EF4-FFF2-40B4-BE49-F238E27FC236}">
                <a16:creationId xmlns:a16="http://schemas.microsoft.com/office/drawing/2014/main" id="{FB54FBDB-C291-27D2-F857-D0460E4E7972}"/>
              </a:ext>
            </a:extLst>
          </p:cNvPr>
          <p:cNvSpPr>
            <a:spLocks noGrp="1"/>
          </p:cNvSpPr>
          <p:nvPr>
            <p:ph type="body" sz="quarter" idx="101" hasCustomPrompt="1"/>
          </p:nvPr>
        </p:nvSpPr>
        <p:spPr>
          <a:xfrm rot="16200000">
            <a:off x="4561967" y="-1428954"/>
            <a:ext cx="1879084" cy="6268690"/>
          </a:xfrm>
          <a:prstGeom prst="round2SameRect">
            <a:avLst>
              <a:gd name="adj1" fmla="val 0"/>
              <a:gd name="adj2" fmla="val 9920"/>
            </a:avLst>
          </a:prstGeom>
          <a:solidFill>
            <a:schemeClr val="bg1"/>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9" name="Marcador de texto 51">
            <a:extLst>
              <a:ext uri="{FF2B5EF4-FFF2-40B4-BE49-F238E27FC236}">
                <a16:creationId xmlns:a16="http://schemas.microsoft.com/office/drawing/2014/main" id="{C8A7BA3C-02A1-E53A-1DFF-47916E15ADCC}"/>
              </a:ext>
            </a:extLst>
          </p:cNvPr>
          <p:cNvSpPr>
            <a:spLocks noGrp="1"/>
          </p:cNvSpPr>
          <p:nvPr>
            <p:ph type="body" sz="quarter" idx="62" hasCustomPrompt="1"/>
          </p:nvPr>
        </p:nvSpPr>
        <p:spPr>
          <a:xfrm rot="16200000">
            <a:off x="473638" y="758554"/>
            <a:ext cx="1879084" cy="1893673"/>
          </a:xfrm>
          <a:prstGeom prst="round2SameRect">
            <a:avLst>
              <a:gd name="adj1" fmla="val 13133"/>
              <a:gd name="adj2" fmla="val 0"/>
            </a:avLst>
          </a:prstGeom>
          <a:solidFill>
            <a:schemeClr val="tx2"/>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5" name="TextBox 38">
            <a:extLst>
              <a:ext uri="{FF2B5EF4-FFF2-40B4-BE49-F238E27FC236}">
                <a16:creationId xmlns:a16="http://schemas.microsoft.com/office/drawing/2014/main" id="{879FBE56-D0D8-C50B-72A3-7F8BBF877534}"/>
              </a:ext>
            </a:extLst>
          </p:cNvPr>
          <p:cNvSpPr txBox="1"/>
          <p:nvPr userDrawn="1"/>
        </p:nvSpPr>
        <p:spPr bwMode="gray">
          <a:xfrm>
            <a:off x="6774511" y="5120640"/>
            <a:ext cx="0" cy="0"/>
          </a:xfrm>
          <a:prstGeom prst="rect">
            <a:avLst/>
          </a:prstGeom>
        </p:spPr>
        <p:txBody>
          <a:bodyPr vert="horz" wrap="none" lIns="0" tIns="0" rIns="0" bIns="0" rtlCol="0" anchor="t">
            <a:noAutofit/>
          </a:bodyPr>
          <a:lstStyle/>
          <a:p>
            <a:pPr rtl="0">
              <a:spcBef>
                <a:spcPts val="600"/>
              </a:spcBef>
            </a:pPr>
            <a:endParaRPr lang="en-US">
              <a:solidFill>
                <a:srgbClr val="606060"/>
              </a:solidFill>
            </a:endParaRPr>
          </a:p>
        </p:txBody>
      </p:sp>
      <p:sp>
        <p:nvSpPr>
          <p:cNvPr id="6" name="Slide Number Placeholder 5">
            <a:extLst>
              <a:ext uri="{FF2B5EF4-FFF2-40B4-BE49-F238E27FC236}">
                <a16:creationId xmlns:a16="http://schemas.microsoft.com/office/drawing/2014/main" id="{B2844C04-A57B-BE8D-FA87-0EF67FC7B717}"/>
              </a:ext>
            </a:extLst>
          </p:cNvPr>
          <p:cNvSpPr>
            <a:spLocks noGrp="1"/>
          </p:cNvSpPr>
          <p:nvPr>
            <p:ph type="sldNum" sz="quarter" idx="4294967295"/>
          </p:nvPr>
        </p:nvSpPr>
        <p:spPr>
          <a:xfrm>
            <a:off x="8729560" y="4911474"/>
            <a:ext cx="342581" cy="96296"/>
          </a:xfrm>
          <a:prstGeom prst="rect">
            <a:avLst/>
          </a:prstGeom>
        </p:spPr>
        <p:txBody>
          <a:bodyPr anchor="ctr" anchorCtr="0"/>
          <a:lstStyle>
            <a:lvl1pPr rtl="0">
              <a:defRPr>
                <a:solidFill>
                  <a:srgbClr val="881946"/>
                </a:solidFill>
              </a:defRPr>
            </a:lvl1pPr>
          </a:lstStyle>
          <a:p>
            <a:fld id="{A90607E6-BCED-4FC1-A345-AB2A307AB80F}" type="slidenum">
              <a:rPr lang="en-US" sz="700" b="1" smtClean="0"/>
              <a:pPr/>
              <a:t>‹#›</a:t>
            </a:fld>
            <a:endParaRPr lang="en-US" b="1"/>
          </a:p>
        </p:txBody>
      </p:sp>
      <p:pic>
        <p:nvPicPr>
          <p:cNvPr id="7" name="Graphic 4">
            <a:extLst>
              <a:ext uri="{FF2B5EF4-FFF2-40B4-BE49-F238E27FC236}">
                <a16:creationId xmlns:a16="http://schemas.microsoft.com/office/drawing/2014/main" id="{C2FEC034-AA67-2612-B8AB-D6ACEFD58685}"/>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255140" y="4913719"/>
            <a:ext cx="380786" cy="113702"/>
          </a:xfrm>
          <a:prstGeom prst="rect">
            <a:avLst/>
          </a:prstGeom>
        </p:spPr>
      </p:pic>
      <p:sp>
        <p:nvSpPr>
          <p:cNvPr id="11" name="Marcador de texto 30">
            <a:extLst>
              <a:ext uri="{FF2B5EF4-FFF2-40B4-BE49-F238E27FC236}">
                <a16:creationId xmlns:a16="http://schemas.microsoft.com/office/drawing/2014/main" id="{7ABB3D9A-8FF6-284E-AEEF-08B2547E18BA}"/>
              </a:ext>
            </a:extLst>
          </p:cNvPr>
          <p:cNvSpPr>
            <a:spLocks noGrp="1"/>
          </p:cNvSpPr>
          <p:nvPr>
            <p:ph type="body" sz="quarter" idx="11" hasCustomPrompt="1"/>
          </p:nvPr>
        </p:nvSpPr>
        <p:spPr>
          <a:xfrm>
            <a:off x="753881" y="1056010"/>
            <a:ext cx="1325722" cy="279757"/>
          </a:xfrm>
        </p:spPr>
        <p:txBody>
          <a:bodyPr anchor="ctr" anchorCtr="0"/>
          <a:lstStyle>
            <a:lvl1pPr marL="0" indent="0" algn="ctr" rtl="0">
              <a:buNone/>
              <a:defRPr sz="1300" spc="100" baseline="0">
                <a:solidFill>
                  <a:schemeClr val="bg1"/>
                </a:solidFill>
              </a:defRPr>
            </a:lvl1pPr>
          </a:lstStyle>
          <a:p>
            <a:pPr lvl="0"/>
            <a:r>
              <a:rPr lang="en-US"/>
              <a:t>TITLE HERE</a:t>
            </a:r>
          </a:p>
        </p:txBody>
      </p:sp>
      <p:sp>
        <p:nvSpPr>
          <p:cNvPr id="12" name="Marcador de texto 51">
            <a:extLst>
              <a:ext uri="{FF2B5EF4-FFF2-40B4-BE49-F238E27FC236}">
                <a16:creationId xmlns:a16="http://schemas.microsoft.com/office/drawing/2014/main" id="{0F4BC204-2AA5-3AE9-CBCC-7BB0D64E28F5}"/>
              </a:ext>
            </a:extLst>
          </p:cNvPr>
          <p:cNvSpPr>
            <a:spLocks noGrp="1"/>
          </p:cNvSpPr>
          <p:nvPr>
            <p:ph type="body" sz="quarter" idx="22" hasCustomPrompt="1"/>
          </p:nvPr>
        </p:nvSpPr>
        <p:spPr>
          <a:xfrm>
            <a:off x="2751364" y="1056010"/>
            <a:ext cx="5772150" cy="1122365"/>
          </a:xfrm>
        </p:spPr>
        <p:txBody>
          <a:bodyPr/>
          <a:lstStyle>
            <a:lvl1pPr marL="0" indent="0" rtl="0">
              <a:lnSpc>
                <a:spcPct val="130000"/>
              </a:lnSpc>
              <a:buNone/>
              <a:defRPr sz="900"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3" name="Google Shape;149;p16">
            <a:extLst>
              <a:ext uri="{FF2B5EF4-FFF2-40B4-BE49-F238E27FC236}">
                <a16:creationId xmlns:a16="http://schemas.microsoft.com/office/drawing/2014/main" id="{65397C8A-BB9F-6B6D-E1FB-708553B6D444}"/>
              </a:ext>
            </a:extLst>
          </p:cNvPr>
          <p:cNvSpPr/>
          <p:nvPr userDrawn="1"/>
        </p:nvSpPr>
        <p:spPr>
          <a:xfrm>
            <a:off x="-3265" y="-23643"/>
            <a:ext cx="9157775" cy="59436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8" name="Marcador de texto 11">
            <a:extLst>
              <a:ext uri="{FF2B5EF4-FFF2-40B4-BE49-F238E27FC236}">
                <a16:creationId xmlns:a16="http://schemas.microsoft.com/office/drawing/2014/main" id="{0A6F0931-8DC3-4B9A-49FB-B335FF87489C}"/>
              </a:ext>
            </a:extLst>
          </p:cNvPr>
          <p:cNvSpPr>
            <a:spLocks noGrp="1"/>
          </p:cNvSpPr>
          <p:nvPr>
            <p:ph type="body" sz="quarter" idx="28" hasCustomPrompt="1"/>
          </p:nvPr>
        </p:nvSpPr>
        <p:spPr>
          <a:xfrm>
            <a:off x="466344" y="4837588"/>
            <a:ext cx="7323915" cy="231775"/>
          </a:xfrm>
        </p:spPr>
        <p:txBody>
          <a:bodyPr anchor="b"/>
          <a:lstStyle>
            <a:lvl1pPr marL="0" indent="0" rtl="0">
              <a:lnSpc>
                <a:spcPct val="100000"/>
              </a:lnSpc>
              <a:spcBef>
                <a:spcPts val="0"/>
              </a:spcBef>
              <a:buNone/>
              <a:defRPr sz="700">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17" name="Marcador de texto 28">
            <a:extLst>
              <a:ext uri="{FF2B5EF4-FFF2-40B4-BE49-F238E27FC236}">
                <a16:creationId xmlns:a16="http://schemas.microsoft.com/office/drawing/2014/main" id="{3E83D81E-07E2-89C0-F306-DECF2B368A73}"/>
              </a:ext>
            </a:extLst>
          </p:cNvPr>
          <p:cNvSpPr>
            <a:spLocks noGrp="1"/>
          </p:cNvSpPr>
          <p:nvPr>
            <p:ph type="body" sz="quarter" idx="84" hasCustomPrompt="1"/>
          </p:nvPr>
        </p:nvSpPr>
        <p:spPr>
          <a:xfrm>
            <a:off x="466344" y="58653"/>
            <a:ext cx="8169510" cy="429768"/>
          </a:xfrm>
        </p:spPr>
        <p:txBody>
          <a:bodyPr anchor="ctr" anchorCtr="0"/>
          <a:lstStyle>
            <a:lvl1pPr marL="0" indent="0" rtl="0">
              <a:buNone/>
              <a:defRPr sz="1400">
                <a:solidFill>
                  <a:schemeClr val="bg1"/>
                </a:solidFill>
              </a:defRPr>
            </a:lvl1pPr>
          </a:lstStyle>
          <a:p>
            <a:pPr marL="0" marR="0" lvl="0" indent="0" algn="l" defTabSz="10728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wo rows, one content column (no headings)</a:t>
            </a:r>
          </a:p>
        </p:txBody>
      </p:sp>
      <p:sp>
        <p:nvSpPr>
          <p:cNvPr id="15" name="Marcador de texto 51">
            <a:extLst>
              <a:ext uri="{FF2B5EF4-FFF2-40B4-BE49-F238E27FC236}">
                <a16:creationId xmlns:a16="http://schemas.microsoft.com/office/drawing/2014/main" id="{43BFA958-8F56-8A54-1E6B-C80EEC0D40C5}"/>
              </a:ext>
            </a:extLst>
          </p:cNvPr>
          <p:cNvSpPr>
            <a:spLocks noGrp="1"/>
          </p:cNvSpPr>
          <p:nvPr>
            <p:ph type="body" sz="quarter" idx="102" hasCustomPrompt="1"/>
          </p:nvPr>
        </p:nvSpPr>
        <p:spPr>
          <a:xfrm rot="16200000">
            <a:off x="4561967" y="596901"/>
            <a:ext cx="1879084" cy="6268690"/>
          </a:xfrm>
          <a:prstGeom prst="round2SameRect">
            <a:avLst>
              <a:gd name="adj1" fmla="val 0"/>
              <a:gd name="adj2" fmla="val 9920"/>
            </a:avLst>
          </a:prstGeom>
          <a:solidFill>
            <a:schemeClr val="bg1"/>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6" name="Marcador de texto 51">
            <a:extLst>
              <a:ext uri="{FF2B5EF4-FFF2-40B4-BE49-F238E27FC236}">
                <a16:creationId xmlns:a16="http://schemas.microsoft.com/office/drawing/2014/main" id="{817CD69E-DC06-3690-F412-5AA88DECA296}"/>
              </a:ext>
            </a:extLst>
          </p:cNvPr>
          <p:cNvSpPr>
            <a:spLocks noGrp="1"/>
          </p:cNvSpPr>
          <p:nvPr>
            <p:ph type="body" sz="quarter" idx="103" hasCustomPrompt="1"/>
          </p:nvPr>
        </p:nvSpPr>
        <p:spPr>
          <a:xfrm rot="16200000">
            <a:off x="473638" y="2784409"/>
            <a:ext cx="1879084" cy="1893673"/>
          </a:xfrm>
          <a:prstGeom prst="round2SameRect">
            <a:avLst>
              <a:gd name="adj1" fmla="val 13133"/>
              <a:gd name="adj2" fmla="val 0"/>
            </a:avLst>
          </a:prstGeom>
          <a:solidFill>
            <a:schemeClr val="tx2"/>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8" name="Marcador de texto 30">
            <a:extLst>
              <a:ext uri="{FF2B5EF4-FFF2-40B4-BE49-F238E27FC236}">
                <a16:creationId xmlns:a16="http://schemas.microsoft.com/office/drawing/2014/main" id="{3702679D-4FEE-D5CB-7BCB-C8480D878086}"/>
              </a:ext>
            </a:extLst>
          </p:cNvPr>
          <p:cNvSpPr>
            <a:spLocks noGrp="1"/>
          </p:cNvSpPr>
          <p:nvPr>
            <p:ph type="body" sz="quarter" idx="104" hasCustomPrompt="1"/>
          </p:nvPr>
        </p:nvSpPr>
        <p:spPr>
          <a:xfrm>
            <a:off x="753881" y="3081865"/>
            <a:ext cx="1325722" cy="279757"/>
          </a:xfrm>
        </p:spPr>
        <p:txBody>
          <a:bodyPr anchor="ctr" anchorCtr="0"/>
          <a:lstStyle>
            <a:lvl1pPr marL="0" indent="0" algn="ctr" rtl="0">
              <a:buNone/>
              <a:defRPr sz="1300" spc="100" baseline="0">
                <a:solidFill>
                  <a:schemeClr val="bg1"/>
                </a:solidFill>
              </a:defRPr>
            </a:lvl1pPr>
          </a:lstStyle>
          <a:p>
            <a:pPr lvl="0"/>
            <a:r>
              <a:rPr lang="en-US"/>
              <a:t>TITLE HERE</a:t>
            </a:r>
          </a:p>
        </p:txBody>
      </p:sp>
      <p:sp>
        <p:nvSpPr>
          <p:cNvPr id="23" name="Marcador de texto 51">
            <a:extLst>
              <a:ext uri="{FF2B5EF4-FFF2-40B4-BE49-F238E27FC236}">
                <a16:creationId xmlns:a16="http://schemas.microsoft.com/office/drawing/2014/main" id="{9F412DC7-9495-6202-AD41-09B66EDE38D5}"/>
              </a:ext>
            </a:extLst>
          </p:cNvPr>
          <p:cNvSpPr>
            <a:spLocks noGrp="1"/>
          </p:cNvSpPr>
          <p:nvPr>
            <p:ph type="body" sz="quarter" idx="105" hasCustomPrompt="1"/>
          </p:nvPr>
        </p:nvSpPr>
        <p:spPr>
          <a:xfrm>
            <a:off x="2751364" y="3081865"/>
            <a:ext cx="5772150" cy="1122365"/>
          </a:xfrm>
        </p:spPr>
        <p:txBody>
          <a:bodyPr/>
          <a:lstStyle>
            <a:lvl1pPr marL="0" indent="0" rtl="0">
              <a:lnSpc>
                <a:spcPct val="130000"/>
              </a:lnSpc>
              <a:buNone/>
              <a:defRPr sz="900"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Tree>
    <p:extLst>
      <p:ext uri="{BB962C8B-B14F-4D97-AF65-F5344CB8AC3E}">
        <p14:creationId xmlns:p14="http://schemas.microsoft.com/office/powerpoint/2010/main" val="41115597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B07E96-0A3A-4578-92FB-3DE2F78DF300}"/>
              </a:ext>
            </a:extLst>
          </p:cNvPr>
          <p:cNvGraphicFramePr>
            <a:graphicFrameLocks noChangeAspect="1"/>
          </p:cNvGraphicFramePr>
          <p:nvPr>
            <p:custDataLst>
              <p:tags r:id="rId1"/>
            </p:custDataLst>
            <p:extLst>
              <p:ext uri="{D42A27DB-BD31-4B8C-83A1-F6EECF244321}">
                <p14:modId xmlns:p14="http://schemas.microsoft.com/office/powerpoint/2010/main" val="2180589147"/>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DB07E96-0A3A-4578-92FB-3DE2F78DF300}"/>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028B8AF-444E-4AD5-A6E3-D97BD19A901E}"/>
              </a:ext>
            </a:extLst>
          </p:cNvPr>
          <p:cNvSpPr>
            <a:spLocks noGrp="1"/>
          </p:cNvSpPr>
          <p:nvPr>
            <p:ph idx="1"/>
          </p:nvPr>
        </p:nvSpPr>
        <p:spPr>
          <a:xfrm>
            <a:off x="245853" y="983412"/>
            <a:ext cx="8637198" cy="3959525"/>
          </a:xfrm>
        </p:spPr>
        <p:txBody>
          <a:bodyPr>
            <a:normAutofit/>
          </a:bodyPr>
          <a:lstStyle>
            <a:lvl1pPr>
              <a:defRPr sz="1800"/>
            </a:lvl1pPr>
            <a:lvl2pPr>
              <a:defRPr sz="1500"/>
            </a:lvl2pPr>
            <a:lvl3pPr>
              <a:defRPr sz="135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Google Shape;149;p16">
            <a:extLst>
              <a:ext uri="{FF2B5EF4-FFF2-40B4-BE49-F238E27FC236}">
                <a16:creationId xmlns:a16="http://schemas.microsoft.com/office/drawing/2014/main" id="{57444038-213D-1C32-3BFD-25F7DC707494}"/>
              </a:ext>
            </a:extLst>
          </p:cNvPr>
          <p:cNvSpPr/>
          <p:nvPr userDrawn="1"/>
        </p:nvSpPr>
        <p:spPr>
          <a:xfrm>
            <a:off x="-3265" y="-23643"/>
            <a:ext cx="9157775" cy="59436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6" name="Marcador de texto 28">
            <a:extLst>
              <a:ext uri="{FF2B5EF4-FFF2-40B4-BE49-F238E27FC236}">
                <a16:creationId xmlns:a16="http://schemas.microsoft.com/office/drawing/2014/main" id="{D1D2EA27-7CA8-04E8-9347-ECD6B839687E}"/>
              </a:ext>
            </a:extLst>
          </p:cNvPr>
          <p:cNvSpPr>
            <a:spLocks noGrp="1"/>
          </p:cNvSpPr>
          <p:nvPr>
            <p:ph type="body" sz="quarter" idx="27" hasCustomPrompt="1"/>
          </p:nvPr>
        </p:nvSpPr>
        <p:spPr>
          <a:xfrm>
            <a:off x="206574" y="58653"/>
            <a:ext cx="7387871" cy="429768"/>
          </a:xfrm>
        </p:spPr>
        <p:txBody>
          <a:bodyPr anchor="ctr" anchorCtr="0"/>
          <a:lstStyle>
            <a:lvl1pPr marL="0" indent="0" rtl="0">
              <a:buNone/>
              <a:defRPr sz="1400" b="1">
                <a:solidFill>
                  <a:schemeClr val="bg1"/>
                </a:solidFill>
              </a:defRPr>
            </a:lvl1pPr>
          </a:lstStyle>
          <a:p>
            <a:pPr marL="0" marR="0" lvl="0" indent="0" algn="l" defTabSz="10728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numbers</a:t>
            </a:r>
          </a:p>
        </p:txBody>
      </p:sp>
      <p:sp>
        <p:nvSpPr>
          <p:cNvPr id="17" name="Slide Number Placeholder 5">
            <a:extLst>
              <a:ext uri="{FF2B5EF4-FFF2-40B4-BE49-F238E27FC236}">
                <a16:creationId xmlns:a16="http://schemas.microsoft.com/office/drawing/2014/main" id="{521F7AAD-9078-B5B4-0558-E8D0362AF267}"/>
              </a:ext>
            </a:extLst>
          </p:cNvPr>
          <p:cNvSpPr>
            <a:spLocks noGrp="1"/>
          </p:cNvSpPr>
          <p:nvPr>
            <p:ph type="sldNum" sz="quarter" idx="4294967295"/>
          </p:nvPr>
        </p:nvSpPr>
        <p:spPr>
          <a:xfrm>
            <a:off x="8729560" y="4911474"/>
            <a:ext cx="342581" cy="96296"/>
          </a:xfrm>
          <a:prstGeom prst="rect">
            <a:avLst/>
          </a:prstGeom>
        </p:spPr>
        <p:txBody>
          <a:bodyPr anchor="ctr" anchorCtr="0"/>
          <a:lstStyle>
            <a:lvl1pPr rtl="0">
              <a:defRPr>
                <a:solidFill>
                  <a:schemeClr val="tx1"/>
                </a:solidFill>
              </a:defRPr>
            </a:lvl1pPr>
          </a:lstStyle>
          <a:p>
            <a:fld id="{A90607E6-BCED-4FC1-A345-AB2A307AB80F}" type="slidenum">
              <a:rPr lang="en-US" sz="700" b="1" smtClean="0"/>
              <a:pPr/>
              <a:t>‹#›</a:t>
            </a:fld>
            <a:endParaRPr lang="en-US" b="1"/>
          </a:p>
        </p:txBody>
      </p:sp>
      <p:grpSp>
        <p:nvGrpSpPr>
          <p:cNvPr id="9" name="Group 8">
            <a:extLst>
              <a:ext uri="{FF2B5EF4-FFF2-40B4-BE49-F238E27FC236}">
                <a16:creationId xmlns:a16="http://schemas.microsoft.com/office/drawing/2014/main" id="{705506CD-AAD9-0F68-72E4-B01D5B409E0E}"/>
              </a:ext>
            </a:extLst>
          </p:cNvPr>
          <p:cNvGrpSpPr/>
          <p:nvPr userDrawn="1"/>
        </p:nvGrpSpPr>
        <p:grpSpPr>
          <a:xfrm>
            <a:off x="7970084" y="142500"/>
            <a:ext cx="967342" cy="255820"/>
            <a:chOff x="7731480" y="142500"/>
            <a:chExt cx="967342" cy="255820"/>
          </a:xfrm>
        </p:grpSpPr>
        <p:sp>
          <p:nvSpPr>
            <p:cNvPr id="83" name="Elipse 44">
              <a:extLst>
                <a:ext uri="{FF2B5EF4-FFF2-40B4-BE49-F238E27FC236}">
                  <a16:creationId xmlns:a16="http://schemas.microsoft.com/office/drawing/2014/main" id="{C4B44C68-4953-B2D5-10A4-AA3B7431F059}"/>
                </a:ext>
              </a:extLst>
            </p:cNvPr>
            <p:cNvSpPr/>
            <p:nvPr userDrawn="1"/>
          </p:nvSpPr>
          <p:spPr>
            <a:xfrm>
              <a:off x="7731480" y="178607"/>
              <a:ext cx="193208" cy="193208"/>
            </a:xfrm>
            <a:prstGeom prst="ellipse">
              <a:avLst/>
            </a:prstGeom>
            <a:solidFill>
              <a:srgbClr val="FFC000"/>
            </a:solidFill>
            <a:ln>
              <a:solidFill>
                <a:srgbClr val="CDBA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cxnSp>
          <p:nvCxnSpPr>
            <p:cNvPr id="84" name="Conector recto 49">
              <a:extLst>
                <a:ext uri="{FF2B5EF4-FFF2-40B4-BE49-F238E27FC236}">
                  <a16:creationId xmlns:a16="http://schemas.microsoft.com/office/drawing/2014/main" id="{49CA4A8A-6A77-1384-8916-10E0D8751D53}"/>
                </a:ext>
              </a:extLst>
            </p:cNvPr>
            <p:cNvCxnSpPr>
              <a:cxnSpLocks/>
              <a:endCxn id="90" idx="3"/>
            </p:cNvCxnSpPr>
            <p:nvPr userDrawn="1"/>
          </p:nvCxnSpPr>
          <p:spPr>
            <a:xfrm>
              <a:off x="7917274" y="265611"/>
              <a:ext cx="714421" cy="960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85" name="CuadroTexto 50">
              <a:extLst>
                <a:ext uri="{FF2B5EF4-FFF2-40B4-BE49-F238E27FC236}">
                  <a16:creationId xmlns:a16="http://schemas.microsoft.com/office/drawing/2014/main" id="{F1FCFFF9-AA84-B07E-2D8E-19B1AFDAA99E}"/>
                </a:ext>
              </a:extLst>
            </p:cNvPr>
            <p:cNvSpPr txBox="1"/>
            <p:nvPr userDrawn="1"/>
          </p:nvSpPr>
          <p:spPr>
            <a:xfrm>
              <a:off x="7753331" y="175183"/>
              <a:ext cx="107917" cy="200055"/>
            </a:xfrm>
            <a:prstGeom prst="rect">
              <a:avLst/>
            </a:prstGeom>
            <a:noFill/>
          </p:spPr>
          <p:txBody>
            <a:bodyPr wrap="square" rtlCol="0">
              <a:spAutoFit/>
            </a:bodyPr>
            <a:lstStyle/>
            <a:p>
              <a:r>
                <a:rPr lang="es-CO" sz="700" b="1">
                  <a:solidFill>
                    <a:srgbClr val="FFFF00"/>
                  </a:solidFill>
                </a:rPr>
                <a:t>1</a:t>
              </a:r>
            </a:p>
          </p:txBody>
        </p:sp>
        <p:sp>
          <p:nvSpPr>
            <p:cNvPr id="86" name="Elipse 62">
              <a:extLst>
                <a:ext uri="{FF2B5EF4-FFF2-40B4-BE49-F238E27FC236}">
                  <a16:creationId xmlns:a16="http://schemas.microsoft.com/office/drawing/2014/main" id="{C78F2B3A-6365-6F87-B3EF-8E215E9DCAAD}"/>
                </a:ext>
              </a:extLst>
            </p:cNvPr>
            <p:cNvSpPr/>
            <p:nvPr userDrawn="1"/>
          </p:nvSpPr>
          <p:spPr>
            <a:xfrm>
              <a:off x="8247517" y="178607"/>
              <a:ext cx="193208" cy="193208"/>
            </a:xfrm>
            <a:prstGeom prst="ellipse">
              <a:avLst/>
            </a:prstGeom>
            <a:solidFill>
              <a:srgbClr val="FFC000"/>
            </a:solidFill>
            <a:ln>
              <a:solidFill>
                <a:srgbClr val="CDBA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87" name="Elipse 63">
              <a:extLst>
                <a:ext uri="{FF2B5EF4-FFF2-40B4-BE49-F238E27FC236}">
                  <a16:creationId xmlns:a16="http://schemas.microsoft.com/office/drawing/2014/main" id="{7D8920EA-FDB6-F9F2-99F4-DAA476267F1A}"/>
                </a:ext>
              </a:extLst>
            </p:cNvPr>
            <p:cNvSpPr/>
            <p:nvPr userDrawn="1"/>
          </p:nvSpPr>
          <p:spPr>
            <a:xfrm>
              <a:off x="8505614" y="178607"/>
              <a:ext cx="193208" cy="193208"/>
            </a:xfrm>
            <a:prstGeom prst="ellipse">
              <a:avLst/>
            </a:prstGeom>
            <a:solidFill>
              <a:srgbClr val="FFC000"/>
            </a:solidFill>
            <a:ln>
              <a:solidFill>
                <a:srgbClr val="CDBA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89" name="CuadroTexto 67">
              <a:extLst>
                <a:ext uri="{FF2B5EF4-FFF2-40B4-BE49-F238E27FC236}">
                  <a16:creationId xmlns:a16="http://schemas.microsoft.com/office/drawing/2014/main" id="{37E5908B-96D0-4576-3064-5C6DC8455FEC}"/>
                </a:ext>
              </a:extLst>
            </p:cNvPr>
            <p:cNvSpPr txBox="1"/>
            <p:nvPr userDrawn="1"/>
          </p:nvSpPr>
          <p:spPr>
            <a:xfrm>
              <a:off x="8269368" y="175183"/>
              <a:ext cx="107917" cy="200055"/>
            </a:xfrm>
            <a:prstGeom prst="rect">
              <a:avLst/>
            </a:prstGeom>
            <a:noFill/>
          </p:spPr>
          <p:txBody>
            <a:bodyPr wrap="square" rtlCol="0">
              <a:spAutoFit/>
            </a:bodyPr>
            <a:lstStyle/>
            <a:p>
              <a:r>
                <a:rPr lang="es-CO" sz="700" b="1">
                  <a:solidFill>
                    <a:srgbClr val="FFFF00"/>
                  </a:solidFill>
                </a:rPr>
                <a:t>3</a:t>
              </a:r>
            </a:p>
          </p:txBody>
        </p:sp>
        <p:sp>
          <p:nvSpPr>
            <p:cNvPr id="90" name="CuadroTexto 68">
              <a:extLst>
                <a:ext uri="{FF2B5EF4-FFF2-40B4-BE49-F238E27FC236}">
                  <a16:creationId xmlns:a16="http://schemas.microsoft.com/office/drawing/2014/main" id="{E288CF2E-FD5B-FB29-2831-13D4CE09B17A}"/>
                </a:ext>
              </a:extLst>
            </p:cNvPr>
            <p:cNvSpPr txBox="1"/>
            <p:nvPr userDrawn="1"/>
          </p:nvSpPr>
          <p:spPr>
            <a:xfrm>
              <a:off x="8523778" y="175183"/>
              <a:ext cx="107917" cy="200055"/>
            </a:xfrm>
            <a:prstGeom prst="rect">
              <a:avLst/>
            </a:prstGeom>
            <a:noFill/>
          </p:spPr>
          <p:txBody>
            <a:bodyPr wrap="square" rtlCol="0">
              <a:spAutoFit/>
            </a:bodyPr>
            <a:lstStyle/>
            <a:p>
              <a:r>
                <a:rPr lang="es-CO" sz="700" b="1">
                  <a:solidFill>
                    <a:srgbClr val="FFFF00"/>
                  </a:solidFill>
                </a:rPr>
                <a:t>4</a:t>
              </a:r>
            </a:p>
          </p:txBody>
        </p:sp>
        <p:sp>
          <p:nvSpPr>
            <p:cNvPr id="4" name="Elipse 42">
              <a:extLst>
                <a:ext uri="{FF2B5EF4-FFF2-40B4-BE49-F238E27FC236}">
                  <a16:creationId xmlns:a16="http://schemas.microsoft.com/office/drawing/2014/main" id="{53A6550B-5D3D-D198-B409-86BBA584986F}"/>
                </a:ext>
              </a:extLst>
            </p:cNvPr>
            <p:cNvSpPr/>
            <p:nvPr userDrawn="1"/>
          </p:nvSpPr>
          <p:spPr>
            <a:xfrm>
              <a:off x="7963321" y="152099"/>
              <a:ext cx="246221" cy="246221"/>
            </a:xfrm>
            <a:prstGeom prst="ellipse">
              <a:avLst/>
            </a:prstGeom>
            <a:solidFill>
              <a:schemeClr val="bg1"/>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sz="1600"/>
            </a:p>
          </p:txBody>
        </p:sp>
        <p:sp>
          <p:nvSpPr>
            <p:cNvPr id="7" name="CuadroTexto 43">
              <a:extLst>
                <a:ext uri="{FF2B5EF4-FFF2-40B4-BE49-F238E27FC236}">
                  <a16:creationId xmlns:a16="http://schemas.microsoft.com/office/drawing/2014/main" id="{7E73ABA0-2896-57B8-34A4-A6EF2DC2CDC4}"/>
                </a:ext>
              </a:extLst>
            </p:cNvPr>
            <p:cNvSpPr txBox="1"/>
            <p:nvPr userDrawn="1"/>
          </p:nvSpPr>
          <p:spPr>
            <a:xfrm>
              <a:off x="7966633" y="142500"/>
              <a:ext cx="160589" cy="253916"/>
            </a:xfrm>
            <a:prstGeom prst="rect">
              <a:avLst/>
            </a:prstGeom>
            <a:noFill/>
          </p:spPr>
          <p:txBody>
            <a:bodyPr wrap="square" rtlCol="0">
              <a:spAutoFit/>
            </a:bodyPr>
            <a:lstStyle/>
            <a:p>
              <a:r>
                <a:rPr lang="es-CO" sz="1050" b="1">
                  <a:solidFill>
                    <a:srgbClr val="1E4B3C"/>
                  </a:solidFill>
                </a:rPr>
                <a:t>2</a:t>
              </a:r>
            </a:p>
          </p:txBody>
        </p:sp>
      </p:grpSp>
    </p:spTree>
    <p:extLst>
      <p:ext uri="{BB962C8B-B14F-4D97-AF65-F5344CB8AC3E}">
        <p14:creationId xmlns:p14="http://schemas.microsoft.com/office/powerpoint/2010/main" val="406670878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ne column lis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82F74A-65FB-0929-4725-9B9602E2F615}"/>
              </a:ext>
            </a:extLst>
          </p:cNvPr>
          <p:cNvGraphicFramePr>
            <a:graphicFrameLocks noChangeAspect="1"/>
          </p:cNvGraphicFramePr>
          <p:nvPr userDrawn="1">
            <p:custDataLst>
              <p:tags r:id="rId1"/>
            </p:custDataLst>
            <p:extLst>
              <p:ext uri="{D42A27DB-BD31-4B8C-83A1-F6EECF244321}">
                <p14:modId xmlns:p14="http://schemas.microsoft.com/office/powerpoint/2010/main" val="8369666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282F74A-65FB-0929-4725-9B9602E2F61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Redondear rectángulo de esquina del mismo lado 3">
            <a:extLst>
              <a:ext uri="{FF2B5EF4-FFF2-40B4-BE49-F238E27FC236}">
                <a16:creationId xmlns:a16="http://schemas.microsoft.com/office/drawing/2014/main" id="{B51F2D30-7033-D417-94DA-4F99800DE1CF}"/>
              </a:ext>
            </a:extLst>
          </p:cNvPr>
          <p:cNvSpPr/>
          <p:nvPr userDrawn="1"/>
        </p:nvSpPr>
        <p:spPr>
          <a:xfrm>
            <a:off x="466344" y="655708"/>
            <a:ext cx="8165592" cy="681644"/>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5" name="TextBox 38">
            <a:extLst>
              <a:ext uri="{FF2B5EF4-FFF2-40B4-BE49-F238E27FC236}">
                <a16:creationId xmlns:a16="http://schemas.microsoft.com/office/drawing/2014/main" id="{2331D22C-7884-639B-0894-8F00D429893F}"/>
              </a:ext>
            </a:extLst>
          </p:cNvPr>
          <p:cNvSpPr txBox="1"/>
          <p:nvPr userDrawn="1"/>
        </p:nvSpPr>
        <p:spPr bwMode="gray">
          <a:xfrm>
            <a:off x="6774511" y="5120640"/>
            <a:ext cx="0" cy="0"/>
          </a:xfrm>
          <a:prstGeom prst="rect">
            <a:avLst/>
          </a:prstGeom>
        </p:spPr>
        <p:txBody>
          <a:bodyPr vert="horz" wrap="none" lIns="0" tIns="0" rIns="0" bIns="0" rtlCol="0" anchor="t">
            <a:noAutofit/>
          </a:bodyPr>
          <a:lstStyle/>
          <a:p>
            <a:pPr rtl="0">
              <a:spcBef>
                <a:spcPts val="600"/>
              </a:spcBef>
            </a:pPr>
            <a:endParaRPr lang="en-US">
              <a:solidFill>
                <a:srgbClr val="606060"/>
              </a:solidFill>
            </a:endParaRPr>
          </a:p>
        </p:txBody>
      </p:sp>
      <p:sp>
        <p:nvSpPr>
          <p:cNvPr id="6" name="Slide Number Placeholder 5">
            <a:extLst>
              <a:ext uri="{FF2B5EF4-FFF2-40B4-BE49-F238E27FC236}">
                <a16:creationId xmlns:a16="http://schemas.microsoft.com/office/drawing/2014/main" id="{83243E3D-24D4-D28F-6960-FC7F7BF71782}"/>
              </a:ext>
            </a:extLst>
          </p:cNvPr>
          <p:cNvSpPr>
            <a:spLocks noGrp="1"/>
          </p:cNvSpPr>
          <p:nvPr>
            <p:ph type="sldNum" sz="quarter" idx="4294967295"/>
          </p:nvPr>
        </p:nvSpPr>
        <p:spPr>
          <a:xfrm>
            <a:off x="8729560" y="4911474"/>
            <a:ext cx="342581" cy="96296"/>
          </a:xfrm>
          <a:prstGeom prst="rect">
            <a:avLst/>
          </a:prstGeom>
        </p:spPr>
        <p:txBody>
          <a:bodyPr anchor="ctr" anchorCtr="0"/>
          <a:lstStyle>
            <a:lvl1pPr rtl="0">
              <a:defRPr>
                <a:solidFill>
                  <a:srgbClr val="881946"/>
                </a:solidFill>
              </a:defRPr>
            </a:lvl1pPr>
          </a:lstStyle>
          <a:p>
            <a:fld id="{A90607E6-BCED-4FC1-A345-AB2A307AB80F}" type="slidenum">
              <a:rPr lang="en-US" sz="700" b="1" smtClean="0"/>
              <a:pPr/>
              <a:t>‹#›</a:t>
            </a:fld>
            <a:endParaRPr lang="en-US" b="1"/>
          </a:p>
        </p:txBody>
      </p:sp>
      <p:pic>
        <p:nvPicPr>
          <p:cNvPr id="7" name="Graphic 4">
            <a:extLst>
              <a:ext uri="{FF2B5EF4-FFF2-40B4-BE49-F238E27FC236}">
                <a16:creationId xmlns:a16="http://schemas.microsoft.com/office/drawing/2014/main" id="{4E21724B-CC13-6118-5F7C-B851682313ED}"/>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255140" y="4913719"/>
            <a:ext cx="380786" cy="113702"/>
          </a:xfrm>
          <a:prstGeom prst="rect">
            <a:avLst/>
          </a:prstGeom>
        </p:spPr>
      </p:pic>
      <p:sp>
        <p:nvSpPr>
          <p:cNvPr id="17" name="Marcador de texto 51">
            <a:extLst>
              <a:ext uri="{FF2B5EF4-FFF2-40B4-BE49-F238E27FC236}">
                <a16:creationId xmlns:a16="http://schemas.microsoft.com/office/drawing/2014/main" id="{7FBACF93-4493-FE7B-0418-E07C4E798B5F}"/>
              </a:ext>
            </a:extLst>
          </p:cNvPr>
          <p:cNvSpPr>
            <a:spLocks noGrp="1"/>
          </p:cNvSpPr>
          <p:nvPr>
            <p:ph type="body" sz="quarter" idx="22" hasCustomPrompt="1"/>
          </p:nvPr>
        </p:nvSpPr>
        <p:spPr>
          <a:xfrm>
            <a:off x="1207619" y="764017"/>
            <a:ext cx="7352262" cy="464852"/>
          </a:xfrm>
        </p:spPr>
        <p:txBody>
          <a:bodyPr/>
          <a:lstStyle>
            <a:lvl1pPr marL="0" indent="0" rtl="0">
              <a:lnSpc>
                <a:spcPct val="130000"/>
              </a:lnSpc>
              <a:buNone/>
              <a:defRPr sz="1100"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 name="Google Shape;149;p16">
            <a:extLst>
              <a:ext uri="{FF2B5EF4-FFF2-40B4-BE49-F238E27FC236}">
                <a16:creationId xmlns:a16="http://schemas.microsoft.com/office/drawing/2014/main" id="{CEDA4C4F-D2B6-DCEC-7D09-03971AD68002}"/>
              </a:ext>
            </a:extLst>
          </p:cNvPr>
          <p:cNvSpPr/>
          <p:nvPr userDrawn="1"/>
        </p:nvSpPr>
        <p:spPr>
          <a:xfrm>
            <a:off x="-3265" y="-23643"/>
            <a:ext cx="9157775" cy="59436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8" name="Marcador de texto 11">
            <a:extLst>
              <a:ext uri="{FF2B5EF4-FFF2-40B4-BE49-F238E27FC236}">
                <a16:creationId xmlns:a16="http://schemas.microsoft.com/office/drawing/2014/main" id="{99CD753E-A087-3348-8C8B-6508DEC6293B}"/>
              </a:ext>
            </a:extLst>
          </p:cNvPr>
          <p:cNvSpPr>
            <a:spLocks noGrp="1"/>
          </p:cNvSpPr>
          <p:nvPr>
            <p:ph type="body" sz="quarter" idx="28" hasCustomPrompt="1"/>
          </p:nvPr>
        </p:nvSpPr>
        <p:spPr>
          <a:xfrm>
            <a:off x="466344" y="4837588"/>
            <a:ext cx="7323915" cy="231775"/>
          </a:xfrm>
        </p:spPr>
        <p:txBody>
          <a:bodyPr anchor="b"/>
          <a:lstStyle>
            <a:lvl1pPr marL="0" indent="0" rtl="0">
              <a:lnSpc>
                <a:spcPct val="100000"/>
              </a:lnSpc>
              <a:spcBef>
                <a:spcPts val="0"/>
              </a:spcBef>
              <a:buNone/>
              <a:defRPr sz="700">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11" name="Marcador de texto 28">
            <a:extLst>
              <a:ext uri="{FF2B5EF4-FFF2-40B4-BE49-F238E27FC236}">
                <a16:creationId xmlns:a16="http://schemas.microsoft.com/office/drawing/2014/main" id="{BB0C7299-A4E4-32E9-6E40-7330CE366B11}"/>
              </a:ext>
            </a:extLst>
          </p:cNvPr>
          <p:cNvSpPr>
            <a:spLocks noGrp="1"/>
          </p:cNvSpPr>
          <p:nvPr>
            <p:ph type="body" sz="quarter" idx="84" hasCustomPrompt="1"/>
          </p:nvPr>
        </p:nvSpPr>
        <p:spPr>
          <a:xfrm>
            <a:off x="466344" y="58653"/>
            <a:ext cx="8169510" cy="429768"/>
          </a:xfrm>
        </p:spPr>
        <p:txBody>
          <a:bodyPr anchor="ctr" anchorCtr="0"/>
          <a:lstStyle>
            <a:lvl1pPr marL="0" indent="0" rtl="0">
              <a:buNone/>
              <a:defRPr sz="1400">
                <a:solidFill>
                  <a:schemeClr val="bg1"/>
                </a:solidFill>
              </a:defRPr>
            </a:lvl1pPr>
          </a:lstStyle>
          <a:p>
            <a:pPr marL="0" marR="0" lvl="0" indent="0" algn="l" defTabSz="10728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One column list numbered</a:t>
            </a:r>
          </a:p>
        </p:txBody>
      </p:sp>
      <p:sp>
        <p:nvSpPr>
          <p:cNvPr id="9" name="Text Placeholder 6">
            <a:extLst>
              <a:ext uri="{FF2B5EF4-FFF2-40B4-BE49-F238E27FC236}">
                <a16:creationId xmlns:a16="http://schemas.microsoft.com/office/drawing/2014/main" id="{F96AFABB-24BD-514D-81EA-F500B0FCC2CA}"/>
              </a:ext>
            </a:extLst>
          </p:cNvPr>
          <p:cNvSpPr>
            <a:spLocks noGrp="1"/>
          </p:cNvSpPr>
          <p:nvPr>
            <p:ph type="body" sz="quarter" idx="65" hasCustomPrompt="1"/>
          </p:nvPr>
        </p:nvSpPr>
        <p:spPr>
          <a:xfrm>
            <a:off x="512064" y="744983"/>
            <a:ext cx="502920" cy="502920"/>
          </a:xfrm>
          <a:prstGeom prst="ellipse">
            <a:avLst/>
          </a:prstGeom>
          <a:solidFill>
            <a:schemeClr val="tx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a:t>
            </a:r>
          </a:p>
        </p:txBody>
      </p:sp>
      <p:sp>
        <p:nvSpPr>
          <p:cNvPr id="10" name="Redondear rectángulo de esquina del mismo lado 3">
            <a:extLst>
              <a:ext uri="{FF2B5EF4-FFF2-40B4-BE49-F238E27FC236}">
                <a16:creationId xmlns:a16="http://schemas.microsoft.com/office/drawing/2014/main" id="{C63B3D1E-C467-A0EC-E81B-60DB63815B23}"/>
              </a:ext>
            </a:extLst>
          </p:cNvPr>
          <p:cNvSpPr/>
          <p:nvPr userDrawn="1"/>
        </p:nvSpPr>
        <p:spPr>
          <a:xfrm>
            <a:off x="466344" y="1482171"/>
            <a:ext cx="8165592" cy="681644"/>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13" name="Marcador de texto 51">
            <a:extLst>
              <a:ext uri="{FF2B5EF4-FFF2-40B4-BE49-F238E27FC236}">
                <a16:creationId xmlns:a16="http://schemas.microsoft.com/office/drawing/2014/main" id="{AF9EBE15-5778-FB57-DDF2-53D7B7A75D14}"/>
              </a:ext>
            </a:extLst>
          </p:cNvPr>
          <p:cNvSpPr>
            <a:spLocks noGrp="1"/>
          </p:cNvSpPr>
          <p:nvPr>
            <p:ph type="body" sz="quarter" idx="85" hasCustomPrompt="1"/>
          </p:nvPr>
        </p:nvSpPr>
        <p:spPr>
          <a:xfrm>
            <a:off x="1207619" y="1590567"/>
            <a:ext cx="7352262" cy="464852"/>
          </a:xfrm>
        </p:spPr>
        <p:txBody>
          <a:bodyPr/>
          <a:lstStyle>
            <a:lvl1pPr marL="0" indent="0" rtl="0">
              <a:lnSpc>
                <a:spcPct val="130000"/>
              </a:lnSpc>
              <a:buNone/>
              <a:defRPr sz="1100"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14" name="Text Placeholder 6">
            <a:extLst>
              <a:ext uri="{FF2B5EF4-FFF2-40B4-BE49-F238E27FC236}">
                <a16:creationId xmlns:a16="http://schemas.microsoft.com/office/drawing/2014/main" id="{254DF2CD-EA7A-84BE-2659-5EE3EE4273B5}"/>
              </a:ext>
            </a:extLst>
          </p:cNvPr>
          <p:cNvSpPr>
            <a:spLocks noGrp="1"/>
          </p:cNvSpPr>
          <p:nvPr>
            <p:ph type="body" sz="quarter" idx="86" hasCustomPrompt="1"/>
          </p:nvPr>
        </p:nvSpPr>
        <p:spPr>
          <a:xfrm>
            <a:off x="512064" y="1571533"/>
            <a:ext cx="502920" cy="502920"/>
          </a:xfrm>
          <a:prstGeom prst="ellipse">
            <a:avLst/>
          </a:prstGeom>
          <a:solidFill>
            <a:schemeClr val="tx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a:t>
            </a:r>
          </a:p>
        </p:txBody>
      </p:sp>
      <p:sp>
        <p:nvSpPr>
          <p:cNvPr id="15" name="Redondear rectángulo de esquina del mismo lado 3">
            <a:extLst>
              <a:ext uri="{FF2B5EF4-FFF2-40B4-BE49-F238E27FC236}">
                <a16:creationId xmlns:a16="http://schemas.microsoft.com/office/drawing/2014/main" id="{746656F4-07E7-C33B-6CFC-0831C4883B57}"/>
              </a:ext>
            </a:extLst>
          </p:cNvPr>
          <p:cNvSpPr/>
          <p:nvPr userDrawn="1"/>
        </p:nvSpPr>
        <p:spPr>
          <a:xfrm>
            <a:off x="466344" y="2308634"/>
            <a:ext cx="8165592" cy="681644"/>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16" name="Marcador de texto 51">
            <a:extLst>
              <a:ext uri="{FF2B5EF4-FFF2-40B4-BE49-F238E27FC236}">
                <a16:creationId xmlns:a16="http://schemas.microsoft.com/office/drawing/2014/main" id="{BAAF3FDF-8512-F097-6CCE-B3D96CB26953}"/>
              </a:ext>
            </a:extLst>
          </p:cNvPr>
          <p:cNvSpPr>
            <a:spLocks noGrp="1"/>
          </p:cNvSpPr>
          <p:nvPr>
            <p:ph type="body" sz="quarter" idx="87" hasCustomPrompt="1"/>
          </p:nvPr>
        </p:nvSpPr>
        <p:spPr>
          <a:xfrm>
            <a:off x="1207619" y="2417030"/>
            <a:ext cx="7352262" cy="464852"/>
          </a:xfrm>
        </p:spPr>
        <p:txBody>
          <a:bodyPr/>
          <a:lstStyle>
            <a:lvl1pPr marL="0" indent="0" rtl="0">
              <a:lnSpc>
                <a:spcPct val="130000"/>
              </a:lnSpc>
              <a:buNone/>
              <a:defRPr sz="1100"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18" name="Text Placeholder 6">
            <a:extLst>
              <a:ext uri="{FF2B5EF4-FFF2-40B4-BE49-F238E27FC236}">
                <a16:creationId xmlns:a16="http://schemas.microsoft.com/office/drawing/2014/main" id="{BBE59924-D017-94CD-8DBE-42F865AEFECB}"/>
              </a:ext>
            </a:extLst>
          </p:cNvPr>
          <p:cNvSpPr>
            <a:spLocks noGrp="1"/>
          </p:cNvSpPr>
          <p:nvPr>
            <p:ph type="body" sz="quarter" idx="88" hasCustomPrompt="1"/>
          </p:nvPr>
        </p:nvSpPr>
        <p:spPr>
          <a:xfrm>
            <a:off x="512064" y="2397996"/>
            <a:ext cx="502920" cy="502920"/>
          </a:xfrm>
          <a:prstGeom prst="ellipse">
            <a:avLst/>
          </a:prstGeom>
          <a:solidFill>
            <a:schemeClr val="tx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a:t>
            </a:r>
          </a:p>
        </p:txBody>
      </p:sp>
      <p:sp>
        <p:nvSpPr>
          <p:cNvPr id="19" name="Redondear rectángulo de esquina del mismo lado 3">
            <a:extLst>
              <a:ext uri="{FF2B5EF4-FFF2-40B4-BE49-F238E27FC236}">
                <a16:creationId xmlns:a16="http://schemas.microsoft.com/office/drawing/2014/main" id="{D2AB133C-90BF-8496-5E39-1D6273B718C0}"/>
              </a:ext>
            </a:extLst>
          </p:cNvPr>
          <p:cNvSpPr/>
          <p:nvPr userDrawn="1"/>
        </p:nvSpPr>
        <p:spPr>
          <a:xfrm>
            <a:off x="466344" y="3135097"/>
            <a:ext cx="8165592" cy="681644"/>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20" name="Marcador de texto 51">
            <a:extLst>
              <a:ext uri="{FF2B5EF4-FFF2-40B4-BE49-F238E27FC236}">
                <a16:creationId xmlns:a16="http://schemas.microsoft.com/office/drawing/2014/main" id="{62363310-CFC1-3C5C-3412-6E045F2F38BC}"/>
              </a:ext>
            </a:extLst>
          </p:cNvPr>
          <p:cNvSpPr>
            <a:spLocks noGrp="1"/>
          </p:cNvSpPr>
          <p:nvPr>
            <p:ph type="body" sz="quarter" idx="89" hasCustomPrompt="1"/>
          </p:nvPr>
        </p:nvSpPr>
        <p:spPr>
          <a:xfrm>
            <a:off x="1207619" y="3243493"/>
            <a:ext cx="7352262" cy="464852"/>
          </a:xfrm>
        </p:spPr>
        <p:txBody>
          <a:bodyPr/>
          <a:lstStyle>
            <a:lvl1pPr marL="0" indent="0" rtl="0">
              <a:lnSpc>
                <a:spcPct val="130000"/>
              </a:lnSpc>
              <a:buNone/>
              <a:defRPr sz="1100"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1" name="Text Placeholder 6">
            <a:extLst>
              <a:ext uri="{FF2B5EF4-FFF2-40B4-BE49-F238E27FC236}">
                <a16:creationId xmlns:a16="http://schemas.microsoft.com/office/drawing/2014/main" id="{789BCBC2-4437-1575-F9A3-49C6FFFC65EC}"/>
              </a:ext>
            </a:extLst>
          </p:cNvPr>
          <p:cNvSpPr>
            <a:spLocks noGrp="1"/>
          </p:cNvSpPr>
          <p:nvPr>
            <p:ph type="body" sz="quarter" idx="90" hasCustomPrompt="1"/>
          </p:nvPr>
        </p:nvSpPr>
        <p:spPr>
          <a:xfrm>
            <a:off x="512064" y="3224459"/>
            <a:ext cx="502920" cy="502920"/>
          </a:xfrm>
          <a:prstGeom prst="ellipse">
            <a:avLst/>
          </a:prstGeom>
          <a:solidFill>
            <a:schemeClr val="tx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a:t>
            </a:r>
          </a:p>
        </p:txBody>
      </p:sp>
      <p:sp>
        <p:nvSpPr>
          <p:cNvPr id="23" name="Redondear rectángulo de esquina del mismo lado 3">
            <a:extLst>
              <a:ext uri="{FF2B5EF4-FFF2-40B4-BE49-F238E27FC236}">
                <a16:creationId xmlns:a16="http://schemas.microsoft.com/office/drawing/2014/main" id="{ED12706A-7DFF-322F-9447-A67FD363147F}"/>
              </a:ext>
            </a:extLst>
          </p:cNvPr>
          <p:cNvSpPr/>
          <p:nvPr userDrawn="1"/>
        </p:nvSpPr>
        <p:spPr>
          <a:xfrm>
            <a:off x="466344" y="3961562"/>
            <a:ext cx="8165592" cy="681644"/>
          </a:xfrm>
          <a:prstGeom prst="roundRect">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24" name="Marcador de texto 51">
            <a:extLst>
              <a:ext uri="{FF2B5EF4-FFF2-40B4-BE49-F238E27FC236}">
                <a16:creationId xmlns:a16="http://schemas.microsoft.com/office/drawing/2014/main" id="{09F83CBA-E389-1999-064F-7EAC7521BDF9}"/>
              </a:ext>
            </a:extLst>
          </p:cNvPr>
          <p:cNvSpPr>
            <a:spLocks noGrp="1"/>
          </p:cNvSpPr>
          <p:nvPr>
            <p:ph type="body" sz="quarter" idx="91" hasCustomPrompt="1"/>
          </p:nvPr>
        </p:nvSpPr>
        <p:spPr>
          <a:xfrm>
            <a:off x="1207619" y="4069871"/>
            <a:ext cx="7352262" cy="464852"/>
          </a:xfrm>
        </p:spPr>
        <p:txBody>
          <a:bodyPr/>
          <a:lstStyle>
            <a:lvl1pPr marL="0" indent="0" rtl="0">
              <a:lnSpc>
                <a:spcPct val="130000"/>
              </a:lnSpc>
              <a:buNone/>
              <a:defRPr sz="1100"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5" name="Text Placeholder 6">
            <a:extLst>
              <a:ext uri="{FF2B5EF4-FFF2-40B4-BE49-F238E27FC236}">
                <a16:creationId xmlns:a16="http://schemas.microsoft.com/office/drawing/2014/main" id="{05BEB197-9ED0-FD4D-8E3B-81D1DC3999E9}"/>
              </a:ext>
            </a:extLst>
          </p:cNvPr>
          <p:cNvSpPr>
            <a:spLocks noGrp="1"/>
          </p:cNvSpPr>
          <p:nvPr>
            <p:ph type="body" sz="quarter" idx="92" hasCustomPrompt="1"/>
          </p:nvPr>
        </p:nvSpPr>
        <p:spPr>
          <a:xfrm>
            <a:off x="512064" y="4050837"/>
            <a:ext cx="502920" cy="502920"/>
          </a:xfrm>
          <a:prstGeom prst="ellipse">
            <a:avLst/>
          </a:prstGeom>
          <a:solidFill>
            <a:schemeClr val="tx2"/>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a:t>
            </a:r>
          </a:p>
        </p:txBody>
      </p:sp>
    </p:spTree>
    <p:extLst>
      <p:ext uri="{BB962C8B-B14F-4D97-AF65-F5344CB8AC3E}">
        <p14:creationId xmlns:p14="http://schemas.microsoft.com/office/powerpoint/2010/main" val="187790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by-two">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82F74A-65FB-0929-4725-9B9602E2F615}"/>
              </a:ext>
            </a:extLst>
          </p:cNvPr>
          <p:cNvGraphicFramePr>
            <a:graphicFrameLocks noChangeAspect="1"/>
          </p:cNvGraphicFramePr>
          <p:nvPr userDrawn="1">
            <p:custDataLst>
              <p:tags r:id="rId1"/>
            </p:custDataLst>
            <p:extLst>
              <p:ext uri="{D42A27DB-BD31-4B8C-83A1-F6EECF244321}">
                <p14:modId xmlns:p14="http://schemas.microsoft.com/office/powerpoint/2010/main" val="1769568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282F74A-65FB-0929-4725-9B9602E2F61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Marcador de texto 51">
            <a:extLst>
              <a:ext uri="{FF2B5EF4-FFF2-40B4-BE49-F238E27FC236}">
                <a16:creationId xmlns:a16="http://schemas.microsoft.com/office/drawing/2014/main" id="{0027ADE4-B6E6-872B-2D4A-12E1A2B87FBD}"/>
              </a:ext>
            </a:extLst>
          </p:cNvPr>
          <p:cNvSpPr>
            <a:spLocks noGrp="1"/>
          </p:cNvSpPr>
          <p:nvPr>
            <p:ph type="body" sz="quarter" idx="102" hasCustomPrompt="1"/>
          </p:nvPr>
        </p:nvSpPr>
        <p:spPr>
          <a:xfrm>
            <a:off x="870246" y="1316748"/>
            <a:ext cx="3794760" cy="1271016"/>
          </a:xfrm>
          <a:prstGeom prst="round2SameRect">
            <a:avLst>
              <a:gd name="adj1" fmla="val 0"/>
              <a:gd name="adj2" fmla="val 10920"/>
            </a:avLst>
          </a:prstGeom>
          <a:solidFill>
            <a:schemeClr val="bg1"/>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0" name="Marcador de texto 51">
            <a:extLst>
              <a:ext uri="{FF2B5EF4-FFF2-40B4-BE49-F238E27FC236}">
                <a16:creationId xmlns:a16="http://schemas.microsoft.com/office/drawing/2014/main" id="{86E83377-47ED-4B57-9C08-AA67AF5BD0CF}"/>
              </a:ext>
            </a:extLst>
          </p:cNvPr>
          <p:cNvSpPr>
            <a:spLocks noGrp="1"/>
          </p:cNvSpPr>
          <p:nvPr>
            <p:ph type="body" sz="quarter" idx="103" hasCustomPrompt="1"/>
          </p:nvPr>
        </p:nvSpPr>
        <p:spPr>
          <a:xfrm>
            <a:off x="870246" y="936023"/>
            <a:ext cx="3794760" cy="384048"/>
          </a:xfrm>
          <a:prstGeom prst="round2SameRect">
            <a:avLst>
              <a:gd name="adj1" fmla="val 13133"/>
              <a:gd name="adj2" fmla="val 0"/>
            </a:avLst>
          </a:prstGeom>
          <a:solidFill>
            <a:schemeClr val="tx2"/>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3" name="TextBox 38">
            <a:extLst>
              <a:ext uri="{FF2B5EF4-FFF2-40B4-BE49-F238E27FC236}">
                <a16:creationId xmlns:a16="http://schemas.microsoft.com/office/drawing/2014/main" id="{FD424AF4-07E0-BB9C-F526-AA870F1616AF}"/>
              </a:ext>
            </a:extLst>
          </p:cNvPr>
          <p:cNvSpPr txBox="1"/>
          <p:nvPr userDrawn="1"/>
        </p:nvSpPr>
        <p:spPr bwMode="gray">
          <a:xfrm>
            <a:off x="6774511" y="5120640"/>
            <a:ext cx="0" cy="0"/>
          </a:xfrm>
          <a:prstGeom prst="rect">
            <a:avLst/>
          </a:prstGeom>
        </p:spPr>
        <p:txBody>
          <a:bodyPr vert="horz" wrap="none" lIns="0" tIns="0" rIns="0" bIns="0" rtlCol="0" anchor="t">
            <a:noAutofit/>
          </a:bodyPr>
          <a:lstStyle/>
          <a:p>
            <a:pPr rtl="0">
              <a:spcBef>
                <a:spcPts val="600"/>
              </a:spcBef>
            </a:pPr>
            <a:endParaRPr lang="en-US">
              <a:solidFill>
                <a:srgbClr val="606060"/>
              </a:solidFill>
            </a:endParaRPr>
          </a:p>
        </p:txBody>
      </p:sp>
      <p:sp>
        <p:nvSpPr>
          <p:cNvPr id="5" name="Slide Number Placeholder 5">
            <a:extLst>
              <a:ext uri="{FF2B5EF4-FFF2-40B4-BE49-F238E27FC236}">
                <a16:creationId xmlns:a16="http://schemas.microsoft.com/office/drawing/2014/main" id="{06B64D24-9F43-4BFC-C1CE-3421256BC284}"/>
              </a:ext>
            </a:extLst>
          </p:cNvPr>
          <p:cNvSpPr>
            <a:spLocks noGrp="1"/>
          </p:cNvSpPr>
          <p:nvPr userDrawn="1">
            <p:ph type="sldNum" sz="quarter" idx="4294967295"/>
          </p:nvPr>
        </p:nvSpPr>
        <p:spPr>
          <a:xfrm>
            <a:off x="8729560" y="4911474"/>
            <a:ext cx="342581" cy="96296"/>
          </a:xfrm>
          <a:prstGeom prst="rect">
            <a:avLst/>
          </a:prstGeom>
        </p:spPr>
        <p:txBody>
          <a:bodyPr anchor="ctr" anchorCtr="0"/>
          <a:lstStyle>
            <a:lvl1pPr rtl="0">
              <a:defRPr>
                <a:solidFill>
                  <a:srgbClr val="881946"/>
                </a:solidFill>
              </a:defRPr>
            </a:lvl1pPr>
          </a:lstStyle>
          <a:p>
            <a:fld id="{A90607E6-BCED-4FC1-A345-AB2A307AB80F}" type="slidenum">
              <a:rPr lang="en-US" sz="700" b="1" smtClean="0"/>
              <a:pPr/>
              <a:t>‹#›</a:t>
            </a:fld>
            <a:endParaRPr lang="en-US" b="1"/>
          </a:p>
        </p:txBody>
      </p:sp>
      <p:pic>
        <p:nvPicPr>
          <p:cNvPr id="6" name="Graphic 4">
            <a:extLst>
              <a:ext uri="{FF2B5EF4-FFF2-40B4-BE49-F238E27FC236}">
                <a16:creationId xmlns:a16="http://schemas.microsoft.com/office/drawing/2014/main" id="{3A4B681F-8612-570B-E299-0A6FFEDFAE25}"/>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255140" y="4913719"/>
            <a:ext cx="380786" cy="113702"/>
          </a:xfrm>
          <a:prstGeom prst="rect">
            <a:avLst/>
          </a:prstGeom>
        </p:spPr>
      </p:pic>
      <p:sp>
        <p:nvSpPr>
          <p:cNvPr id="11" name="Marcador de texto 30">
            <a:extLst>
              <a:ext uri="{FF2B5EF4-FFF2-40B4-BE49-F238E27FC236}">
                <a16:creationId xmlns:a16="http://schemas.microsoft.com/office/drawing/2014/main" id="{AB212D52-89F7-9894-EFB7-DD83C8523890}"/>
              </a:ext>
            </a:extLst>
          </p:cNvPr>
          <p:cNvSpPr>
            <a:spLocks noGrp="1"/>
          </p:cNvSpPr>
          <p:nvPr userDrawn="1">
            <p:ph type="body" sz="quarter" idx="11" hasCustomPrompt="1"/>
          </p:nvPr>
        </p:nvSpPr>
        <p:spPr>
          <a:xfrm>
            <a:off x="1022104" y="986507"/>
            <a:ext cx="2686050" cy="279757"/>
          </a:xfrm>
        </p:spPr>
        <p:txBody>
          <a:bodyPr anchor="ctr" anchorCtr="0"/>
          <a:lstStyle>
            <a:lvl1pPr marL="0" indent="0" algn="l" rtl="0">
              <a:buNone/>
              <a:defRPr sz="2000" b="0" i="0" spc="0" baseline="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Section Title</a:t>
            </a:r>
          </a:p>
        </p:txBody>
      </p:sp>
      <p:sp>
        <p:nvSpPr>
          <p:cNvPr id="12" name="Marcador de texto 51">
            <a:extLst>
              <a:ext uri="{FF2B5EF4-FFF2-40B4-BE49-F238E27FC236}">
                <a16:creationId xmlns:a16="http://schemas.microsoft.com/office/drawing/2014/main" id="{EDC1A714-DFA1-D911-BCF4-A32FDACEE6C7}"/>
              </a:ext>
            </a:extLst>
          </p:cNvPr>
          <p:cNvSpPr>
            <a:spLocks noGrp="1"/>
          </p:cNvSpPr>
          <p:nvPr userDrawn="1">
            <p:ph type="body" sz="quarter" idx="15" hasCustomPrompt="1"/>
          </p:nvPr>
        </p:nvSpPr>
        <p:spPr>
          <a:xfrm>
            <a:off x="1022104" y="1463558"/>
            <a:ext cx="3532512" cy="1018996"/>
          </a:xfrm>
        </p:spPr>
        <p:txBody>
          <a:bodyPr/>
          <a:lstStyle>
            <a:lvl1pPr marL="0" indent="0" rtl="0">
              <a:lnSpc>
                <a:spcPct val="130000"/>
              </a:lnSpc>
              <a:buNone/>
              <a:defRPr sz="900"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7" name="Google Shape;149;p16">
            <a:extLst>
              <a:ext uri="{FF2B5EF4-FFF2-40B4-BE49-F238E27FC236}">
                <a16:creationId xmlns:a16="http://schemas.microsoft.com/office/drawing/2014/main" id="{22A3E712-AAFF-9AB2-51C3-FE53D1F6DEF4}"/>
              </a:ext>
            </a:extLst>
          </p:cNvPr>
          <p:cNvSpPr/>
          <p:nvPr userDrawn="1"/>
        </p:nvSpPr>
        <p:spPr>
          <a:xfrm>
            <a:off x="-3265" y="-23643"/>
            <a:ext cx="9157775" cy="59436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13" name="Marcador de texto 28">
            <a:extLst>
              <a:ext uri="{FF2B5EF4-FFF2-40B4-BE49-F238E27FC236}">
                <a16:creationId xmlns:a16="http://schemas.microsoft.com/office/drawing/2014/main" id="{DCC37B6B-2C8B-7890-0A13-F288F99FB26F}"/>
              </a:ext>
            </a:extLst>
          </p:cNvPr>
          <p:cNvSpPr>
            <a:spLocks noGrp="1"/>
          </p:cNvSpPr>
          <p:nvPr userDrawn="1">
            <p:ph type="body" sz="quarter" idx="27" hasCustomPrompt="1"/>
          </p:nvPr>
        </p:nvSpPr>
        <p:spPr>
          <a:xfrm>
            <a:off x="466344" y="58653"/>
            <a:ext cx="8169510" cy="429768"/>
          </a:xfrm>
        </p:spPr>
        <p:txBody>
          <a:bodyPr anchor="ctr" anchorCtr="0"/>
          <a:lstStyle>
            <a:lvl1pPr marL="0" indent="0" rtl="0">
              <a:buNone/>
              <a:defRPr sz="1400">
                <a:solidFill>
                  <a:schemeClr val="bg1"/>
                </a:solidFill>
              </a:defRPr>
            </a:lvl1pPr>
          </a:lstStyle>
          <a:p>
            <a:pPr marL="0" marR="0" lvl="0" indent="0" algn="l" defTabSz="10728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wo-by-two</a:t>
            </a:r>
          </a:p>
        </p:txBody>
      </p:sp>
      <p:sp>
        <p:nvSpPr>
          <p:cNvPr id="14" name="Marcador de texto 11">
            <a:extLst>
              <a:ext uri="{FF2B5EF4-FFF2-40B4-BE49-F238E27FC236}">
                <a16:creationId xmlns:a16="http://schemas.microsoft.com/office/drawing/2014/main" id="{B9D5A17A-3DD4-3D08-1348-0A9B86B18164}"/>
              </a:ext>
            </a:extLst>
          </p:cNvPr>
          <p:cNvSpPr>
            <a:spLocks noGrp="1"/>
          </p:cNvSpPr>
          <p:nvPr userDrawn="1">
            <p:ph type="body" sz="quarter" idx="45" hasCustomPrompt="1"/>
          </p:nvPr>
        </p:nvSpPr>
        <p:spPr>
          <a:xfrm>
            <a:off x="466344" y="4837588"/>
            <a:ext cx="7323915" cy="231775"/>
          </a:xfrm>
        </p:spPr>
        <p:txBody>
          <a:bodyPr anchor="b"/>
          <a:lstStyle>
            <a:lvl1pPr marL="0" indent="0" rtl="0">
              <a:lnSpc>
                <a:spcPct val="100000"/>
              </a:lnSpc>
              <a:spcBef>
                <a:spcPts val="0"/>
              </a:spcBef>
              <a:buNone/>
              <a:defRPr sz="700">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15" name="Marcador de texto 30">
            <a:extLst>
              <a:ext uri="{FF2B5EF4-FFF2-40B4-BE49-F238E27FC236}">
                <a16:creationId xmlns:a16="http://schemas.microsoft.com/office/drawing/2014/main" id="{0E7EFBB4-61E1-20C1-C628-D8620E6EA66D}"/>
              </a:ext>
            </a:extLst>
          </p:cNvPr>
          <p:cNvSpPr>
            <a:spLocks noGrp="1"/>
          </p:cNvSpPr>
          <p:nvPr userDrawn="1">
            <p:ph type="body" sz="quarter" idx="35" hasCustomPrompt="1"/>
          </p:nvPr>
        </p:nvSpPr>
        <p:spPr>
          <a:xfrm rot="16200000">
            <a:off x="-214121" y="1619515"/>
            <a:ext cx="1645920" cy="284991"/>
          </a:xfrm>
        </p:spPr>
        <p:txBody>
          <a:bodyPr anchor="ctr" anchorCtr="0"/>
          <a:lstStyle>
            <a:lvl1pPr marL="0" indent="0" algn="ctr" rtl="0">
              <a:buNone/>
              <a:defRPr sz="1400" b="0" i="0" spc="0" baseline="0">
                <a:solidFill>
                  <a:schemeClr val="tx2"/>
                </a:solidFill>
                <a:latin typeface="Lato" panose="020F0502020204030203" pitchFamily="34" charset="77"/>
                <a:ea typeface="Lato Light" panose="020F0502020204030203" pitchFamily="34" charset="0"/>
                <a:cs typeface="Lato Light" panose="020F0502020204030203" pitchFamily="34" charset="0"/>
              </a:defRPr>
            </a:lvl1pPr>
          </a:lstStyle>
          <a:p>
            <a:pPr lvl="0"/>
            <a:r>
              <a:rPr lang="en-US"/>
              <a:t>Heading</a:t>
            </a:r>
          </a:p>
        </p:txBody>
      </p:sp>
      <p:sp>
        <p:nvSpPr>
          <p:cNvPr id="17" name="Marcador de texto 51">
            <a:extLst>
              <a:ext uri="{FF2B5EF4-FFF2-40B4-BE49-F238E27FC236}">
                <a16:creationId xmlns:a16="http://schemas.microsoft.com/office/drawing/2014/main" id="{A3FB662E-19F1-21D3-C5BE-094E760A979A}"/>
              </a:ext>
            </a:extLst>
          </p:cNvPr>
          <p:cNvSpPr>
            <a:spLocks noGrp="1"/>
          </p:cNvSpPr>
          <p:nvPr>
            <p:ph type="body" sz="quarter" idx="104" hasCustomPrompt="1"/>
          </p:nvPr>
        </p:nvSpPr>
        <p:spPr>
          <a:xfrm>
            <a:off x="4841094" y="1316748"/>
            <a:ext cx="3794760" cy="1271016"/>
          </a:xfrm>
          <a:prstGeom prst="round2SameRect">
            <a:avLst>
              <a:gd name="adj1" fmla="val 0"/>
              <a:gd name="adj2" fmla="val 10920"/>
            </a:avLst>
          </a:prstGeom>
          <a:solidFill>
            <a:schemeClr val="bg1"/>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8" name="Marcador de texto 51">
            <a:extLst>
              <a:ext uri="{FF2B5EF4-FFF2-40B4-BE49-F238E27FC236}">
                <a16:creationId xmlns:a16="http://schemas.microsoft.com/office/drawing/2014/main" id="{7E7929EC-6B3D-A9D4-86C6-FA4E4EF8C2B5}"/>
              </a:ext>
            </a:extLst>
          </p:cNvPr>
          <p:cNvSpPr>
            <a:spLocks noGrp="1"/>
          </p:cNvSpPr>
          <p:nvPr>
            <p:ph type="body" sz="quarter" idx="105" hasCustomPrompt="1"/>
          </p:nvPr>
        </p:nvSpPr>
        <p:spPr>
          <a:xfrm>
            <a:off x="4841094" y="936023"/>
            <a:ext cx="3794760" cy="384048"/>
          </a:xfrm>
          <a:prstGeom prst="round2SameRect">
            <a:avLst>
              <a:gd name="adj1" fmla="val 13133"/>
              <a:gd name="adj2" fmla="val 0"/>
            </a:avLst>
          </a:prstGeom>
          <a:solidFill>
            <a:schemeClr val="tx2"/>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19" name="Marcador de texto 30">
            <a:extLst>
              <a:ext uri="{FF2B5EF4-FFF2-40B4-BE49-F238E27FC236}">
                <a16:creationId xmlns:a16="http://schemas.microsoft.com/office/drawing/2014/main" id="{CFDEBF4C-A5E0-99D7-1208-E861F8D5BB21}"/>
              </a:ext>
            </a:extLst>
          </p:cNvPr>
          <p:cNvSpPr>
            <a:spLocks noGrp="1"/>
          </p:cNvSpPr>
          <p:nvPr>
            <p:ph type="body" sz="quarter" idx="106" hasCustomPrompt="1"/>
          </p:nvPr>
        </p:nvSpPr>
        <p:spPr>
          <a:xfrm>
            <a:off x="4992952" y="986507"/>
            <a:ext cx="2686050" cy="279757"/>
          </a:xfrm>
        </p:spPr>
        <p:txBody>
          <a:bodyPr anchor="ctr" anchorCtr="0"/>
          <a:lstStyle>
            <a:lvl1pPr marL="0" indent="0" algn="l" rtl="0">
              <a:buNone/>
              <a:defRPr sz="2000" b="0" i="0" spc="0" baseline="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Section Title</a:t>
            </a:r>
          </a:p>
        </p:txBody>
      </p:sp>
      <p:sp>
        <p:nvSpPr>
          <p:cNvPr id="20" name="Marcador de texto 51">
            <a:extLst>
              <a:ext uri="{FF2B5EF4-FFF2-40B4-BE49-F238E27FC236}">
                <a16:creationId xmlns:a16="http://schemas.microsoft.com/office/drawing/2014/main" id="{EA83531D-D2A6-ADB6-9DCA-7F04A0BCE8C8}"/>
              </a:ext>
            </a:extLst>
          </p:cNvPr>
          <p:cNvSpPr>
            <a:spLocks noGrp="1"/>
          </p:cNvSpPr>
          <p:nvPr>
            <p:ph type="body" sz="quarter" idx="107" hasCustomPrompt="1"/>
          </p:nvPr>
        </p:nvSpPr>
        <p:spPr>
          <a:xfrm>
            <a:off x="4992952" y="1463558"/>
            <a:ext cx="3532512" cy="1018996"/>
          </a:xfrm>
        </p:spPr>
        <p:txBody>
          <a:bodyPr/>
          <a:lstStyle>
            <a:lvl1pPr marL="0" indent="0" rtl="0">
              <a:lnSpc>
                <a:spcPct val="130000"/>
              </a:lnSpc>
              <a:buNone/>
              <a:defRPr sz="900"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21" name="Marcador de texto 51">
            <a:extLst>
              <a:ext uri="{FF2B5EF4-FFF2-40B4-BE49-F238E27FC236}">
                <a16:creationId xmlns:a16="http://schemas.microsoft.com/office/drawing/2014/main" id="{42129D9A-3F96-4D64-F3CA-FD72CF4031A9}"/>
              </a:ext>
            </a:extLst>
          </p:cNvPr>
          <p:cNvSpPr>
            <a:spLocks noGrp="1"/>
          </p:cNvSpPr>
          <p:nvPr>
            <p:ph type="body" sz="quarter" idx="108" hasCustomPrompt="1"/>
          </p:nvPr>
        </p:nvSpPr>
        <p:spPr>
          <a:xfrm>
            <a:off x="870246" y="3264737"/>
            <a:ext cx="3794760" cy="1271016"/>
          </a:xfrm>
          <a:prstGeom prst="round2SameRect">
            <a:avLst>
              <a:gd name="adj1" fmla="val 0"/>
              <a:gd name="adj2" fmla="val 10920"/>
            </a:avLst>
          </a:prstGeom>
          <a:solidFill>
            <a:schemeClr val="bg1"/>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22" name="Marcador de texto 51">
            <a:extLst>
              <a:ext uri="{FF2B5EF4-FFF2-40B4-BE49-F238E27FC236}">
                <a16:creationId xmlns:a16="http://schemas.microsoft.com/office/drawing/2014/main" id="{C7F07A34-D50C-51B9-DD71-F2AA6FC37D39}"/>
              </a:ext>
            </a:extLst>
          </p:cNvPr>
          <p:cNvSpPr>
            <a:spLocks noGrp="1"/>
          </p:cNvSpPr>
          <p:nvPr>
            <p:ph type="body" sz="quarter" idx="109" hasCustomPrompt="1"/>
          </p:nvPr>
        </p:nvSpPr>
        <p:spPr>
          <a:xfrm>
            <a:off x="870246" y="2884012"/>
            <a:ext cx="3794760" cy="384048"/>
          </a:xfrm>
          <a:prstGeom prst="round2SameRect">
            <a:avLst>
              <a:gd name="adj1" fmla="val 13133"/>
              <a:gd name="adj2" fmla="val 0"/>
            </a:avLst>
          </a:prstGeom>
          <a:solidFill>
            <a:schemeClr val="tx2"/>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23" name="Marcador de texto 30">
            <a:extLst>
              <a:ext uri="{FF2B5EF4-FFF2-40B4-BE49-F238E27FC236}">
                <a16:creationId xmlns:a16="http://schemas.microsoft.com/office/drawing/2014/main" id="{2676110F-B8CF-B33B-2B62-ACA011C26C96}"/>
              </a:ext>
            </a:extLst>
          </p:cNvPr>
          <p:cNvSpPr>
            <a:spLocks noGrp="1"/>
          </p:cNvSpPr>
          <p:nvPr>
            <p:ph type="body" sz="quarter" idx="110" hasCustomPrompt="1"/>
          </p:nvPr>
        </p:nvSpPr>
        <p:spPr>
          <a:xfrm>
            <a:off x="1022104" y="2934496"/>
            <a:ext cx="2686050" cy="279757"/>
          </a:xfrm>
        </p:spPr>
        <p:txBody>
          <a:bodyPr anchor="ctr" anchorCtr="0"/>
          <a:lstStyle>
            <a:lvl1pPr marL="0" indent="0" algn="l" rtl="0">
              <a:buNone/>
              <a:defRPr sz="2000" b="0" i="0" spc="0" baseline="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Section Title</a:t>
            </a:r>
          </a:p>
        </p:txBody>
      </p:sp>
      <p:sp>
        <p:nvSpPr>
          <p:cNvPr id="27" name="Marcador de texto 51">
            <a:extLst>
              <a:ext uri="{FF2B5EF4-FFF2-40B4-BE49-F238E27FC236}">
                <a16:creationId xmlns:a16="http://schemas.microsoft.com/office/drawing/2014/main" id="{76833E08-EC12-9FE1-DC17-3777FD22D912}"/>
              </a:ext>
            </a:extLst>
          </p:cNvPr>
          <p:cNvSpPr>
            <a:spLocks noGrp="1"/>
          </p:cNvSpPr>
          <p:nvPr>
            <p:ph type="body" sz="quarter" idx="111" hasCustomPrompt="1"/>
          </p:nvPr>
        </p:nvSpPr>
        <p:spPr>
          <a:xfrm>
            <a:off x="1022104" y="3411547"/>
            <a:ext cx="3532512" cy="1018996"/>
          </a:xfrm>
        </p:spPr>
        <p:txBody>
          <a:bodyPr/>
          <a:lstStyle>
            <a:lvl1pPr marL="0" indent="0" rtl="0">
              <a:lnSpc>
                <a:spcPct val="130000"/>
              </a:lnSpc>
              <a:buNone/>
              <a:defRPr sz="900"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39" name="Marcador de texto 30">
            <a:extLst>
              <a:ext uri="{FF2B5EF4-FFF2-40B4-BE49-F238E27FC236}">
                <a16:creationId xmlns:a16="http://schemas.microsoft.com/office/drawing/2014/main" id="{D4B341BA-AB65-995E-118A-008D7810757E}"/>
              </a:ext>
            </a:extLst>
          </p:cNvPr>
          <p:cNvSpPr>
            <a:spLocks noGrp="1"/>
          </p:cNvSpPr>
          <p:nvPr>
            <p:ph type="body" sz="quarter" idx="112" hasCustomPrompt="1"/>
          </p:nvPr>
        </p:nvSpPr>
        <p:spPr>
          <a:xfrm rot="16200000">
            <a:off x="-214121" y="3567504"/>
            <a:ext cx="1645920" cy="284991"/>
          </a:xfrm>
        </p:spPr>
        <p:txBody>
          <a:bodyPr anchor="ctr" anchorCtr="0"/>
          <a:lstStyle>
            <a:lvl1pPr marL="0" indent="0" algn="ctr" rtl="0">
              <a:buNone/>
              <a:defRPr sz="1400" b="0" i="0" spc="0" baseline="0">
                <a:solidFill>
                  <a:schemeClr val="tx2"/>
                </a:solidFill>
                <a:latin typeface="Lato" panose="020F0502020204030203" pitchFamily="34" charset="77"/>
                <a:ea typeface="Lato Light" panose="020F0502020204030203" pitchFamily="34" charset="0"/>
                <a:cs typeface="Lato Light" panose="020F0502020204030203" pitchFamily="34" charset="0"/>
              </a:defRPr>
            </a:lvl1pPr>
          </a:lstStyle>
          <a:p>
            <a:pPr lvl="0"/>
            <a:r>
              <a:rPr lang="en-US"/>
              <a:t>Heading</a:t>
            </a:r>
          </a:p>
        </p:txBody>
      </p:sp>
      <p:sp>
        <p:nvSpPr>
          <p:cNvPr id="40" name="Marcador de texto 51">
            <a:extLst>
              <a:ext uri="{FF2B5EF4-FFF2-40B4-BE49-F238E27FC236}">
                <a16:creationId xmlns:a16="http://schemas.microsoft.com/office/drawing/2014/main" id="{CF250634-D6AF-1E4A-A478-A50AD7402662}"/>
              </a:ext>
            </a:extLst>
          </p:cNvPr>
          <p:cNvSpPr>
            <a:spLocks noGrp="1"/>
          </p:cNvSpPr>
          <p:nvPr>
            <p:ph type="body" sz="quarter" idx="113" hasCustomPrompt="1"/>
          </p:nvPr>
        </p:nvSpPr>
        <p:spPr>
          <a:xfrm>
            <a:off x="4841094" y="3264737"/>
            <a:ext cx="3794760" cy="1271016"/>
          </a:xfrm>
          <a:prstGeom prst="round2SameRect">
            <a:avLst>
              <a:gd name="adj1" fmla="val 0"/>
              <a:gd name="adj2" fmla="val 10920"/>
            </a:avLst>
          </a:prstGeom>
          <a:solidFill>
            <a:schemeClr val="bg1"/>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41" name="Marcador de texto 51">
            <a:extLst>
              <a:ext uri="{FF2B5EF4-FFF2-40B4-BE49-F238E27FC236}">
                <a16:creationId xmlns:a16="http://schemas.microsoft.com/office/drawing/2014/main" id="{CB3C3C68-05EE-AD40-ECB1-DF92AE5EDDEF}"/>
              </a:ext>
            </a:extLst>
          </p:cNvPr>
          <p:cNvSpPr>
            <a:spLocks noGrp="1"/>
          </p:cNvSpPr>
          <p:nvPr>
            <p:ph type="body" sz="quarter" idx="114" hasCustomPrompt="1"/>
          </p:nvPr>
        </p:nvSpPr>
        <p:spPr>
          <a:xfrm>
            <a:off x="4841094" y="2884012"/>
            <a:ext cx="3794760" cy="384048"/>
          </a:xfrm>
          <a:prstGeom prst="round2SameRect">
            <a:avLst>
              <a:gd name="adj1" fmla="val 13133"/>
              <a:gd name="adj2" fmla="val 0"/>
            </a:avLst>
          </a:prstGeom>
          <a:solidFill>
            <a:schemeClr val="tx2"/>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42" name="Marcador de texto 30">
            <a:extLst>
              <a:ext uri="{FF2B5EF4-FFF2-40B4-BE49-F238E27FC236}">
                <a16:creationId xmlns:a16="http://schemas.microsoft.com/office/drawing/2014/main" id="{C074DB7E-316E-207E-5B7E-E48E2E4C1470}"/>
              </a:ext>
            </a:extLst>
          </p:cNvPr>
          <p:cNvSpPr>
            <a:spLocks noGrp="1"/>
          </p:cNvSpPr>
          <p:nvPr>
            <p:ph type="body" sz="quarter" idx="115" hasCustomPrompt="1"/>
          </p:nvPr>
        </p:nvSpPr>
        <p:spPr>
          <a:xfrm>
            <a:off x="4992952" y="2934496"/>
            <a:ext cx="2686050" cy="279757"/>
          </a:xfrm>
        </p:spPr>
        <p:txBody>
          <a:bodyPr anchor="ctr" anchorCtr="0"/>
          <a:lstStyle>
            <a:lvl1pPr marL="0" indent="0" algn="l" rtl="0">
              <a:buNone/>
              <a:defRPr sz="2000" b="0" i="0" spc="0" baseline="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Section Title</a:t>
            </a:r>
          </a:p>
        </p:txBody>
      </p:sp>
      <p:sp>
        <p:nvSpPr>
          <p:cNvPr id="43" name="Marcador de texto 51">
            <a:extLst>
              <a:ext uri="{FF2B5EF4-FFF2-40B4-BE49-F238E27FC236}">
                <a16:creationId xmlns:a16="http://schemas.microsoft.com/office/drawing/2014/main" id="{DDEC6B43-E4CF-078E-EC42-4CE4EC83A063}"/>
              </a:ext>
            </a:extLst>
          </p:cNvPr>
          <p:cNvSpPr>
            <a:spLocks noGrp="1"/>
          </p:cNvSpPr>
          <p:nvPr>
            <p:ph type="body" sz="quarter" idx="116" hasCustomPrompt="1"/>
          </p:nvPr>
        </p:nvSpPr>
        <p:spPr>
          <a:xfrm>
            <a:off x="4992952" y="3411547"/>
            <a:ext cx="3532512" cy="1018996"/>
          </a:xfrm>
        </p:spPr>
        <p:txBody>
          <a:bodyPr/>
          <a:lstStyle>
            <a:lvl1pPr marL="0" indent="0" rtl="0">
              <a:lnSpc>
                <a:spcPct val="130000"/>
              </a:lnSpc>
              <a:buNone/>
              <a:defRPr sz="900" b="0" i="0">
                <a:solidFill>
                  <a:srgbClr val="3F4043"/>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Tree>
    <p:extLst>
      <p:ext uri="{BB962C8B-B14F-4D97-AF65-F5344CB8AC3E}">
        <p14:creationId xmlns:p14="http://schemas.microsoft.com/office/powerpoint/2010/main" val="23648479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old Q&amp;A">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32910E5-579F-92B1-5D70-9808830408F2}"/>
              </a:ext>
            </a:extLst>
          </p:cNvPr>
          <p:cNvGraphicFramePr>
            <a:graphicFrameLocks noChangeAspect="1"/>
          </p:cNvGraphicFramePr>
          <p:nvPr userDrawn="1">
            <p:custDataLst>
              <p:tags r:id="rId1"/>
            </p:custDataLst>
            <p:extLst>
              <p:ext uri="{D42A27DB-BD31-4B8C-83A1-F6EECF244321}">
                <p14:modId xmlns:p14="http://schemas.microsoft.com/office/powerpoint/2010/main" val="2911461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9" name="think-cell data - do not delete" hidden="1">
                        <a:extLst>
                          <a:ext uri="{FF2B5EF4-FFF2-40B4-BE49-F238E27FC236}">
                            <a16:creationId xmlns:a16="http://schemas.microsoft.com/office/drawing/2014/main" id="{832910E5-579F-92B1-5D70-9808830408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Google Shape;149;p16">
            <a:extLst>
              <a:ext uri="{FF2B5EF4-FFF2-40B4-BE49-F238E27FC236}">
                <a16:creationId xmlns:a16="http://schemas.microsoft.com/office/drawing/2014/main" id="{00A33681-6246-C712-6F38-B0BF974B8AE0}"/>
              </a:ext>
            </a:extLst>
          </p:cNvPr>
          <p:cNvSpPr/>
          <p:nvPr userDrawn="1"/>
        </p:nvSpPr>
        <p:spPr>
          <a:xfrm>
            <a:off x="-3265" y="-23644"/>
            <a:ext cx="9157775" cy="4782679"/>
          </a:xfrm>
          <a:prstGeom prst="rect">
            <a:avLst/>
          </a:prstGeom>
          <a:solidFill>
            <a:srgbClr val="FFAC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solidFill>
                <a:schemeClr val="accent1"/>
              </a:solidFill>
            </a:endParaRPr>
          </a:p>
        </p:txBody>
      </p:sp>
      <p:sp>
        <p:nvSpPr>
          <p:cNvPr id="3" name="Right Triangle 8">
            <a:extLst>
              <a:ext uri="{FF2B5EF4-FFF2-40B4-BE49-F238E27FC236}">
                <a16:creationId xmlns:a16="http://schemas.microsoft.com/office/drawing/2014/main" id="{4DAF18BD-D314-7E97-3F9B-148EEC0C507E}"/>
              </a:ext>
            </a:extLst>
          </p:cNvPr>
          <p:cNvSpPr/>
          <p:nvPr userDrawn="1"/>
        </p:nvSpPr>
        <p:spPr>
          <a:xfrm>
            <a:off x="-8626" y="2572907"/>
            <a:ext cx="2234241" cy="2234241"/>
          </a:xfrm>
          <a:prstGeom prst="rtTriangle">
            <a:avLst/>
          </a:prstGeom>
          <a:solidFill>
            <a:srgbClr val="FFC000">
              <a:alpha val="16000"/>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4" name="TextBox 38">
            <a:extLst>
              <a:ext uri="{FF2B5EF4-FFF2-40B4-BE49-F238E27FC236}">
                <a16:creationId xmlns:a16="http://schemas.microsoft.com/office/drawing/2014/main" id="{1124514B-00B0-4EBA-0301-C3144B51C5A7}"/>
              </a:ext>
            </a:extLst>
          </p:cNvPr>
          <p:cNvSpPr txBox="1"/>
          <p:nvPr userDrawn="1"/>
        </p:nvSpPr>
        <p:spPr bwMode="gray">
          <a:xfrm>
            <a:off x="6774511" y="5120640"/>
            <a:ext cx="0" cy="0"/>
          </a:xfrm>
          <a:prstGeom prst="rect">
            <a:avLst/>
          </a:prstGeom>
        </p:spPr>
        <p:txBody>
          <a:bodyPr vert="horz" wrap="none" lIns="0" tIns="0" rIns="0" bIns="0" rtlCol="0" anchor="t">
            <a:noAutofit/>
          </a:bodyPr>
          <a:lstStyle/>
          <a:p>
            <a:pPr rtl="0">
              <a:spcBef>
                <a:spcPts val="600"/>
              </a:spcBef>
            </a:pPr>
            <a:endParaRPr lang="en-US">
              <a:solidFill>
                <a:srgbClr val="606060"/>
              </a:solidFill>
            </a:endParaRPr>
          </a:p>
        </p:txBody>
      </p:sp>
      <p:sp>
        <p:nvSpPr>
          <p:cNvPr id="5" name="Google Shape;523;p16">
            <a:extLst>
              <a:ext uri="{FF2B5EF4-FFF2-40B4-BE49-F238E27FC236}">
                <a16:creationId xmlns:a16="http://schemas.microsoft.com/office/drawing/2014/main" id="{50A49328-6BEE-1A92-A19E-F5422D65A39A}"/>
              </a:ext>
            </a:extLst>
          </p:cNvPr>
          <p:cNvSpPr/>
          <p:nvPr userDrawn="1"/>
        </p:nvSpPr>
        <p:spPr>
          <a:xfrm>
            <a:off x="555439" y="1246909"/>
            <a:ext cx="2551444" cy="3140371"/>
          </a:xfrm>
          <a:prstGeom prst="roundRect">
            <a:avLst>
              <a:gd name="adj" fmla="val 6834"/>
            </a:avLst>
          </a:prstGeom>
          <a:solidFill>
            <a:schemeClr val="bg1">
              <a:alpha val="30000"/>
            </a:schemeClr>
          </a:solidFill>
          <a:ln>
            <a:noFill/>
          </a:ln>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1400" b="0" i="0" u="none" strike="noStrike" cap="none">
              <a:solidFill>
                <a:schemeClr val="accent1"/>
              </a:solidFill>
              <a:latin typeface="Arial"/>
              <a:ea typeface="Arial"/>
              <a:cs typeface="Arial"/>
              <a:sym typeface="Arial"/>
            </a:endParaRPr>
          </a:p>
        </p:txBody>
      </p:sp>
      <p:sp>
        <p:nvSpPr>
          <p:cNvPr id="6" name="Google Shape;523;p16">
            <a:extLst>
              <a:ext uri="{FF2B5EF4-FFF2-40B4-BE49-F238E27FC236}">
                <a16:creationId xmlns:a16="http://schemas.microsoft.com/office/drawing/2014/main" id="{9677BC14-B3A8-EE31-F198-C19CE80A788B}"/>
              </a:ext>
            </a:extLst>
          </p:cNvPr>
          <p:cNvSpPr/>
          <p:nvPr userDrawn="1"/>
        </p:nvSpPr>
        <p:spPr>
          <a:xfrm>
            <a:off x="3296278" y="1246909"/>
            <a:ext cx="2551444" cy="3140371"/>
          </a:xfrm>
          <a:prstGeom prst="roundRect">
            <a:avLst>
              <a:gd name="adj" fmla="val 6834"/>
            </a:avLst>
          </a:prstGeom>
          <a:solidFill>
            <a:schemeClr val="bg1">
              <a:alpha val="30000"/>
            </a:schemeClr>
          </a:solidFill>
          <a:ln>
            <a:noFill/>
          </a:ln>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1400" b="0" i="0" u="none" strike="noStrike" cap="none">
              <a:solidFill>
                <a:schemeClr val="accent1"/>
              </a:solidFill>
              <a:latin typeface="Arial"/>
              <a:ea typeface="Arial"/>
              <a:cs typeface="Arial"/>
              <a:sym typeface="Arial"/>
            </a:endParaRPr>
          </a:p>
        </p:txBody>
      </p:sp>
      <p:sp>
        <p:nvSpPr>
          <p:cNvPr id="7" name="Google Shape;157;p17">
            <a:extLst>
              <a:ext uri="{FF2B5EF4-FFF2-40B4-BE49-F238E27FC236}">
                <a16:creationId xmlns:a16="http://schemas.microsoft.com/office/drawing/2014/main" id="{8E30E1B3-ECC5-F8F0-28CF-166E9A335DD6}"/>
              </a:ext>
            </a:extLst>
          </p:cNvPr>
          <p:cNvSpPr/>
          <p:nvPr userDrawn="1"/>
        </p:nvSpPr>
        <p:spPr>
          <a:xfrm rot="10023183">
            <a:off x="8196501" y="564887"/>
            <a:ext cx="396598" cy="396598"/>
          </a:xfrm>
          <a:prstGeom prst="ellipse">
            <a:avLst/>
          </a:prstGeom>
          <a:solidFill>
            <a:schemeClr val="accent1">
              <a:lumMod val="20000"/>
              <a:lumOff val="80000"/>
              <a:alpha val="32171"/>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8" name="Google Shape;157;p17">
            <a:extLst>
              <a:ext uri="{FF2B5EF4-FFF2-40B4-BE49-F238E27FC236}">
                <a16:creationId xmlns:a16="http://schemas.microsoft.com/office/drawing/2014/main" id="{58B52029-E49C-DC22-B3E7-D2CA958D9B1E}"/>
              </a:ext>
            </a:extLst>
          </p:cNvPr>
          <p:cNvSpPr/>
          <p:nvPr userDrawn="1"/>
        </p:nvSpPr>
        <p:spPr>
          <a:xfrm rot="10023183">
            <a:off x="1592785" y="444598"/>
            <a:ext cx="216840" cy="216840"/>
          </a:xfrm>
          <a:prstGeom prst="ellipse">
            <a:avLst/>
          </a:prstGeom>
          <a:gradFill>
            <a:gsLst>
              <a:gs pos="0">
                <a:srgbClr val="FEC256"/>
              </a:gs>
              <a:gs pos="100000">
                <a:srgbClr val="FEC256"/>
              </a:gs>
            </a:gsLst>
            <a:lin ang="2700006"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9" name="Google Shape;523;p16">
            <a:extLst>
              <a:ext uri="{FF2B5EF4-FFF2-40B4-BE49-F238E27FC236}">
                <a16:creationId xmlns:a16="http://schemas.microsoft.com/office/drawing/2014/main" id="{B59E9D51-608C-B7CE-DA6C-AE3BCEA8CE5B}"/>
              </a:ext>
            </a:extLst>
          </p:cNvPr>
          <p:cNvSpPr/>
          <p:nvPr userDrawn="1"/>
        </p:nvSpPr>
        <p:spPr>
          <a:xfrm>
            <a:off x="6091433" y="1246909"/>
            <a:ext cx="2551444" cy="3140371"/>
          </a:xfrm>
          <a:prstGeom prst="roundRect">
            <a:avLst>
              <a:gd name="adj" fmla="val 6834"/>
            </a:avLst>
          </a:prstGeom>
          <a:solidFill>
            <a:schemeClr val="bg1">
              <a:alpha val="30000"/>
            </a:schemeClr>
          </a:solidFill>
          <a:ln>
            <a:noFill/>
          </a:ln>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1400" b="0" i="0" u="none" strike="noStrike" cap="none">
              <a:solidFill>
                <a:schemeClr val="accent1"/>
              </a:solidFill>
              <a:latin typeface="Arial"/>
              <a:ea typeface="Arial"/>
              <a:cs typeface="Arial"/>
              <a:sym typeface="Arial"/>
            </a:endParaRPr>
          </a:p>
        </p:txBody>
      </p:sp>
      <p:sp>
        <p:nvSpPr>
          <p:cNvPr id="10" name="Rounded Rectangle 13">
            <a:extLst>
              <a:ext uri="{FF2B5EF4-FFF2-40B4-BE49-F238E27FC236}">
                <a16:creationId xmlns:a16="http://schemas.microsoft.com/office/drawing/2014/main" id="{F1EA0DBE-0169-A29A-06B6-02AC183E27D2}"/>
              </a:ext>
            </a:extLst>
          </p:cNvPr>
          <p:cNvSpPr/>
          <p:nvPr userDrawn="1"/>
        </p:nvSpPr>
        <p:spPr>
          <a:xfrm>
            <a:off x="1374331" y="3913694"/>
            <a:ext cx="913661" cy="275823"/>
          </a:xfrm>
          <a:prstGeom prst="round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11" name="Rounded Rectangle 15">
            <a:extLst>
              <a:ext uri="{FF2B5EF4-FFF2-40B4-BE49-F238E27FC236}">
                <a16:creationId xmlns:a16="http://schemas.microsoft.com/office/drawing/2014/main" id="{FD7A71C2-802D-D174-8F08-E69CCA64D8C1}"/>
              </a:ext>
            </a:extLst>
          </p:cNvPr>
          <p:cNvSpPr/>
          <p:nvPr userDrawn="1"/>
        </p:nvSpPr>
        <p:spPr>
          <a:xfrm>
            <a:off x="4115170" y="3913694"/>
            <a:ext cx="913661" cy="275823"/>
          </a:xfrm>
          <a:prstGeom prst="round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12" name="Rounded Rectangle 17">
            <a:extLst>
              <a:ext uri="{FF2B5EF4-FFF2-40B4-BE49-F238E27FC236}">
                <a16:creationId xmlns:a16="http://schemas.microsoft.com/office/drawing/2014/main" id="{FDC910D3-D86C-E31F-71D1-9FFD6FDC6D30}"/>
              </a:ext>
            </a:extLst>
          </p:cNvPr>
          <p:cNvSpPr/>
          <p:nvPr userDrawn="1"/>
        </p:nvSpPr>
        <p:spPr>
          <a:xfrm>
            <a:off x="6910325" y="3913694"/>
            <a:ext cx="913661" cy="275823"/>
          </a:xfrm>
          <a:prstGeom prst="round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13" name="Marcador de texto 26">
            <a:extLst>
              <a:ext uri="{FF2B5EF4-FFF2-40B4-BE49-F238E27FC236}">
                <a16:creationId xmlns:a16="http://schemas.microsoft.com/office/drawing/2014/main" id="{5D1747AE-A7D2-3849-70A7-E4447E190B96}"/>
              </a:ext>
            </a:extLst>
          </p:cNvPr>
          <p:cNvSpPr>
            <a:spLocks noGrp="1"/>
          </p:cNvSpPr>
          <p:nvPr>
            <p:ph type="body" sz="quarter" idx="10" hasCustomPrompt="1"/>
          </p:nvPr>
        </p:nvSpPr>
        <p:spPr>
          <a:xfrm>
            <a:off x="807092" y="2062875"/>
            <a:ext cx="2055054" cy="1669345"/>
          </a:xfrm>
        </p:spPr>
        <p:txBody>
          <a:bodyPr/>
          <a:lstStyle>
            <a:lvl1pPr marL="0" indent="0" rtl="0">
              <a:lnSpc>
                <a:spcPct val="110000"/>
              </a:lnSpc>
              <a:buNone/>
              <a:defRPr>
                <a:solidFill>
                  <a:schemeClr val="tx2"/>
                </a:solidFill>
              </a:defRPr>
            </a:lvl1pPr>
          </a:lstStyle>
          <a:p>
            <a:pPr lvl="0"/>
            <a:r>
              <a:rPr lang="en-US"/>
              <a:t>Here goes a question. You can decrease the font size in case the question is longer than six lines so it doesn’t look too clutter?</a:t>
            </a:r>
          </a:p>
        </p:txBody>
      </p:sp>
      <p:sp>
        <p:nvSpPr>
          <p:cNvPr id="14" name="Marcador de texto 30">
            <a:extLst>
              <a:ext uri="{FF2B5EF4-FFF2-40B4-BE49-F238E27FC236}">
                <a16:creationId xmlns:a16="http://schemas.microsoft.com/office/drawing/2014/main" id="{8C95A220-417E-8B5B-4E7A-AE6FE3C0AC18}"/>
              </a:ext>
            </a:extLst>
          </p:cNvPr>
          <p:cNvSpPr>
            <a:spLocks noGrp="1"/>
          </p:cNvSpPr>
          <p:nvPr>
            <p:ph type="body" sz="quarter" idx="13" hasCustomPrompt="1"/>
          </p:nvPr>
        </p:nvSpPr>
        <p:spPr>
          <a:xfrm>
            <a:off x="1419378" y="253954"/>
            <a:ext cx="6226175" cy="623367"/>
          </a:xfrm>
        </p:spPr>
        <p:txBody>
          <a:bodyPr anchor="ctr" anchorCtr="0"/>
          <a:lstStyle>
            <a:lvl1pPr marL="0" indent="0" algn="ctr" rtl="0">
              <a:buNone/>
              <a:defRPr sz="3200" b="0" i="0">
                <a:solidFill>
                  <a:schemeClr val="tx2"/>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Q &amp; A</a:t>
            </a:r>
          </a:p>
        </p:txBody>
      </p:sp>
      <p:sp>
        <p:nvSpPr>
          <p:cNvPr id="15" name="Marcador de texto 27">
            <a:extLst>
              <a:ext uri="{FF2B5EF4-FFF2-40B4-BE49-F238E27FC236}">
                <a16:creationId xmlns:a16="http://schemas.microsoft.com/office/drawing/2014/main" id="{0DF64409-44E8-FFFD-19D8-1BD6EEECF939}"/>
              </a:ext>
            </a:extLst>
          </p:cNvPr>
          <p:cNvSpPr>
            <a:spLocks noGrp="1"/>
          </p:cNvSpPr>
          <p:nvPr>
            <p:ph type="body" sz="quarter" idx="23" hasCustomPrompt="1"/>
          </p:nvPr>
        </p:nvSpPr>
        <p:spPr>
          <a:xfrm>
            <a:off x="1398496" y="3909159"/>
            <a:ext cx="865329" cy="279757"/>
          </a:xfrm>
        </p:spPr>
        <p:txBody>
          <a:bodyPr anchor="ctr" anchorCtr="0"/>
          <a:lstStyle>
            <a:lvl1pPr marL="0" indent="0" algn="ctr" rtl="0">
              <a:buNone/>
              <a:defRPr sz="1000" spc="300">
                <a:solidFill>
                  <a:schemeClr val="bg1"/>
                </a:solidFill>
              </a:defRPr>
            </a:lvl1pPr>
          </a:lstStyle>
          <a:p>
            <a:pPr lvl="0"/>
            <a:r>
              <a:rPr lang="en-US"/>
              <a:t>10 MIN</a:t>
            </a:r>
          </a:p>
        </p:txBody>
      </p:sp>
      <p:sp>
        <p:nvSpPr>
          <p:cNvPr id="16" name="Marcador de texto 27">
            <a:extLst>
              <a:ext uri="{FF2B5EF4-FFF2-40B4-BE49-F238E27FC236}">
                <a16:creationId xmlns:a16="http://schemas.microsoft.com/office/drawing/2014/main" id="{E825177A-B64A-D0FD-DE07-241CB01B0A8F}"/>
              </a:ext>
            </a:extLst>
          </p:cNvPr>
          <p:cNvSpPr>
            <a:spLocks noGrp="1"/>
          </p:cNvSpPr>
          <p:nvPr>
            <p:ph type="body" sz="quarter" idx="24" hasCustomPrompt="1"/>
          </p:nvPr>
        </p:nvSpPr>
        <p:spPr>
          <a:xfrm>
            <a:off x="4139334" y="3909159"/>
            <a:ext cx="865329" cy="279757"/>
          </a:xfrm>
        </p:spPr>
        <p:txBody>
          <a:bodyPr anchor="ctr" anchorCtr="0"/>
          <a:lstStyle>
            <a:lvl1pPr marL="0" indent="0" algn="ctr" rtl="0">
              <a:buNone/>
              <a:defRPr sz="1000" spc="300">
                <a:solidFill>
                  <a:schemeClr val="bg1"/>
                </a:solidFill>
              </a:defRPr>
            </a:lvl1pPr>
          </a:lstStyle>
          <a:p>
            <a:pPr lvl="0"/>
            <a:r>
              <a:rPr lang="en-US"/>
              <a:t>5 MIN</a:t>
            </a:r>
          </a:p>
        </p:txBody>
      </p:sp>
      <p:sp>
        <p:nvSpPr>
          <p:cNvPr id="17" name="Marcador de texto 27">
            <a:extLst>
              <a:ext uri="{FF2B5EF4-FFF2-40B4-BE49-F238E27FC236}">
                <a16:creationId xmlns:a16="http://schemas.microsoft.com/office/drawing/2014/main" id="{526A250D-B65B-5ADE-622F-6A06C2DA0AEC}"/>
              </a:ext>
            </a:extLst>
          </p:cNvPr>
          <p:cNvSpPr>
            <a:spLocks noGrp="1"/>
          </p:cNvSpPr>
          <p:nvPr>
            <p:ph type="body" sz="quarter" idx="25" hasCustomPrompt="1"/>
          </p:nvPr>
        </p:nvSpPr>
        <p:spPr>
          <a:xfrm>
            <a:off x="6935438" y="3909760"/>
            <a:ext cx="865329" cy="279757"/>
          </a:xfrm>
        </p:spPr>
        <p:txBody>
          <a:bodyPr anchor="ctr" anchorCtr="0"/>
          <a:lstStyle>
            <a:lvl1pPr marL="0" indent="0" algn="ctr" rtl="0">
              <a:buNone/>
              <a:defRPr sz="1000" spc="300">
                <a:solidFill>
                  <a:schemeClr val="bg1"/>
                </a:solidFill>
              </a:defRPr>
            </a:lvl1pPr>
          </a:lstStyle>
          <a:p>
            <a:pPr lvl="0"/>
            <a:r>
              <a:rPr lang="en-US"/>
              <a:t>10 MIN</a:t>
            </a:r>
          </a:p>
        </p:txBody>
      </p:sp>
      <p:sp>
        <p:nvSpPr>
          <p:cNvPr id="18" name="Google Shape;619;p31">
            <a:extLst>
              <a:ext uri="{FF2B5EF4-FFF2-40B4-BE49-F238E27FC236}">
                <a16:creationId xmlns:a16="http://schemas.microsoft.com/office/drawing/2014/main" id="{371CA6FD-E6E0-222D-BCB7-F3D2EA52E4CB}"/>
              </a:ext>
            </a:extLst>
          </p:cNvPr>
          <p:cNvSpPr/>
          <p:nvPr userDrawn="1"/>
        </p:nvSpPr>
        <p:spPr>
          <a:xfrm>
            <a:off x="1486888" y="1106891"/>
            <a:ext cx="786070" cy="763673"/>
          </a:xfrm>
          <a:prstGeom prst="ellipse">
            <a:avLst/>
          </a:prstGeom>
          <a:solidFill>
            <a:schemeClr val="bg1">
              <a:alpha val="27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19" name="Elipse 13">
            <a:extLst>
              <a:ext uri="{FF2B5EF4-FFF2-40B4-BE49-F238E27FC236}">
                <a16:creationId xmlns:a16="http://schemas.microsoft.com/office/drawing/2014/main" id="{BA4961CF-B998-C509-F33A-12E0BE43F0C8}"/>
              </a:ext>
            </a:extLst>
          </p:cNvPr>
          <p:cNvSpPr/>
          <p:nvPr userDrawn="1"/>
        </p:nvSpPr>
        <p:spPr>
          <a:xfrm>
            <a:off x="1665853" y="1274658"/>
            <a:ext cx="428141" cy="428141"/>
          </a:xfrm>
          <a:prstGeom prst="ellipse">
            <a:avLst/>
          </a:prstGeom>
          <a:solidFill>
            <a:schemeClr val="bg1">
              <a:alpha val="42000"/>
            </a:schemeClr>
          </a:solidFill>
          <a:ln>
            <a:noFill/>
          </a:ln>
          <a:effectLst>
            <a:outerShdw blurRad="428128" sx="102000" sy="102000" algn="ctr"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00">
              <a:solidFill>
                <a:srgbClr val="8D193F"/>
              </a:solidFill>
              <a:latin typeface="Lato" panose="020F0502020204030203" pitchFamily="34" charset="77"/>
            </a:endParaRPr>
          </a:p>
        </p:txBody>
      </p:sp>
      <p:sp>
        <p:nvSpPr>
          <p:cNvPr id="20" name="Google Shape;619;p31">
            <a:extLst>
              <a:ext uri="{FF2B5EF4-FFF2-40B4-BE49-F238E27FC236}">
                <a16:creationId xmlns:a16="http://schemas.microsoft.com/office/drawing/2014/main" id="{CBDE8D4E-A48E-1C2A-A15A-4F197D5A4BF3}"/>
              </a:ext>
            </a:extLst>
          </p:cNvPr>
          <p:cNvSpPr/>
          <p:nvPr userDrawn="1"/>
        </p:nvSpPr>
        <p:spPr>
          <a:xfrm>
            <a:off x="4188525" y="1115463"/>
            <a:ext cx="786070" cy="763673"/>
          </a:xfrm>
          <a:prstGeom prst="ellipse">
            <a:avLst/>
          </a:prstGeom>
          <a:solidFill>
            <a:schemeClr val="bg1">
              <a:alpha val="27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21" name="Elipse 13">
            <a:extLst>
              <a:ext uri="{FF2B5EF4-FFF2-40B4-BE49-F238E27FC236}">
                <a16:creationId xmlns:a16="http://schemas.microsoft.com/office/drawing/2014/main" id="{226DDE0E-68CA-8EF4-E507-552C88AF3DAB}"/>
              </a:ext>
            </a:extLst>
          </p:cNvPr>
          <p:cNvSpPr/>
          <p:nvPr userDrawn="1"/>
        </p:nvSpPr>
        <p:spPr>
          <a:xfrm>
            <a:off x="4367490" y="1283230"/>
            <a:ext cx="428141" cy="428141"/>
          </a:xfrm>
          <a:prstGeom prst="ellipse">
            <a:avLst/>
          </a:prstGeom>
          <a:solidFill>
            <a:schemeClr val="bg1">
              <a:alpha val="42000"/>
            </a:schemeClr>
          </a:solidFill>
          <a:ln>
            <a:noFill/>
          </a:ln>
          <a:effectLst>
            <a:outerShdw blurRad="428128" sx="102000" sy="102000" algn="ctr"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00">
              <a:solidFill>
                <a:srgbClr val="8D193F"/>
              </a:solidFill>
              <a:latin typeface="Lato" panose="020F0502020204030203" pitchFamily="34" charset="77"/>
            </a:endParaRPr>
          </a:p>
        </p:txBody>
      </p:sp>
      <p:sp>
        <p:nvSpPr>
          <p:cNvPr id="22" name="Google Shape;619;p31">
            <a:extLst>
              <a:ext uri="{FF2B5EF4-FFF2-40B4-BE49-F238E27FC236}">
                <a16:creationId xmlns:a16="http://schemas.microsoft.com/office/drawing/2014/main" id="{8865EF1A-C6B3-F71C-CFD9-4066A2F704DD}"/>
              </a:ext>
            </a:extLst>
          </p:cNvPr>
          <p:cNvSpPr/>
          <p:nvPr userDrawn="1"/>
        </p:nvSpPr>
        <p:spPr>
          <a:xfrm>
            <a:off x="6983679" y="1115463"/>
            <a:ext cx="786070" cy="763673"/>
          </a:xfrm>
          <a:prstGeom prst="ellipse">
            <a:avLst/>
          </a:prstGeom>
          <a:solidFill>
            <a:schemeClr val="bg1">
              <a:alpha val="27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23" name="Elipse 13">
            <a:extLst>
              <a:ext uri="{FF2B5EF4-FFF2-40B4-BE49-F238E27FC236}">
                <a16:creationId xmlns:a16="http://schemas.microsoft.com/office/drawing/2014/main" id="{42E5B866-ECCE-8E97-DD55-3642ECFC0920}"/>
              </a:ext>
            </a:extLst>
          </p:cNvPr>
          <p:cNvSpPr/>
          <p:nvPr userDrawn="1"/>
        </p:nvSpPr>
        <p:spPr>
          <a:xfrm>
            <a:off x="7162644" y="1283230"/>
            <a:ext cx="428141" cy="428141"/>
          </a:xfrm>
          <a:prstGeom prst="ellipse">
            <a:avLst/>
          </a:prstGeom>
          <a:solidFill>
            <a:schemeClr val="bg1">
              <a:alpha val="42000"/>
            </a:schemeClr>
          </a:solidFill>
          <a:ln>
            <a:noFill/>
          </a:ln>
          <a:effectLst>
            <a:outerShdw blurRad="428128" sx="102000" sy="102000" algn="ctr"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00">
              <a:solidFill>
                <a:srgbClr val="8D193F"/>
              </a:solidFill>
              <a:latin typeface="Lato" panose="020F0502020204030203" pitchFamily="34" charset="77"/>
            </a:endParaRPr>
          </a:p>
        </p:txBody>
      </p:sp>
      <p:sp>
        <p:nvSpPr>
          <p:cNvPr id="24" name="Marcador de texto 26">
            <a:extLst>
              <a:ext uri="{FF2B5EF4-FFF2-40B4-BE49-F238E27FC236}">
                <a16:creationId xmlns:a16="http://schemas.microsoft.com/office/drawing/2014/main" id="{B0F7017C-238F-1FAC-D34E-28BAE99280AE}"/>
              </a:ext>
            </a:extLst>
          </p:cNvPr>
          <p:cNvSpPr>
            <a:spLocks noGrp="1"/>
          </p:cNvSpPr>
          <p:nvPr>
            <p:ph type="body" sz="quarter" idx="26" hasCustomPrompt="1"/>
          </p:nvPr>
        </p:nvSpPr>
        <p:spPr>
          <a:xfrm>
            <a:off x="1665853" y="1367192"/>
            <a:ext cx="428141" cy="217461"/>
          </a:xfrm>
        </p:spPr>
        <p:txBody>
          <a:bodyPr/>
          <a:lstStyle>
            <a:lvl1pPr marL="0" indent="0" algn="ctr" rtl="0">
              <a:lnSpc>
                <a:spcPct val="110000"/>
              </a:lnSpc>
              <a:buNone/>
              <a:defRPr>
                <a:solidFill>
                  <a:srgbClr val="6F1237"/>
                </a:solidFill>
              </a:defRPr>
            </a:lvl1pPr>
          </a:lstStyle>
          <a:p>
            <a:pPr lvl="0"/>
            <a:r>
              <a:rPr lang="en-US"/>
              <a:t>#</a:t>
            </a:r>
          </a:p>
        </p:txBody>
      </p:sp>
      <p:sp>
        <p:nvSpPr>
          <p:cNvPr id="25" name="Marcador de texto 26">
            <a:extLst>
              <a:ext uri="{FF2B5EF4-FFF2-40B4-BE49-F238E27FC236}">
                <a16:creationId xmlns:a16="http://schemas.microsoft.com/office/drawing/2014/main" id="{86214CF5-B038-E19E-DCBF-DC9A60E28728}"/>
              </a:ext>
            </a:extLst>
          </p:cNvPr>
          <p:cNvSpPr>
            <a:spLocks noGrp="1"/>
          </p:cNvSpPr>
          <p:nvPr>
            <p:ph type="body" sz="quarter" idx="27" hasCustomPrompt="1"/>
          </p:nvPr>
        </p:nvSpPr>
        <p:spPr>
          <a:xfrm>
            <a:off x="4367490" y="1367192"/>
            <a:ext cx="428141" cy="217461"/>
          </a:xfrm>
        </p:spPr>
        <p:txBody>
          <a:bodyPr/>
          <a:lstStyle>
            <a:lvl1pPr marL="0" indent="0" algn="ctr" rtl="0">
              <a:lnSpc>
                <a:spcPct val="110000"/>
              </a:lnSpc>
              <a:buNone/>
              <a:defRPr>
                <a:solidFill>
                  <a:srgbClr val="6F1237"/>
                </a:solidFill>
              </a:defRPr>
            </a:lvl1pPr>
          </a:lstStyle>
          <a:p>
            <a:pPr lvl="0"/>
            <a:r>
              <a:rPr lang="en-US"/>
              <a:t>#</a:t>
            </a:r>
          </a:p>
        </p:txBody>
      </p:sp>
      <p:sp>
        <p:nvSpPr>
          <p:cNvPr id="26" name="Marcador de texto 26">
            <a:extLst>
              <a:ext uri="{FF2B5EF4-FFF2-40B4-BE49-F238E27FC236}">
                <a16:creationId xmlns:a16="http://schemas.microsoft.com/office/drawing/2014/main" id="{A0F5F22C-E60C-0516-6D93-6CF6281BEEBF}"/>
              </a:ext>
            </a:extLst>
          </p:cNvPr>
          <p:cNvSpPr>
            <a:spLocks noGrp="1"/>
          </p:cNvSpPr>
          <p:nvPr>
            <p:ph type="body" sz="quarter" idx="28" hasCustomPrompt="1"/>
          </p:nvPr>
        </p:nvSpPr>
        <p:spPr>
          <a:xfrm>
            <a:off x="7162644" y="1367192"/>
            <a:ext cx="428142" cy="217461"/>
          </a:xfrm>
        </p:spPr>
        <p:txBody>
          <a:bodyPr/>
          <a:lstStyle>
            <a:lvl1pPr marL="0" indent="0" algn="ctr" rtl="0">
              <a:lnSpc>
                <a:spcPct val="110000"/>
              </a:lnSpc>
              <a:buNone/>
              <a:defRPr>
                <a:solidFill>
                  <a:srgbClr val="6F1237"/>
                </a:solidFill>
              </a:defRPr>
            </a:lvl1pPr>
          </a:lstStyle>
          <a:p>
            <a:pPr lvl="0"/>
            <a:r>
              <a:rPr lang="en-US"/>
              <a:t>#</a:t>
            </a:r>
          </a:p>
        </p:txBody>
      </p:sp>
      <p:sp>
        <p:nvSpPr>
          <p:cNvPr id="27" name="Slide Number Placeholder 5">
            <a:extLst>
              <a:ext uri="{FF2B5EF4-FFF2-40B4-BE49-F238E27FC236}">
                <a16:creationId xmlns:a16="http://schemas.microsoft.com/office/drawing/2014/main" id="{55A797C3-7627-8CDD-9A60-A63CC65EAA5A}"/>
              </a:ext>
            </a:extLst>
          </p:cNvPr>
          <p:cNvSpPr>
            <a:spLocks noGrp="1"/>
          </p:cNvSpPr>
          <p:nvPr>
            <p:ph type="sldNum" sz="quarter" idx="4294967295"/>
          </p:nvPr>
        </p:nvSpPr>
        <p:spPr>
          <a:xfrm>
            <a:off x="8729560" y="4911474"/>
            <a:ext cx="342581" cy="96296"/>
          </a:xfrm>
          <a:prstGeom prst="rect">
            <a:avLst/>
          </a:prstGeom>
        </p:spPr>
        <p:txBody>
          <a:bodyPr anchor="ctr" anchorCtr="0"/>
          <a:lstStyle>
            <a:lvl1pPr rtl="0">
              <a:defRPr>
                <a:solidFill>
                  <a:srgbClr val="881946"/>
                </a:solidFill>
              </a:defRPr>
            </a:lvl1pPr>
          </a:lstStyle>
          <a:p>
            <a:fld id="{A90607E6-BCED-4FC1-A345-AB2A307AB80F}" type="slidenum">
              <a:rPr lang="en-US" sz="700" b="1" smtClean="0"/>
              <a:pPr/>
              <a:t>‹#›</a:t>
            </a:fld>
            <a:endParaRPr lang="en-US" b="1"/>
          </a:p>
        </p:txBody>
      </p:sp>
      <p:pic>
        <p:nvPicPr>
          <p:cNvPr id="28" name="Graphic 4">
            <a:extLst>
              <a:ext uri="{FF2B5EF4-FFF2-40B4-BE49-F238E27FC236}">
                <a16:creationId xmlns:a16="http://schemas.microsoft.com/office/drawing/2014/main" id="{5BD3CCDE-B48F-B622-752B-D56D51D19230}"/>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255140" y="4913719"/>
            <a:ext cx="380786" cy="113702"/>
          </a:xfrm>
          <a:prstGeom prst="rect">
            <a:avLst/>
          </a:prstGeom>
        </p:spPr>
      </p:pic>
      <p:sp>
        <p:nvSpPr>
          <p:cNvPr id="30" name="Marcador de texto 26">
            <a:extLst>
              <a:ext uri="{FF2B5EF4-FFF2-40B4-BE49-F238E27FC236}">
                <a16:creationId xmlns:a16="http://schemas.microsoft.com/office/drawing/2014/main" id="{B381FBDB-0670-BABE-E5A2-D843CA9C5869}"/>
              </a:ext>
            </a:extLst>
          </p:cNvPr>
          <p:cNvSpPr>
            <a:spLocks noGrp="1"/>
          </p:cNvSpPr>
          <p:nvPr>
            <p:ph type="body" sz="quarter" idx="30" hasCustomPrompt="1"/>
          </p:nvPr>
        </p:nvSpPr>
        <p:spPr>
          <a:xfrm>
            <a:off x="3544471" y="2049385"/>
            <a:ext cx="2055054" cy="1669345"/>
          </a:xfrm>
        </p:spPr>
        <p:txBody>
          <a:bodyPr/>
          <a:lstStyle>
            <a:lvl1pPr marL="0" indent="0" rtl="0">
              <a:lnSpc>
                <a:spcPct val="110000"/>
              </a:lnSpc>
              <a:buNone/>
              <a:defRPr>
                <a:solidFill>
                  <a:schemeClr val="tx2"/>
                </a:solidFill>
              </a:defRPr>
            </a:lvl1pPr>
          </a:lstStyle>
          <a:p>
            <a:pPr lvl="0"/>
            <a:r>
              <a:rPr lang="en-US"/>
              <a:t>Here goes a question. You can decrease the font size in case the question is longer than six lines so it doesn’t look too clutter?</a:t>
            </a:r>
          </a:p>
        </p:txBody>
      </p:sp>
      <p:sp>
        <p:nvSpPr>
          <p:cNvPr id="31" name="Marcador de texto 26">
            <a:extLst>
              <a:ext uri="{FF2B5EF4-FFF2-40B4-BE49-F238E27FC236}">
                <a16:creationId xmlns:a16="http://schemas.microsoft.com/office/drawing/2014/main" id="{9C410205-A72B-4E4F-3970-3102648E6E44}"/>
              </a:ext>
            </a:extLst>
          </p:cNvPr>
          <p:cNvSpPr>
            <a:spLocks noGrp="1"/>
          </p:cNvSpPr>
          <p:nvPr>
            <p:ph type="body" sz="quarter" idx="31" hasCustomPrompt="1"/>
          </p:nvPr>
        </p:nvSpPr>
        <p:spPr>
          <a:xfrm>
            <a:off x="6339710" y="2049385"/>
            <a:ext cx="2055054" cy="1669345"/>
          </a:xfrm>
        </p:spPr>
        <p:txBody>
          <a:bodyPr/>
          <a:lstStyle>
            <a:lvl1pPr marL="0" indent="0" rtl="0">
              <a:lnSpc>
                <a:spcPct val="110000"/>
              </a:lnSpc>
              <a:buNone/>
              <a:defRPr>
                <a:solidFill>
                  <a:schemeClr val="tx2"/>
                </a:solidFill>
              </a:defRPr>
            </a:lvl1pPr>
          </a:lstStyle>
          <a:p>
            <a:pPr lvl="0"/>
            <a:r>
              <a:rPr lang="en-US"/>
              <a:t>Here goes a question. You can decrease the font size in case the question is longer than six lines so it doesn’t look too clutter?</a:t>
            </a:r>
          </a:p>
        </p:txBody>
      </p:sp>
      <p:sp>
        <p:nvSpPr>
          <p:cNvPr id="32" name="Marcador de texto 11">
            <a:extLst>
              <a:ext uri="{FF2B5EF4-FFF2-40B4-BE49-F238E27FC236}">
                <a16:creationId xmlns:a16="http://schemas.microsoft.com/office/drawing/2014/main" id="{B1086DAB-C32D-3A57-5ECA-03B0E7738F91}"/>
              </a:ext>
            </a:extLst>
          </p:cNvPr>
          <p:cNvSpPr>
            <a:spLocks noGrp="1"/>
          </p:cNvSpPr>
          <p:nvPr>
            <p:ph type="body" sz="quarter" idx="32" hasCustomPrompt="1"/>
          </p:nvPr>
        </p:nvSpPr>
        <p:spPr>
          <a:xfrm>
            <a:off x="267096" y="4861594"/>
            <a:ext cx="7523163" cy="231775"/>
          </a:xfrm>
        </p:spPr>
        <p:txBody>
          <a:bodyPr anchor="b"/>
          <a:lstStyle>
            <a:lvl1pPr marL="0" indent="0" rtl="0">
              <a:buNone/>
              <a:defRPr sz="700">
                <a:solidFill>
                  <a:srgbClr val="3F4043"/>
                </a:solidFill>
              </a:defRPr>
            </a:lvl1pPr>
          </a:lstStyle>
          <a:p>
            <a:pPr marL="0" marR="0" lvl="0" indent="0" algn="l" defTabSz="10728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pace for footnotes or additional information</a:t>
            </a:r>
          </a:p>
        </p:txBody>
      </p:sp>
    </p:spTree>
    <p:extLst>
      <p:ext uri="{BB962C8B-B14F-4D97-AF65-F5344CB8AC3E}">
        <p14:creationId xmlns:p14="http://schemas.microsoft.com/office/powerpoint/2010/main" val="42669789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ld full page textur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3C284DE2-7838-F297-DEF7-4FBC577304C2}"/>
              </a:ext>
            </a:extLst>
          </p:cNvPr>
          <p:cNvGraphicFramePr>
            <a:graphicFrameLocks noChangeAspect="1"/>
          </p:cNvGraphicFramePr>
          <p:nvPr userDrawn="1">
            <p:custDataLst>
              <p:tags r:id="rId1"/>
            </p:custDataLst>
            <p:extLst>
              <p:ext uri="{D42A27DB-BD31-4B8C-83A1-F6EECF244321}">
                <p14:modId xmlns:p14="http://schemas.microsoft.com/office/powerpoint/2010/main" val="1364987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4" name="think-cell data - do not delete" hidden="1">
                        <a:extLst>
                          <a:ext uri="{FF2B5EF4-FFF2-40B4-BE49-F238E27FC236}">
                            <a16:creationId xmlns:a16="http://schemas.microsoft.com/office/drawing/2014/main" id="{3C284DE2-7838-F297-DEF7-4FBC577304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Google Shape;149;p16">
            <a:extLst>
              <a:ext uri="{FF2B5EF4-FFF2-40B4-BE49-F238E27FC236}">
                <a16:creationId xmlns:a16="http://schemas.microsoft.com/office/drawing/2014/main" id="{B88626DF-CC30-630F-5C95-5697288015EB}"/>
              </a:ext>
            </a:extLst>
          </p:cNvPr>
          <p:cNvSpPr/>
          <p:nvPr userDrawn="1"/>
        </p:nvSpPr>
        <p:spPr>
          <a:xfrm>
            <a:off x="-3265" y="-23643"/>
            <a:ext cx="9157775" cy="520511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3" name="TextBox 38">
            <a:extLst>
              <a:ext uri="{FF2B5EF4-FFF2-40B4-BE49-F238E27FC236}">
                <a16:creationId xmlns:a16="http://schemas.microsoft.com/office/drawing/2014/main" id="{6A42F18B-6AF3-C92B-B48C-C12A5E5A744C}"/>
              </a:ext>
            </a:extLst>
          </p:cNvPr>
          <p:cNvSpPr txBox="1"/>
          <p:nvPr userDrawn="1"/>
        </p:nvSpPr>
        <p:spPr bwMode="gray">
          <a:xfrm>
            <a:off x="6774511" y="5120640"/>
            <a:ext cx="0" cy="0"/>
          </a:xfrm>
          <a:prstGeom prst="rect">
            <a:avLst/>
          </a:prstGeom>
        </p:spPr>
        <p:txBody>
          <a:bodyPr vert="horz" wrap="none" lIns="0" tIns="0" rIns="0" bIns="0" rtlCol="0" anchor="t">
            <a:noAutofit/>
          </a:bodyPr>
          <a:lstStyle/>
          <a:p>
            <a:pPr rtl="0">
              <a:spcBef>
                <a:spcPts val="600"/>
              </a:spcBef>
            </a:pPr>
            <a:endParaRPr lang="en-US">
              <a:solidFill>
                <a:srgbClr val="606060"/>
              </a:solidFill>
            </a:endParaRPr>
          </a:p>
        </p:txBody>
      </p:sp>
      <p:sp>
        <p:nvSpPr>
          <p:cNvPr id="4" name="Right Triangle 6">
            <a:extLst>
              <a:ext uri="{FF2B5EF4-FFF2-40B4-BE49-F238E27FC236}">
                <a16:creationId xmlns:a16="http://schemas.microsoft.com/office/drawing/2014/main" id="{0B9C419F-9D7D-6752-9C0B-29E4C4F3BA5A}"/>
              </a:ext>
            </a:extLst>
          </p:cNvPr>
          <p:cNvSpPr/>
          <p:nvPr userDrawn="1"/>
        </p:nvSpPr>
        <p:spPr>
          <a:xfrm>
            <a:off x="-8626" y="2775225"/>
            <a:ext cx="2408478" cy="2408478"/>
          </a:xfrm>
          <a:prstGeom prst="rtTriangle">
            <a:avLst/>
          </a:prstGeom>
          <a:gradFill>
            <a:gsLst>
              <a:gs pos="0">
                <a:srgbClr val="681436"/>
              </a:gs>
              <a:gs pos="99000">
                <a:srgbClr val="6A1437">
                  <a:alpha val="74822"/>
                </a:srgbClr>
              </a:gs>
            </a:gsLst>
            <a:lin ang="0" scaled="0"/>
          </a:gra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5" name="Parallelogram 7">
            <a:extLst>
              <a:ext uri="{FF2B5EF4-FFF2-40B4-BE49-F238E27FC236}">
                <a16:creationId xmlns:a16="http://schemas.microsoft.com/office/drawing/2014/main" id="{734A02A8-313D-4B73-BA7C-59B64963BC16}"/>
              </a:ext>
            </a:extLst>
          </p:cNvPr>
          <p:cNvSpPr/>
          <p:nvPr userDrawn="1"/>
        </p:nvSpPr>
        <p:spPr>
          <a:xfrm flipH="1">
            <a:off x="-14927" y="-23643"/>
            <a:ext cx="5909771" cy="5205110"/>
          </a:xfrm>
          <a:custGeom>
            <a:avLst/>
            <a:gdLst>
              <a:gd name="connsiteX0" fmla="*/ 0 w 8688924"/>
              <a:gd name="connsiteY0" fmla="*/ 5205110 h 5205110"/>
              <a:gd name="connsiteX1" fmla="*/ 5191941 w 8688924"/>
              <a:gd name="connsiteY1" fmla="*/ 0 h 5205110"/>
              <a:gd name="connsiteX2" fmla="*/ 8688924 w 8688924"/>
              <a:gd name="connsiteY2" fmla="*/ 0 h 5205110"/>
              <a:gd name="connsiteX3" fmla="*/ 3496983 w 8688924"/>
              <a:gd name="connsiteY3" fmla="*/ 5205110 h 5205110"/>
              <a:gd name="connsiteX4" fmla="*/ 0 w 8688924"/>
              <a:gd name="connsiteY4" fmla="*/ 5205110 h 5205110"/>
              <a:gd name="connsiteX0" fmla="*/ 0 w 8688924"/>
              <a:gd name="connsiteY0" fmla="*/ 5210042 h 5210042"/>
              <a:gd name="connsiteX1" fmla="*/ 5191941 w 8688924"/>
              <a:gd name="connsiteY1" fmla="*/ 4932 h 5210042"/>
              <a:gd name="connsiteX2" fmla="*/ 6794957 w 8688924"/>
              <a:gd name="connsiteY2" fmla="*/ 0 h 5210042"/>
              <a:gd name="connsiteX3" fmla="*/ 8688924 w 8688924"/>
              <a:gd name="connsiteY3" fmla="*/ 4932 h 5210042"/>
              <a:gd name="connsiteX4" fmla="*/ 3496983 w 8688924"/>
              <a:gd name="connsiteY4" fmla="*/ 5210042 h 5210042"/>
              <a:gd name="connsiteX5" fmla="*/ 0 w 8688924"/>
              <a:gd name="connsiteY5" fmla="*/ 5210042 h 5210042"/>
              <a:gd name="connsiteX0" fmla="*/ 0 w 8688924"/>
              <a:gd name="connsiteY0" fmla="*/ 5205110 h 5205110"/>
              <a:gd name="connsiteX1" fmla="*/ 5191941 w 8688924"/>
              <a:gd name="connsiteY1" fmla="*/ 0 h 5205110"/>
              <a:gd name="connsiteX2" fmla="*/ 5923419 w 8688924"/>
              <a:gd name="connsiteY2" fmla="*/ 9356 h 5205110"/>
              <a:gd name="connsiteX3" fmla="*/ 8688924 w 8688924"/>
              <a:gd name="connsiteY3" fmla="*/ 0 h 5205110"/>
              <a:gd name="connsiteX4" fmla="*/ 3496983 w 8688924"/>
              <a:gd name="connsiteY4" fmla="*/ 5205110 h 5205110"/>
              <a:gd name="connsiteX5" fmla="*/ 0 w 8688924"/>
              <a:gd name="connsiteY5" fmla="*/ 5205110 h 5205110"/>
              <a:gd name="connsiteX0" fmla="*/ 0 w 5923419"/>
              <a:gd name="connsiteY0" fmla="*/ 5205110 h 5205110"/>
              <a:gd name="connsiteX1" fmla="*/ 5191941 w 5923419"/>
              <a:gd name="connsiteY1" fmla="*/ 0 h 5205110"/>
              <a:gd name="connsiteX2" fmla="*/ 5923419 w 5923419"/>
              <a:gd name="connsiteY2" fmla="*/ 9356 h 5205110"/>
              <a:gd name="connsiteX3" fmla="*/ 5902861 w 5923419"/>
              <a:gd name="connsiteY3" fmla="*/ 2800350 h 5205110"/>
              <a:gd name="connsiteX4" fmla="*/ 3496983 w 5923419"/>
              <a:gd name="connsiteY4" fmla="*/ 5205110 h 5205110"/>
              <a:gd name="connsiteX5" fmla="*/ 0 w 5923419"/>
              <a:gd name="connsiteY5" fmla="*/ 5205110 h 5205110"/>
              <a:gd name="connsiteX0" fmla="*/ 0 w 5909771"/>
              <a:gd name="connsiteY0" fmla="*/ 5205110 h 5205110"/>
              <a:gd name="connsiteX1" fmla="*/ 5191941 w 5909771"/>
              <a:gd name="connsiteY1" fmla="*/ 0 h 5205110"/>
              <a:gd name="connsiteX2" fmla="*/ 5909771 w 5909771"/>
              <a:gd name="connsiteY2" fmla="*/ 2533 h 5205110"/>
              <a:gd name="connsiteX3" fmla="*/ 5902861 w 5909771"/>
              <a:gd name="connsiteY3" fmla="*/ 2800350 h 5205110"/>
              <a:gd name="connsiteX4" fmla="*/ 3496983 w 5909771"/>
              <a:gd name="connsiteY4" fmla="*/ 5205110 h 5205110"/>
              <a:gd name="connsiteX5" fmla="*/ 0 w 5909771"/>
              <a:gd name="connsiteY5" fmla="*/ 5205110 h 5205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9771" h="5205110">
                <a:moveTo>
                  <a:pt x="0" y="5205110"/>
                </a:moveTo>
                <a:lnTo>
                  <a:pt x="5191941" y="0"/>
                </a:lnTo>
                <a:lnTo>
                  <a:pt x="5909771" y="2533"/>
                </a:lnTo>
                <a:cubicBezTo>
                  <a:pt x="5907468" y="935139"/>
                  <a:pt x="5905164" y="1867744"/>
                  <a:pt x="5902861" y="2800350"/>
                </a:cubicBezTo>
                <a:lnTo>
                  <a:pt x="3496983" y="5205110"/>
                </a:lnTo>
                <a:lnTo>
                  <a:pt x="0" y="5205110"/>
                </a:lnTo>
                <a:close/>
              </a:path>
            </a:pathLst>
          </a:custGeom>
          <a:solidFill>
            <a:srgbClr val="56032B">
              <a:alpha val="2244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575"/>
          </a:p>
        </p:txBody>
      </p:sp>
      <p:sp>
        <p:nvSpPr>
          <p:cNvPr id="6" name="Google Shape;157;p17">
            <a:extLst>
              <a:ext uri="{FF2B5EF4-FFF2-40B4-BE49-F238E27FC236}">
                <a16:creationId xmlns:a16="http://schemas.microsoft.com/office/drawing/2014/main" id="{8C73568C-06B0-D657-0F6D-D78A21D861BF}"/>
              </a:ext>
            </a:extLst>
          </p:cNvPr>
          <p:cNvSpPr/>
          <p:nvPr userDrawn="1"/>
        </p:nvSpPr>
        <p:spPr>
          <a:xfrm rot="10023183">
            <a:off x="5508535" y="432792"/>
            <a:ext cx="396598" cy="396598"/>
          </a:xfrm>
          <a:prstGeom prst="ellipse">
            <a:avLst/>
          </a:prstGeom>
          <a:gradFill>
            <a:gsLst>
              <a:gs pos="0">
                <a:srgbClr val="8D193F">
                  <a:lumMod val="0"/>
                  <a:alpha val="24474"/>
                </a:srgbClr>
              </a:gs>
              <a:gs pos="100000">
                <a:srgbClr val="881946">
                  <a:lumMod val="53000"/>
                  <a:alpha val="43925"/>
                </a:srgbClr>
              </a:gs>
            </a:gsLst>
            <a:lin ang="2700006"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7" name="Google Shape;157;p17">
            <a:extLst>
              <a:ext uri="{FF2B5EF4-FFF2-40B4-BE49-F238E27FC236}">
                <a16:creationId xmlns:a16="http://schemas.microsoft.com/office/drawing/2014/main" id="{5FC266CB-62A8-BB5F-DDBA-3BD710773F33}"/>
              </a:ext>
            </a:extLst>
          </p:cNvPr>
          <p:cNvSpPr/>
          <p:nvPr userDrawn="1"/>
        </p:nvSpPr>
        <p:spPr>
          <a:xfrm rot="10023183">
            <a:off x="6963745" y="4150251"/>
            <a:ext cx="177495" cy="177495"/>
          </a:xfrm>
          <a:prstGeom prst="ellipse">
            <a:avLst/>
          </a:prstGeom>
          <a:gradFill>
            <a:gsLst>
              <a:gs pos="0">
                <a:srgbClr val="8D193F">
                  <a:lumMod val="0"/>
                  <a:alpha val="24474"/>
                </a:srgbClr>
              </a:gs>
              <a:gs pos="100000">
                <a:srgbClr val="881946">
                  <a:lumMod val="53000"/>
                  <a:alpha val="43925"/>
                </a:srgbClr>
              </a:gs>
            </a:gsLst>
            <a:lin ang="2700006"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8" name="Marcador de texto 25">
            <a:extLst>
              <a:ext uri="{FF2B5EF4-FFF2-40B4-BE49-F238E27FC236}">
                <a16:creationId xmlns:a16="http://schemas.microsoft.com/office/drawing/2014/main" id="{6C9C290B-A496-BF30-C020-CA5B9E7EA022}"/>
              </a:ext>
            </a:extLst>
          </p:cNvPr>
          <p:cNvSpPr>
            <a:spLocks noGrp="1"/>
          </p:cNvSpPr>
          <p:nvPr>
            <p:ph type="body" sz="quarter" idx="10" hasCustomPrompt="1"/>
          </p:nvPr>
        </p:nvSpPr>
        <p:spPr>
          <a:xfrm>
            <a:off x="592128" y="428182"/>
            <a:ext cx="5322594" cy="2759447"/>
          </a:xfrm>
        </p:spPr>
        <p:txBody>
          <a:bodyPr/>
          <a:lstStyle>
            <a:lvl1pPr marL="0" indent="0" rtl="0">
              <a:lnSpc>
                <a:spcPct val="120000"/>
              </a:lnSpc>
              <a:buNone/>
              <a:defRPr sz="3600" b="0" i="0" spc="30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THIS IS AN ALTERNATIVE DIVIDER SLIDE WITH REUSABLE TEXTURES</a:t>
            </a:r>
          </a:p>
        </p:txBody>
      </p:sp>
      <p:sp>
        <p:nvSpPr>
          <p:cNvPr id="9" name="Marcador de texto 27">
            <a:extLst>
              <a:ext uri="{FF2B5EF4-FFF2-40B4-BE49-F238E27FC236}">
                <a16:creationId xmlns:a16="http://schemas.microsoft.com/office/drawing/2014/main" id="{EE08B127-2A26-8752-EFF9-1081FE3D2B80}"/>
              </a:ext>
            </a:extLst>
          </p:cNvPr>
          <p:cNvSpPr>
            <a:spLocks noGrp="1"/>
          </p:cNvSpPr>
          <p:nvPr>
            <p:ph type="body" sz="quarter" idx="11" hasCustomPrompt="1"/>
          </p:nvPr>
        </p:nvSpPr>
        <p:spPr>
          <a:xfrm>
            <a:off x="592128" y="3304214"/>
            <a:ext cx="4392270" cy="708051"/>
          </a:xfrm>
        </p:spPr>
        <p:txBody>
          <a:bodyPr/>
          <a:lstStyle>
            <a:lvl1pPr marL="0" indent="0" rtl="0">
              <a:lnSpc>
                <a:spcPct val="110000"/>
              </a:lnSpc>
              <a:buNone/>
              <a:defRPr sz="12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marL="0" marR="0" lvl="0" indent="0" algn="l" defTabSz="10728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t can also have other uses. Include here a subtitle or prompt. It can also have other uses. Include here a subtitle or prompt. It can also have other uses. Include here a subtitle or prompt. </a:t>
            </a:r>
          </a:p>
          <a:p>
            <a:pPr marL="0" marR="0" lvl="0" indent="0" algn="l" defTabSz="107284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lvl="0"/>
            <a:r>
              <a:rPr lang="en-US"/>
              <a:t> </a:t>
            </a:r>
          </a:p>
        </p:txBody>
      </p:sp>
      <p:sp>
        <p:nvSpPr>
          <p:cNvPr id="10" name="Google Shape;157;p17">
            <a:extLst>
              <a:ext uri="{FF2B5EF4-FFF2-40B4-BE49-F238E27FC236}">
                <a16:creationId xmlns:a16="http://schemas.microsoft.com/office/drawing/2014/main" id="{2A16E30C-52CD-94C0-EC14-938C835E3DFB}"/>
              </a:ext>
            </a:extLst>
          </p:cNvPr>
          <p:cNvSpPr/>
          <p:nvPr userDrawn="1"/>
        </p:nvSpPr>
        <p:spPr>
          <a:xfrm rot="10023183">
            <a:off x="8075969" y="1982336"/>
            <a:ext cx="739236" cy="739236"/>
          </a:xfrm>
          <a:prstGeom prst="ellipse">
            <a:avLst/>
          </a:prstGeom>
          <a:gradFill>
            <a:gsLst>
              <a:gs pos="100000">
                <a:srgbClr val="B4215D"/>
              </a:gs>
              <a:gs pos="0">
                <a:srgbClr val="8E1940"/>
              </a:gs>
            </a:gsLst>
            <a:lin ang="2700006"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pic>
        <p:nvPicPr>
          <p:cNvPr id="11" name="Gráfico 10">
            <a:extLst>
              <a:ext uri="{FF2B5EF4-FFF2-40B4-BE49-F238E27FC236}">
                <a16:creationId xmlns:a16="http://schemas.microsoft.com/office/drawing/2014/main" id="{C32E7172-AD37-EDEB-A351-C32D28DC4ED2}"/>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362700" y="428182"/>
            <a:ext cx="2781300" cy="3784600"/>
          </a:xfrm>
          <a:prstGeom prst="rect">
            <a:avLst/>
          </a:prstGeom>
        </p:spPr>
      </p:pic>
      <p:sp>
        <p:nvSpPr>
          <p:cNvPr id="12" name="Slide Number Placeholder 5">
            <a:extLst>
              <a:ext uri="{FF2B5EF4-FFF2-40B4-BE49-F238E27FC236}">
                <a16:creationId xmlns:a16="http://schemas.microsoft.com/office/drawing/2014/main" id="{C7659B21-5F27-8535-808B-23241176A6E3}"/>
              </a:ext>
            </a:extLst>
          </p:cNvPr>
          <p:cNvSpPr>
            <a:spLocks noGrp="1"/>
          </p:cNvSpPr>
          <p:nvPr>
            <p:ph type="sldNum" sz="quarter" idx="4294967295"/>
          </p:nvPr>
        </p:nvSpPr>
        <p:spPr>
          <a:xfrm>
            <a:off x="8729560" y="4911474"/>
            <a:ext cx="342581" cy="96296"/>
          </a:xfrm>
          <a:prstGeom prst="rect">
            <a:avLst/>
          </a:prstGeom>
        </p:spPr>
        <p:txBody>
          <a:bodyPr anchor="ctr" anchorCtr="0"/>
          <a:lstStyle>
            <a:lvl1pPr rtl="0">
              <a:defRPr>
                <a:solidFill>
                  <a:schemeClr val="bg1"/>
                </a:solidFill>
              </a:defRPr>
            </a:lvl1pPr>
          </a:lstStyle>
          <a:p>
            <a:fld id="{A90607E6-BCED-4FC1-A345-AB2A307AB80F}" type="slidenum">
              <a:rPr lang="en-US" sz="700" b="1" smtClean="0"/>
              <a:pPr/>
              <a:t>‹#›</a:t>
            </a:fld>
            <a:endParaRPr lang="en-US" b="1"/>
          </a:p>
        </p:txBody>
      </p:sp>
      <p:pic>
        <p:nvPicPr>
          <p:cNvPr id="13" name="Graphic 4">
            <a:extLst>
              <a:ext uri="{FF2B5EF4-FFF2-40B4-BE49-F238E27FC236}">
                <a16:creationId xmlns:a16="http://schemas.microsoft.com/office/drawing/2014/main" id="{6FDB3CFF-E163-DF66-C727-54D76FD16A57}"/>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255140" y="4913719"/>
            <a:ext cx="380786" cy="113702"/>
          </a:xfrm>
          <a:prstGeom prst="rect">
            <a:avLst/>
          </a:prstGeom>
        </p:spPr>
      </p:pic>
    </p:spTree>
    <p:extLst>
      <p:ext uri="{BB962C8B-B14F-4D97-AF65-F5344CB8AC3E}">
        <p14:creationId xmlns:p14="http://schemas.microsoft.com/office/powerpoint/2010/main" val="169597855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ld closing sli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A76FBFD-5FF0-B45E-CB60-24AE6038BBD0}"/>
              </a:ext>
            </a:extLst>
          </p:cNvPr>
          <p:cNvGraphicFramePr>
            <a:graphicFrameLocks noChangeAspect="1"/>
          </p:cNvGraphicFramePr>
          <p:nvPr userDrawn="1">
            <p:custDataLst>
              <p:tags r:id="rId1"/>
            </p:custDataLst>
            <p:extLst>
              <p:ext uri="{D42A27DB-BD31-4B8C-83A1-F6EECF244321}">
                <p14:modId xmlns:p14="http://schemas.microsoft.com/office/powerpoint/2010/main" val="655935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8A76FBFD-5FF0-B45E-CB60-24AE6038B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Google Shape;143;p16">
            <a:extLst>
              <a:ext uri="{FF2B5EF4-FFF2-40B4-BE49-F238E27FC236}">
                <a16:creationId xmlns:a16="http://schemas.microsoft.com/office/drawing/2014/main" id="{0A966A00-DD9D-1FC2-C77D-0BA3FDE297FC}"/>
              </a:ext>
            </a:extLst>
          </p:cNvPr>
          <p:cNvSpPr/>
          <p:nvPr userDrawn="1"/>
        </p:nvSpPr>
        <p:spPr>
          <a:xfrm>
            <a:off x="-13775" y="-13426"/>
            <a:ext cx="9183175" cy="5242971"/>
          </a:xfrm>
          <a:prstGeom prst="rect">
            <a:avLst/>
          </a:prstGeom>
          <a:gradFill>
            <a:gsLst>
              <a:gs pos="0">
                <a:schemeClr val="tx2"/>
              </a:gs>
              <a:gs pos="100000">
                <a:srgbClr val="681436"/>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pic>
        <p:nvPicPr>
          <p:cNvPr id="3" name="Picture 4">
            <a:extLst>
              <a:ext uri="{FF2B5EF4-FFF2-40B4-BE49-F238E27FC236}">
                <a16:creationId xmlns:a16="http://schemas.microsoft.com/office/drawing/2014/main" id="{7881A063-68AF-9F52-9335-42F3D5F8E241}"/>
              </a:ext>
            </a:extLst>
          </p:cNvPr>
          <p:cNvPicPr>
            <a:picLocks noChangeAspect="1"/>
          </p:cNvPicPr>
          <p:nvPr userDrawn="1"/>
        </p:nvPicPr>
        <p:blipFill rotWithShape="1">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t="2" r="15"/>
          <a:stretch/>
        </p:blipFill>
        <p:spPr>
          <a:xfrm>
            <a:off x="7092504" y="-8132"/>
            <a:ext cx="2084786" cy="2109211"/>
          </a:xfrm>
          <a:prstGeom prst="rect">
            <a:avLst/>
          </a:prstGeom>
        </p:spPr>
      </p:pic>
      <p:sp>
        <p:nvSpPr>
          <p:cNvPr id="4" name="Right Triangle 3">
            <a:extLst>
              <a:ext uri="{FF2B5EF4-FFF2-40B4-BE49-F238E27FC236}">
                <a16:creationId xmlns:a16="http://schemas.microsoft.com/office/drawing/2014/main" id="{26703486-C53D-32CD-5EC0-1ABA474E7AA4}"/>
              </a:ext>
            </a:extLst>
          </p:cNvPr>
          <p:cNvSpPr/>
          <p:nvPr userDrawn="1"/>
        </p:nvSpPr>
        <p:spPr>
          <a:xfrm>
            <a:off x="-17252" y="2101079"/>
            <a:ext cx="2237510" cy="3128466"/>
          </a:xfrm>
          <a:prstGeom prst="rtTriangle">
            <a:avLst/>
          </a:prstGeom>
          <a:solidFill>
            <a:srgbClr val="68143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5" name="Marcador de texto 25">
            <a:extLst>
              <a:ext uri="{FF2B5EF4-FFF2-40B4-BE49-F238E27FC236}">
                <a16:creationId xmlns:a16="http://schemas.microsoft.com/office/drawing/2014/main" id="{899EB1B4-4962-8E90-47D2-58B0928B0662}"/>
              </a:ext>
            </a:extLst>
          </p:cNvPr>
          <p:cNvSpPr>
            <a:spLocks noGrp="1"/>
          </p:cNvSpPr>
          <p:nvPr>
            <p:ph type="body" sz="quarter" idx="10" hasCustomPrompt="1"/>
          </p:nvPr>
        </p:nvSpPr>
        <p:spPr>
          <a:xfrm>
            <a:off x="1910703" y="2231672"/>
            <a:ext cx="5322594" cy="680157"/>
          </a:xfrm>
        </p:spPr>
        <p:txBody>
          <a:bodyPr anchor="ctr" anchorCtr="0"/>
          <a:lstStyle>
            <a:lvl1pPr marL="0" indent="0" algn="ctr" rtl="0">
              <a:lnSpc>
                <a:spcPct val="120000"/>
              </a:lnSpc>
              <a:buNone/>
              <a:defRPr sz="2800" b="0" i="0" spc="30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THANK YOU!</a:t>
            </a:r>
          </a:p>
        </p:txBody>
      </p:sp>
      <p:sp>
        <p:nvSpPr>
          <p:cNvPr id="6" name="Slide Number Placeholder 5">
            <a:extLst>
              <a:ext uri="{FF2B5EF4-FFF2-40B4-BE49-F238E27FC236}">
                <a16:creationId xmlns:a16="http://schemas.microsoft.com/office/drawing/2014/main" id="{FFC0824F-7A5D-5CD2-B600-CC92A5996013}"/>
              </a:ext>
            </a:extLst>
          </p:cNvPr>
          <p:cNvSpPr>
            <a:spLocks noGrp="1"/>
          </p:cNvSpPr>
          <p:nvPr>
            <p:ph type="sldNum" sz="quarter" idx="4294967295"/>
          </p:nvPr>
        </p:nvSpPr>
        <p:spPr>
          <a:xfrm>
            <a:off x="8729560" y="4911474"/>
            <a:ext cx="342581" cy="96296"/>
          </a:xfrm>
          <a:prstGeom prst="rect">
            <a:avLst/>
          </a:prstGeom>
        </p:spPr>
        <p:txBody>
          <a:bodyPr anchor="ctr" anchorCtr="0"/>
          <a:lstStyle>
            <a:lvl1pPr rtl="0">
              <a:defRPr>
                <a:solidFill>
                  <a:schemeClr val="tx1"/>
                </a:solidFill>
              </a:defRPr>
            </a:lvl1pPr>
          </a:lstStyle>
          <a:p>
            <a:fld id="{A90607E6-BCED-4FC1-A345-AB2A307AB80F}" type="slidenum">
              <a:rPr lang="en-US" sz="700" b="1" smtClean="0"/>
              <a:pPr/>
              <a:t>‹#›</a:t>
            </a:fld>
            <a:endParaRPr lang="en-US" b="1"/>
          </a:p>
        </p:txBody>
      </p:sp>
      <p:pic>
        <p:nvPicPr>
          <p:cNvPr id="7" name="Graphic 4">
            <a:extLst>
              <a:ext uri="{FF2B5EF4-FFF2-40B4-BE49-F238E27FC236}">
                <a16:creationId xmlns:a16="http://schemas.microsoft.com/office/drawing/2014/main" id="{FB99BE56-EC03-F681-172B-0A124EF2462B}"/>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255140" y="4913719"/>
            <a:ext cx="380786" cy="113702"/>
          </a:xfrm>
          <a:prstGeom prst="rect">
            <a:avLst/>
          </a:prstGeom>
        </p:spPr>
      </p:pic>
    </p:spTree>
    <p:extLst>
      <p:ext uri="{BB962C8B-B14F-4D97-AF65-F5344CB8AC3E}">
        <p14:creationId xmlns:p14="http://schemas.microsoft.com/office/powerpoint/2010/main" val="26888060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sual assets">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F8A0DE4-0275-E1D1-01AA-01E527703558}"/>
              </a:ext>
            </a:extLst>
          </p:cNvPr>
          <p:cNvGraphicFramePr>
            <a:graphicFrameLocks noChangeAspect="1"/>
          </p:cNvGraphicFramePr>
          <p:nvPr userDrawn="1">
            <p:custDataLst>
              <p:tags r:id="rId1"/>
            </p:custDataLst>
            <p:extLst>
              <p:ext uri="{D42A27DB-BD31-4B8C-83A1-F6EECF244321}">
                <p14:modId xmlns:p14="http://schemas.microsoft.com/office/powerpoint/2010/main" val="20477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think-cell data - do not delete" hidden="1">
                        <a:extLst>
                          <a:ext uri="{FF2B5EF4-FFF2-40B4-BE49-F238E27FC236}">
                            <a16:creationId xmlns:a16="http://schemas.microsoft.com/office/drawing/2014/main" id="{AF8A0DE4-0275-E1D1-01AA-01E5277035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Google Shape;143;p16">
            <a:extLst>
              <a:ext uri="{FF2B5EF4-FFF2-40B4-BE49-F238E27FC236}">
                <a16:creationId xmlns:a16="http://schemas.microsoft.com/office/drawing/2014/main" id="{F82E8D37-AC24-3C39-909F-6F0B72E1EC46}"/>
              </a:ext>
            </a:extLst>
          </p:cNvPr>
          <p:cNvSpPr/>
          <p:nvPr userDrawn="1"/>
        </p:nvSpPr>
        <p:spPr>
          <a:xfrm>
            <a:off x="-13775" y="-13426"/>
            <a:ext cx="9233400" cy="5242971"/>
          </a:xfrm>
          <a:prstGeom prst="rect">
            <a:avLst/>
          </a:prstGeom>
          <a:gradFill>
            <a:gsLst>
              <a:gs pos="0">
                <a:srgbClr val="881946"/>
              </a:gs>
              <a:gs pos="23000">
                <a:srgbClr val="6F1237"/>
              </a:gs>
              <a:gs pos="100000">
                <a:srgbClr val="56032B"/>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5" name="Google Shape;162;p17">
            <a:extLst>
              <a:ext uri="{FF2B5EF4-FFF2-40B4-BE49-F238E27FC236}">
                <a16:creationId xmlns:a16="http://schemas.microsoft.com/office/drawing/2014/main" id="{4C2D0C37-9843-0495-412C-C3A64F14DE06}"/>
              </a:ext>
            </a:extLst>
          </p:cNvPr>
          <p:cNvSpPr/>
          <p:nvPr userDrawn="1"/>
        </p:nvSpPr>
        <p:spPr>
          <a:xfrm rot="-10376410">
            <a:off x="730836" y="1016828"/>
            <a:ext cx="327080" cy="326782"/>
          </a:xfrm>
          <a:prstGeom prst="ellipse">
            <a:avLst/>
          </a:prstGeom>
          <a:solidFill>
            <a:srgbClr val="88194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grpSp>
        <p:nvGrpSpPr>
          <p:cNvPr id="10" name="Group 13">
            <a:extLst>
              <a:ext uri="{FF2B5EF4-FFF2-40B4-BE49-F238E27FC236}">
                <a16:creationId xmlns:a16="http://schemas.microsoft.com/office/drawing/2014/main" id="{2BE13A48-B70E-46FF-8134-B0AA1E4153EE}"/>
              </a:ext>
            </a:extLst>
          </p:cNvPr>
          <p:cNvGrpSpPr/>
          <p:nvPr userDrawn="1"/>
        </p:nvGrpSpPr>
        <p:grpSpPr>
          <a:xfrm>
            <a:off x="6808133" y="2465282"/>
            <a:ext cx="2411492" cy="2764263"/>
            <a:chOff x="6808133" y="2465282"/>
            <a:chExt cx="2411492" cy="2764263"/>
          </a:xfrm>
        </p:grpSpPr>
        <p:cxnSp>
          <p:nvCxnSpPr>
            <p:cNvPr id="11" name="Straight Connector 2">
              <a:extLst>
                <a:ext uri="{FF2B5EF4-FFF2-40B4-BE49-F238E27FC236}">
                  <a16:creationId xmlns:a16="http://schemas.microsoft.com/office/drawing/2014/main" id="{543D966A-D95D-6B9A-3224-F387C4D26BC9}"/>
                </a:ext>
              </a:extLst>
            </p:cNvPr>
            <p:cNvCxnSpPr>
              <a:cxnSpLocks/>
            </p:cNvCxnSpPr>
            <p:nvPr/>
          </p:nvCxnSpPr>
          <p:spPr>
            <a:xfrm flipH="1">
              <a:off x="7291212" y="3036498"/>
              <a:ext cx="1928413" cy="2193047"/>
            </a:xfrm>
            <a:prstGeom prst="line">
              <a:avLst/>
            </a:prstGeom>
            <a:ln w="9525">
              <a:solidFill>
                <a:srgbClr val="B15771">
                  <a:alpha val="43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5">
              <a:extLst>
                <a:ext uri="{FF2B5EF4-FFF2-40B4-BE49-F238E27FC236}">
                  <a16:creationId xmlns:a16="http://schemas.microsoft.com/office/drawing/2014/main" id="{E4E58762-9C3D-17D9-29C0-C02EA82BBAA0}"/>
                </a:ext>
              </a:extLst>
            </p:cNvPr>
            <p:cNvCxnSpPr>
              <a:cxnSpLocks/>
            </p:cNvCxnSpPr>
            <p:nvPr/>
          </p:nvCxnSpPr>
          <p:spPr>
            <a:xfrm flipH="1">
              <a:off x="6808133" y="2465282"/>
              <a:ext cx="2411492" cy="2764263"/>
            </a:xfrm>
            <a:prstGeom prst="line">
              <a:avLst/>
            </a:prstGeom>
            <a:ln w="9525">
              <a:solidFill>
                <a:srgbClr val="B15771">
                  <a:alpha val="43000"/>
                </a:srgbClr>
              </a:solidFill>
            </a:ln>
          </p:spPr>
          <p:style>
            <a:lnRef idx="1">
              <a:schemeClr val="accent1"/>
            </a:lnRef>
            <a:fillRef idx="0">
              <a:schemeClr val="accent1"/>
            </a:fillRef>
            <a:effectRef idx="0">
              <a:schemeClr val="accent1"/>
            </a:effectRef>
            <a:fontRef idx="minor">
              <a:schemeClr val="tx1"/>
            </a:fontRef>
          </p:style>
        </p:cxnSp>
      </p:grpSp>
      <p:grpSp>
        <p:nvGrpSpPr>
          <p:cNvPr id="13" name="Group 15">
            <a:extLst>
              <a:ext uri="{FF2B5EF4-FFF2-40B4-BE49-F238E27FC236}">
                <a16:creationId xmlns:a16="http://schemas.microsoft.com/office/drawing/2014/main" id="{16D9A061-1538-CC78-E34E-25042C3023D7}"/>
              </a:ext>
            </a:extLst>
          </p:cNvPr>
          <p:cNvGrpSpPr/>
          <p:nvPr userDrawn="1"/>
        </p:nvGrpSpPr>
        <p:grpSpPr>
          <a:xfrm>
            <a:off x="7764574" y="3531476"/>
            <a:ext cx="1481364" cy="1698069"/>
            <a:chOff x="6808133" y="3531476"/>
            <a:chExt cx="1481364" cy="1698069"/>
          </a:xfrm>
        </p:grpSpPr>
        <p:cxnSp>
          <p:nvCxnSpPr>
            <p:cNvPr id="14" name="Straight Connector 16">
              <a:extLst>
                <a:ext uri="{FF2B5EF4-FFF2-40B4-BE49-F238E27FC236}">
                  <a16:creationId xmlns:a16="http://schemas.microsoft.com/office/drawing/2014/main" id="{5946759A-FCD2-DE12-763B-2A01234E9A70}"/>
                </a:ext>
              </a:extLst>
            </p:cNvPr>
            <p:cNvCxnSpPr>
              <a:cxnSpLocks/>
            </p:cNvCxnSpPr>
            <p:nvPr/>
          </p:nvCxnSpPr>
          <p:spPr>
            <a:xfrm flipH="1">
              <a:off x="7291212" y="4109545"/>
              <a:ext cx="984850" cy="1120000"/>
            </a:xfrm>
            <a:prstGeom prst="line">
              <a:avLst/>
            </a:prstGeom>
            <a:ln w="9525">
              <a:solidFill>
                <a:srgbClr val="B15771">
                  <a:alpha val="43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7">
              <a:extLst>
                <a:ext uri="{FF2B5EF4-FFF2-40B4-BE49-F238E27FC236}">
                  <a16:creationId xmlns:a16="http://schemas.microsoft.com/office/drawing/2014/main" id="{E2DFDD92-5DC6-6740-2AD6-427B89A5C559}"/>
                </a:ext>
              </a:extLst>
            </p:cNvPr>
            <p:cNvCxnSpPr>
              <a:cxnSpLocks/>
            </p:cNvCxnSpPr>
            <p:nvPr/>
          </p:nvCxnSpPr>
          <p:spPr>
            <a:xfrm flipH="1">
              <a:off x="6808133" y="3531476"/>
              <a:ext cx="1481364" cy="1698069"/>
            </a:xfrm>
            <a:prstGeom prst="line">
              <a:avLst/>
            </a:prstGeom>
            <a:ln w="9525">
              <a:solidFill>
                <a:srgbClr val="B15771">
                  <a:alpha val="43000"/>
                </a:srgbClr>
              </a:solidFill>
            </a:ln>
          </p:spPr>
          <p:style>
            <a:lnRef idx="1">
              <a:schemeClr val="accent1"/>
            </a:lnRef>
            <a:fillRef idx="0">
              <a:schemeClr val="accent1"/>
            </a:fillRef>
            <a:effectRef idx="0">
              <a:schemeClr val="accent1"/>
            </a:effectRef>
            <a:fontRef idx="minor">
              <a:schemeClr val="tx1"/>
            </a:fontRef>
          </p:style>
        </p:cxnSp>
      </p:grpSp>
      <p:sp>
        <p:nvSpPr>
          <p:cNvPr id="16" name="Pie 14">
            <a:extLst>
              <a:ext uri="{FF2B5EF4-FFF2-40B4-BE49-F238E27FC236}">
                <a16:creationId xmlns:a16="http://schemas.microsoft.com/office/drawing/2014/main" id="{028A3D22-B166-21A5-036A-986400E9206A}"/>
              </a:ext>
            </a:extLst>
          </p:cNvPr>
          <p:cNvSpPr/>
          <p:nvPr userDrawn="1"/>
        </p:nvSpPr>
        <p:spPr>
          <a:xfrm rot="10800000">
            <a:off x="-1661421" y="1648363"/>
            <a:ext cx="3295291" cy="3295291"/>
          </a:xfrm>
          <a:prstGeom prst="pie">
            <a:avLst>
              <a:gd name="adj1" fmla="val 5418187"/>
              <a:gd name="adj2" fmla="val 16200000"/>
            </a:avLst>
          </a:prstGeom>
          <a:gradFill>
            <a:gsLst>
              <a:gs pos="0">
                <a:srgbClr val="611333">
                  <a:alpha val="77252"/>
                </a:srgbClr>
              </a:gs>
              <a:gs pos="100000">
                <a:srgbClr val="BA4570">
                  <a:alpha val="17052"/>
                </a:srgbClr>
              </a:gs>
            </a:gsLst>
            <a:lin ang="2700006" scaled="0"/>
          </a:gra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Tree>
    <p:extLst>
      <p:ext uri="{BB962C8B-B14F-4D97-AF65-F5344CB8AC3E}">
        <p14:creationId xmlns:p14="http://schemas.microsoft.com/office/powerpoint/2010/main" val="11017667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Number tracker">
    <p:bg>
      <p:bgPr>
        <a:solidFill>
          <a:schemeClr val="bg1"/>
        </a:solidFill>
        <a:effectLst/>
      </p:bgPr>
    </p:bg>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121F144-AC5D-85D7-7A83-D11603B4B4CF}"/>
              </a:ext>
            </a:extLst>
          </p:cNvPr>
          <p:cNvGraphicFramePr>
            <a:graphicFrameLocks noChangeAspect="1"/>
          </p:cNvGraphicFramePr>
          <p:nvPr userDrawn="1">
            <p:custDataLst>
              <p:tags r:id="rId1"/>
            </p:custDataLst>
            <p:extLst>
              <p:ext uri="{D42A27DB-BD31-4B8C-83A1-F6EECF244321}">
                <p14:modId xmlns:p14="http://schemas.microsoft.com/office/powerpoint/2010/main" val="29082603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1121F144-AC5D-85D7-7A83-D11603B4B4C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Google Shape;149;p16">
            <a:extLst>
              <a:ext uri="{FF2B5EF4-FFF2-40B4-BE49-F238E27FC236}">
                <a16:creationId xmlns:a16="http://schemas.microsoft.com/office/drawing/2014/main" id="{DF6A6884-F7BF-384F-55B5-0ABA93799810}"/>
              </a:ext>
            </a:extLst>
          </p:cNvPr>
          <p:cNvSpPr/>
          <p:nvPr userDrawn="1"/>
        </p:nvSpPr>
        <p:spPr>
          <a:xfrm>
            <a:off x="-3265" y="-23643"/>
            <a:ext cx="9157775" cy="59436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10" name="TextBox 38">
            <a:extLst>
              <a:ext uri="{FF2B5EF4-FFF2-40B4-BE49-F238E27FC236}">
                <a16:creationId xmlns:a16="http://schemas.microsoft.com/office/drawing/2014/main" id="{40E8D054-2CF0-6511-7D98-58859FE79D8C}"/>
              </a:ext>
            </a:extLst>
          </p:cNvPr>
          <p:cNvSpPr txBox="1"/>
          <p:nvPr userDrawn="1"/>
        </p:nvSpPr>
        <p:spPr bwMode="gray">
          <a:xfrm>
            <a:off x="6774511" y="5120640"/>
            <a:ext cx="0" cy="0"/>
          </a:xfrm>
          <a:prstGeom prst="rect">
            <a:avLst/>
          </a:prstGeom>
        </p:spPr>
        <p:txBody>
          <a:bodyPr vert="horz" wrap="none" lIns="0" tIns="0" rIns="0" bIns="0" rtlCol="0" anchor="t">
            <a:noAutofit/>
          </a:bodyPr>
          <a:lstStyle/>
          <a:p>
            <a:pPr rtl="0">
              <a:spcBef>
                <a:spcPts val="600"/>
              </a:spcBef>
            </a:pPr>
            <a:endParaRPr lang="en-US">
              <a:solidFill>
                <a:srgbClr val="606060"/>
              </a:solidFill>
            </a:endParaRPr>
          </a:p>
        </p:txBody>
      </p:sp>
      <p:sp>
        <p:nvSpPr>
          <p:cNvPr id="27" name="Slide Number Placeholder 5">
            <a:extLst>
              <a:ext uri="{FF2B5EF4-FFF2-40B4-BE49-F238E27FC236}">
                <a16:creationId xmlns:a16="http://schemas.microsoft.com/office/drawing/2014/main" id="{8A6000CD-0EE1-E6F3-0767-927ACED086B2}"/>
              </a:ext>
            </a:extLst>
          </p:cNvPr>
          <p:cNvSpPr>
            <a:spLocks noGrp="1"/>
          </p:cNvSpPr>
          <p:nvPr>
            <p:ph type="sldNum" sz="quarter" idx="4294967295"/>
          </p:nvPr>
        </p:nvSpPr>
        <p:spPr>
          <a:xfrm>
            <a:off x="8729560" y="4911474"/>
            <a:ext cx="342581" cy="96296"/>
          </a:xfrm>
          <a:prstGeom prst="rect">
            <a:avLst/>
          </a:prstGeom>
        </p:spPr>
        <p:txBody>
          <a:bodyPr anchor="ctr" anchorCtr="0"/>
          <a:lstStyle>
            <a:lvl1pPr rtl="0">
              <a:defRPr>
                <a:solidFill>
                  <a:schemeClr val="tx2"/>
                </a:solidFill>
              </a:defRPr>
            </a:lvl1pPr>
          </a:lstStyle>
          <a:p>
            <a:fld id="{A90607E6-BCED-4FC1-A345-AB2A307AB80F}" type="slidenum">
              <a:rPr lang="en-US" sz="700" b="1" smtClean="0"/>
              <a:pPr/>
              <a:t>‹#›</a:t>
            </a:fld>
            <a:endParaRPr lang="en-US" b="1"/>
          </a:p>
        </p:txBody>
      </p:sp>
      <p:pic>
        <p:nvPicPr>
          <p:cNvPr id="28" name="Graphic 4">
            <a:extLst>
              <a:ext uri="{FF2B5EF4-FFF2-40B4-BE49-F238E27FC236}">
                <a16:creationId xmlns:a16="http://schemas.microsoft.com/office/drawing/2014/main" id="{968CDC6D-343E-4772-B746-F5247242228F}"/>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255140" y="4913719"/>
            <a:ext cx="380786" cy="113702"/>
          </a:xfrm>
          <a:prstGeom prst="rect">
            <a:avLst/>
          </a:prstGeom>
        </p:spPr>
      </p:pic>
      <p:sp>
        <p:nvSpPr>
          <p:cNvPr id="17" name="Marcador de texto 28">
            <a:extLst>
              <a:ext uri="{FF2B5EF4-FFF2-40B4-BE49-F238E27FC236}">
                <a16:creationId xmlns:a16="http://schemas.microsoft.com/office/drawing/2014/main" id="{AB561836-81EE-E518-1CF6-86DDCA28E333}"/>
              </a:ext>
            </a:extLst>
          </p:cNvPr>
          <p:cNvSpPr>
            <a:spLocks noGrp="1"/>
          </p:cNvSpPr>
          <p:nvPr>
            <p:ph type="body" sz="quarter" idx="27" hasCustomPrompt="1"/>
          </p:nvPr>
        </p:nvSpPr>
        <p:spPr>
          <a:xfrm>
            <a:off x="466344" y="58653"/>
            <a:ext cx="7128101" cy="429768"/>
          </a:xfrm>
        </p:spPr>
        <p:txBody>
          <a:bodyPr anchor="ctr" anchorCtr="0"/>
          <a:lstStyle>
            <a:lvl1pPr marL="0" indent="0" rtl="0">
              <a:buNone/>
              <a:defRPr sz="1400">
                <a:solidFill>
                  <a:schemeClr val="bg1"/>
                </a:solidFill>
              </a:defRPr>
            </a:lvl1pPr>
          </a:lstStyle>
          <a:p>
            <a:pPr marL="0" marR="0" lvl="0" indent="0" algn="l" defTabSz="10728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numbers</a:t>
            </a:r>
          </a:p>
        </p:txBody>
      </p:sp>
      <p:sp>
        <p:nvSpPr>
          <p:cNvPr id="18" name="Marcador de texto 11">
            <a:extLst>
              <a:ext uri="{FF2B5EF4-FFF2-40B4-BE49-F238E27FC236}">
                <a16:creationId xmlns:a16="http://schemas.microsoft.com/office/drawing/2014/main" id="{E138CEA5-544B-08E5-AC45-F8A659729305}"/>
              </a:ext>
            </a:extLst>
          </p:cNvPr>
          <p:cNvSpPr>
            <a:spLocks noGrp="1"/>
          </p:cNvSpPr>
          <p:nvPr>
            <p:ph type="body" sz="quarter" idx="45" hasCustomPrompt="1"/>
          </p:nvPr>
        </p:nvSpPr>
        <p:spPr>
          <a:xfrm>
            <a:off x="466344" y="4837588"/>
            <a:ext cx="7323915" cy="231775"/>
          </a:xfrm>
        </p:spPr>
        <p:txBody>
          <a:bodyPr anchor="b"/>
          <a:lstStyle>
            <a:lvl1pPr marL="0" indent="0" rtl="0">
              <a:lnSpc>
                <a:spcPct val="100000"/>
              </a:lnSpc>
              <a:spcBef>
                <a:spcPts val="0"/>
              </a:spcBef>
              <a:buNone/>
              <a:defRPr sz="700">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2" name="Text Placeholder 6">
            <a:extLst>
              <a:ext uri="{FF2B5EF4-FFF2-40B4-BE49-F238E27FC236}">
                <a16:creationId xmlns:a16="http://schemas.microsoft.com/office/drawing/2014/main" id="{2C3E283F-5C89-FA1F-6D49-9E4B68EE8CC1}"/>
              </a:ext>
            </a:extLst>
          </p:cNvPr>
          <p:cNvSpPr>
            <a:spLocks noGrp="1"/>
          </p:cNvSpPr>
          <p:nvPr>
            <p:ph type="body" sz="quarter" idx="35" hasCustomPrompt="1"/>
          </p:nvPr>
        </p:nvSpPr>
        <p:spPr>
          <a:xfrm rot="16200000">
            <a:off x="8161020" y="-453411"/>
            <a:ext cx="512064" cy="1453896"/>
          </a:xfrm>
          <a:prstGeom prst="round2SameRect">
            <a:avLst>
              <a:gd name="adj1" fmla="val 50000"/>
              <a:gd name="adj2" fmla="val 0"/>
            </a:avLst>
          </a:prstGeom>
          <a:solidFill>
            <a:schemeClr val="bg1"/>
          </a:solidFill>
        </p:spPr>
        <p:txBody>
          <a:bodyPr anchor="ctr"/>
          <a:lstStyle>
            <a:lvl1pPr marL="0" indent="0" algn="ctr" rtl="0">
              <a:buNone/>
              <a:defRPr sz="1000" b="0" i="0">
                <a:solidFill>
                  <a:schemeClr val="bg1"/>
                </a:solidFill>
                <a:latin typeface="+mj-lt"/>
              </a:defRPr>
            </a:lvl1pPr>
          </a:lstStyle>
          <a:p>
            <a:pPr lvl="0"/>
            <a:r>
              <a:rPr lang="en-US"/>
              <a:t> </a:t>
            </a:r>
          </a:p>
        </p:txBody>
      </p:sp>
      <p:sp>
        <p:nvSpPr>
          <p:cNvPr id="3" name="Text Placeholder 6">
            <a:extLst>
              <a:ext uri="{FF2B5EF4-FFF2-40B4-BE49-F238E27FC236}">
                <a16:creationId xmlns:a16="http://schemas.microsoft.com/office/drawing/2014/main" id="{1A3B3735-5FDA-E289-75D6-9CF3628026C4}"/>
              </a:ext>
            </a:extLst>
          </p:cNvPr>
          <p:cNvSpPr>
            <a:spLocks noGrp="1"/>
          </p:cNvSpPr>
          <p:nvPr>
            <p:ph type="body" sz="quarter" idx="51" hasCustomPrompt="1"/>
          </p:nvPr>
        </p:nvSpPr>
        <p:spPr>
          <a:xfrm>
            <a:off x="7774438" y="122661"/>
            <a:ext cx="301752" cy="301752"/>
          </a:xfrm>
          <a:prstGeom prst="ellipse">
            <a:avLst/>
          </a:prstGeom>
          <a:solidFill>
            <a:schemeClr val="accent2"/>
          </a:solidFill>
          <a:ln>
            <a:solidFill>
              <a:schemeClr val="tx2"/>
            </a:solidFill>
          </a:ln>
        </p:spPr>
        <p:txBody>
          <a:bodyPr anchor="ctr"/>
          <a:lstStyle>
            <a:lvl1pPr marL="0" indent="0" algn="ctr" rtl="0">
              <a:buNone/>
              <a:defRPr sz="700" b="0" i="1">
                <a:solidFill>
                  <a:schemeClr val="bg1"/>
                </a:solidFill>
                <a:latin typeface="+mj-lt"/>
              </a:defRPr>
            </a:lvl1pPr>
          </a:lstStyle>
          <a:p>
            <a:pPr lvl="0"/>
            <a:r>
              <a:rPr lang="en-US"/>
              <a:t> </a:t>
            </a:r>
          </a:p>
        </p:txBody>
      </p:sp>
      <p:sp>
        <p:nvSpPr>
          <p:cNvPr id="11" name="Text Placeholder 6">
            <a:extLst>
              <a:ext uri="{FF2B5EF4-FFF2-40B4-BE49-F238E27FC236}">
                <a16:creationId xmlns:a16="http://schemas.microsoft.com/office/drawing/2014/main" id="{C4573508-BF4A-42FE-F1DF-60E6E7D38494}"/>
              </a:ext>
            </a:extLst>
          </p:cNvPr>
          <p:cNvSpPr>
            <a:spLocks noGrp="1"/>
          </p:cNvSpPr>
          <p:nvPr>
            <p:ph type="body" sz="quarter" idx="52" hasCustomPrompt="1"/>
          </p:nvPr>
        </p:nvSpPr>
        <p:spPr>
          <a:xfrm>
            <a:off x="8218347" y="236961"/>
            <a:ext cx="73152" cy="73152"/>
          </a:xfrm>
          <a:prstGeom prst="ellipse">
            <a:avLst/>
          </a:prstGeom>
          <a:solidFill>
            <a:schemeClr val="tx2"/>
          </a:solidFill>
        </p:spPr>
        <p:txBody>
          <a:bodyPr anchor="ctr"/>
          <a:lstStyle>
            <a:lvl1pPr marL="0" indent="0" algn="ctr" rtl="0">
              <a:buNone/>
              <a:defRPr sz="700" b="0" i="1">
                <a:solidFill>
                  <a:schemeClr val="bg1"/>
                </a:solidFill>
                <a:latin typeface="+mj-lt"/>
              </a:defRPr>
            </a:lvl1pPr>
          </a:lstStyle>
          <a:p>
            <a:pPr lvl="0"/>
            <a:r>
              <a:rPr lang="en-US"/>
              <a:t> </a:t>
            </a:r>
          </a:p>
        </p:txBody>
      </p:sp>
      <p:sp>
        <p:nvSpPr>
          <p:cNvPr id="12" name="Text Placeholder 6">
            <a:extLst>
              <a:ext uri="{FF2B5EF4-FFF2-40B4-BE49-F238E27FC236}">
                <a16:creationId xmlns:a16="http://schemas.microsoft.com/office/drawing/2014/main" id="{C705E1AB-C87A-9BA1-369B-3E1331408BA6}"/>
              </a:ext>
            </a:extLst>
          </p:cNvPr>
          <p:cNvSpPr>
            <a:spLocks noGrp="1"/>
          </p:cNvSpPr>
          <p:nvPr>
            <p:ph type="body" sz="quarter" idx="53" hasCustomPrompt="1"/>
          </p:nvPr>
        </p:nvSpPr>
        <p:spPr>
          <a:xfrm>
            <a:off x="8433656" y="236961"/>
            <a:ext cx="73152" cy="73152"/>
          </a:xfrm>
          <a:prstGeom prst="ellipse">
            <a:avLst/>
          </a:prstGeom>
          <a:solidFill>
            <a:schemeClr val="tx2"/>
          </a:solidFill>
        </p:spPr>
        <p:txBody>
          <a:bodyPr anchor="ctr"/>
          <a:lstStyle>
            <a:lvl1pPr marL="0" indent="0" algn="ctr" rtl="0">
              <a:buNone/>
              <a:defRPr sz="700" b="0" i="1">
                <a:solidFill>
                  <a:schemeClr val="bg1"/>
                </a:solidFill>
                <a:latin typeface="+mj-lt"/>
              </a:defRPr>
            </a:lvl1pPr>
          </a:lstStyle>
          <a:p>
            <a:pPr lvl="0"/>
            <a:r>
              <a:rPr lang="en-US"/>
              <a:t> </a:t>
            </a:r>
          </a:p>
        </p:txBody>
      </p:sp>
      <p:sp>
        <p:nvSpPr>
          <p:cNvPr id="21" name="Text Placeholder 6">
            <a:extLst>
              <a:ext uri="{FF2B5EF4-FFF2-40B4-BE49-F238E27FC236}">
                <a16:creationId xmlns:a16="http://schemas.microsoft.com/office/drawing/2014/main" id="{F12DA8D1-CF1E-1371-825D-3681366A0C0C}"/>
              </a:ext>
            </a:extLst>
          </p:cNvPr>
          <p:cNvSpPr>
            <a:spLocks noGrp="1"/>
          </p:cNvSpPr>
          <p:nvPr>
            <p:ph type="body" sz="quarter" idx="54" hasCustomPrompt="1"/>
          </p:nvPr>
        </p:nvSpPr>
        <p:spPr>
          <a:xfrm>
            <a:off x="8648965" y="236961"/>
            <a:ext cx="73152" cy="73152"/>
          </a:xfrm>
          <a:prstGeom prst="ellipse">
            <a:avLst/>
          </a:prstGeom>
          <a:solidFill>
            <a:schemeClr val="tx2"/>
          </a:solidFill>
        </p:spPr>
        <p:txBody>
          <a:bodyPr anchor="ctr"/>
          <a:lstStyle>
            <a:lvl1pPr marL="0" indent="0" algn="ctr" rtl="0">
              <a:buNone/>
              <a:defRPr sz="700" b="0" i="1">
                <a:solidFill>
                  <a:schemeClr val="bg1"/>
                </a:solidFill>
                <a:latin typeface="+mj-lt"/>
              </a:defRPr>
            </a:lvl1pPr>
          </a:lstStyle>
          <a:p>
            <a:pPr lvl="0"/>
            <a:r>
              <a:rPr lang="en-US"/>
              <a:t> </a:t>
            </a:r>
          </a:p>
        </p:txBody>
      </p:sp>
      <p:sp>
        <p:nvSpPr>
          <p:cNvPr id="22" name="Text Placeholder 6">
            <a:extLst>
              <a:ext uri="{FF2B5EF4-FFF2-40B4-BE49-F238E27FC236}">
                <a16:creationId xmlns:a16="http://schemas.microsoft.com/office/drawing/2014/main" id="{D1F2C1BB-80CE-FC02-A6E7-4EE1C3538269}"/>
              </a:ext>
            </a:extLst>
          </p:cNvPr>
          <p:cNvSpPr>
            <a:spLocks noGrp="1"/>
          </p:cNvSpPr>
          <p:nvPr>
            <p:ph type="body" sz="quarter" idx="55" hasCustomPrompt="1"/>
          </p:nvPr>
        </p:nvSpPr>
        <p:spPr>
          <a:xfrm>
            <a:off x="8864274" y="236961"/>
            <a:ext cx="73152" cy="73152"/>
          </a:xfrm>
          <a:prstGeom prst="ellipse">
            <a:avLst/>
          </a:prstGeom>
          <a:solidFill>
            <a:schemeClr val="tx2"/>
          </a:solidFill>
        </p:spPr>
        <p:txBody>
          <a:bodyPr anchor="ctr"/>
          <a:lstStyle>
            <a:lvl1pPr marL="0" indent="0" algn="ctr" rtl="0">
              <a:buNone/>
              <a:defRPr sz="700" b="0" i="1">
                <a:solidFill>
                  <a:schemeClr val="bg1"/>
                </a:solidFill>
                <a:latin typeface="+mj-lt"/>
              </a:defRPr>
            </a:lvl1pPr>
          </a:lstStyle>
          <a:p>
            <a:pPr lvl="0"/>
            <a:r>
              <a:rPr lang="en-US"/>
              <a:t> </a:t>
            </a:r>
          </a:p>
        </p:txBody>
      </p:sp>
      <p:sp>
        <p:nvSpPr>
          <p:cNvPr id="23" name="Text Placeholder 6">
            <a:extLst>
              <a:ext uri="{FF2B5EF4-FFF2-40B4-BE49-F238E27FC236}">
                <a16:creationId xmlns:a16="http://schemas.microsoft.com/office/drawing/2014/main" id="{A5354D5F-6696-16A6-1FA7-C0E13EC4AFB3}"/>
              </a:ext>
            </a:extLst>
          </p:cNvPr>
          <p:cNvSpPr>
            <a:spLocks noGrp="1"/>
          </p:cNvSpPr>
          <p:nvPr>
            <p:ph type="body" sz="quarter" idx="56" hasCustomPrompt="1"/>
          </p:nvPr>
        </p:nvSpPr>
        <p:spPr>
          <a:xfrm>
            <a:off x="7811014" y="159237"/>
            <a:ext cx="228600" cy="228600"/>
          </a:xfrm>
          <a:prstGeom prst="ellipse">
            <a:avLst/>
          </a:prstGeom>
          <a:solidFill>
            <a:srgbClr val="FFE1AB"/>
          </a:solidFill>
        </p:spPr>
        <p:txBody>
          <a:bodyPr anchor="ctr"/>
          <a:lstStyle>
            <a:lvl1pPr marL="0" indent="0" algn="ctr" rtl="0">
              <a:buNone/>
              <a:defRPr sz="700" b="0" i="1">
                <a:solidFill>
                  <a:schemeClr val="tx1"/>
                </a:solidFill>
                <a:latin typeface="+mj-lt"/>
              </a:defRPr>
            </a:lvl1pPr>
          </a:lstStyle>
          <a:p>
            <a:pPr lvl="0"/>
            <a:r>
              <a:rPr lang="en-US"/>
              <a:t>#</a:t>
            </a:r>
          </a:p>
        </p:txBody>
      </p:sp>
      <p:sp>
        <p:nvSpPr>
          <p:cNvPr id="4" name="Content Placeholder 1">
            <a:extLst>
              <a:ext uri="{FF2B5EF4-FFF2-40B4-BE49-F238E27FC236}">
                <a16:creationId xmlns:a16="http://schemas.microsoft.com/office/drawing/2014/main" id="{AAC14F21-7539-FC5A-3759-9BFDB00597FF}"/>
              </a:ext>
            </a:extLst>
          </p:cNvPr>
          <p:cNvSpPr>
            <a:spLocks noGrp="1"/>
          </p:cNvSpPr>
          <p:nvPr>
            <p:ph idx="1"/>
          </p:nvPr>
        </p:nvSpPr>
        <p:spPr>
          <a:xfrm>
            <a:off x="466344" y="970684"/>
            <a:ext cx="8169510" cy="3666275"/>
          </a:xfrm>
        </p:spPr>
        <p:txBody>
          <a:bodyPr/>
          <a:lstStyle>
            <a:lvl1pPr rtl="0">
              <a:lnSpc>
                <a:spcPct val="90000"/>
              </a:lnSpc>
              <a:spcBef>
                <a:spcPts val="0"/>
              </a:spcBef>
              <a:defRPr sz="1200"/>
            </a:lvl1pPr>
          </a:lstStyle>
          <a:p>
            <a:pPr lvl="0"/>
            <a:r>
              <a:rPr lang="en-US"/>
              <a:t>Click to edit Master text styles</a:t>
            </a:r>
          </a:p>
        </p:txBody>
      </p:sp>
    </p:spTree>
    <p:extLst>
      <p:ext uri="{BB962C8B-B14F-4D97-AF65-F5344CB8AC3E}">
        <p14:creationId xmlns:p14="http://schemas.microsoft.com/office/powerpoint/2010/main" val="11371315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evron tracker">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ED8CB87-D1CE-7D50-0141-F4D99CE5AA51}"/>
              </a:ext>
            </a:extLst>
          </p:cNvPr>
          <p:cNvGraphicFramePr>
            <a:graphicFrameLocks noChangeAspect="1"/>
          </p:cNvGraphicFramePr>
          <p:nvPr userDrawn="1">
            <p:custDataLst>
              <p:tags r:id="rId1"/>
            </p:custDataLst>
            <p:extLst>
              <p:ext uri="{D42A27DB-BD31-4B8C-83A1-F6EECF244321}">
                <p14:modId xmlns:p14="http://schemas.microsoft.com/office/powerpoint/2010/main" val="2439415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EED8CB87-D1CE-7D50-0141-F4D99CE5AA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Google Shape;149;p16">
            <a:extLst>
              <a:ext uri="{FF2B5EF4-FFF2-40B4-BE49-F238E27FC236}">
                <a16:creationId xmlns:a16="http://schemas.microsoft.com/office/drawing/2014/main" id="{7529AC3C-7251-9219-0768-CFE1836A75E3}"/>
              </a:ext>
            </a:extLst>
          </p:cNvPr>
          <p:cNvSpPr/>
          <p:nvPr userDrawn="1"/>
        </p:nvSpPr>
        <p:spPr>
          <a:xfrm>
            <a:off x="-3265" y="-23643"/>
            <a:ext cx="9157775" cy="59436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8" name="TextBox 38">
            <a:extLst>
              <a:ext uri="{FF2B5EF4-FFF2-40B4-BE49-F238E27FC236}">
                <a16:creationId xmlns:a16="http://schemas.microsoft.com/office/drawing/2014/main" id="{1DA58AFE-13FE-4F8C-B9BC-9A9B4B72A841}"/>
              </a:ext>
            </a:extLst>
          </p:cNvPr>
          <p:cNvSpPr txBox="1"/>
          <p:nvPr userDrawn="1"/>
        </p:nvSpPr>
        <p:spPr bwMode="gray">
          <a:xfrm>
            <a:off x="6774511" y="5120640"/>
            <a:ext cx="0" cy="0"/>
          </a:xfrm>
          <a:prstGeom prst="rect">
            <a:avLst/>
          </a:prstGeom>
        </p:spPr>
        <p:txBody>
          <a:bodyPr vert="horz" wrap="none" lIns="0" tIns="0" rIns="0" bIns="0" rtlCol="0" anchor="t">
            <a:noAutofit/>
          </a:bodyPr>
          <a:lstStyle/>
          <a:p>
            <a:pPr rtl="0">
              <a:spcBef>
                <a:spcPts val="600"/>
              </a:spcBef>
            </a:pPr>
            <a:endParaRPr lang="en-US">
              <a:solidFill>
                <a:srgbClr val="606060"/>
              </a:solidFill>
            </a:endParaRPr>
          </a:p>
        </p:txBody>
      </p:sp>
      <p:sp>
        <p:nvSpPr>
          <p:cNvPr id="30" name="Slide Number Placeholder 5">
            <a:extLst>
              <a:ext uri="{FF2B5EF4-FFF2-40B4-BE49-F238E27FC236}">
                <a16:creationId xmlns:a16="http://schemas.microsoft.com/office/drawing/2014/main" id="{1A4DCD93-4932-7FC5-D277-4F415A3B7843}"/>
              </a:ext>
            </a:extLst>
          </p:cNvPr>
          <p:cNvSpPr>
            <a:spLocks noGrp="1"/>
          </p:cNvSpPr>
          <p:nvPr>
            <p:ph type="sldNum" sz="quarter" idx="4294967295"/>
          </p:nvPr>
        </p:nvSpPr>
        <p:spPr>
          <a:xfrm>
            <a:off x="8729560" y="4911474"/>
            <a:ext cx="342581" cy="96296"/>
          </a:xfrm>
          <a:prstGeom prst="rect">
            <a:avLst/>
          </a:prstGeom>
        </p:spPr>
        <p:txBody>
          <a:bodyPr anchor="ctr" anchorCtr="0"/>
          <a:lstStyle>
            <a:lvl1pPr rtl="0">
              <a:defRPr>
                <a:solidFill>
                  <a:schemeClr val="tx2"/>
                </a:solidFill>
              </a:defRPr>
            </a:lvl1pPr>
          </a:lstStyle>
          <a:p>
            <a:fld id="{A90607E6-BCED-4FC1-A345-AB2A307AB80F}" type="slidenum">
              <a:rPr lang="en-US" sz="700" b="1" smtClean="0"/>
              <a:pPr/>
              <a:t>‹#›</a:t>
            </a:fld>
            <a:endParaRPr lang="en-US" b="1"/>
          </a:p>
        </p:txBody>
      </p:sp>
      <p:pic>
        <p:nvPicPr>
          <p:cNvPr id="31" name="Graphic 4">
            <a:extLst>
              <a:ext uri="{FF2B5EF4-FFF2-40B4-BE49-F238E27FC236}">
                <a16:creationId xmlns:a16="http://schemas.microsoft.com/office/drawing/2014/main" id="{699B9E07-C28D-713E-8C5F-8A2EC3A4D1D5}"/>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255140" y="4913719"/>
            <a:ext cx="380786" cy="113702"/>
          </a:xfrm>
          <a:prstGeom prst="rect">
            <a:avLst/>
          </a:prstGeom>
        </p:spPr>
      </p:pic>
      <p:sp>
        <p:nvSpPr>
          <p:cNvPr id="9" name="Marcador de texto 28">
            <a:extLst>
              <a:ext uri="{FF2B5EF4-FFF2-40B4-BE49-F238E27FC236}">
                <a16:creationId xmlns:a16="http://schemas.microsoft.com/office/drawing/2014/main" id="{F063DDBD-6BFA-DFF1-70E0-64F49D70332D}"/>
              </a:ext>
            </a:extLst>
          </p:cNvPr>
          <p:cNvSpPr>
            <a:spLocks noGrp="1"/>
          </p:cNvSpPr>
          <p:nvPr userDrawn="1">
            <p:ph type="body" sz="quarter" idx="27" hasCustomPrompt="1"/>
          </p:nvPr>
        </p:nvSpPr>
        <p:spPr>
          <a:xfrm>
            <a:off x="466344" y="58653"/>
            <a:ext cx="7492766" cy="429768"/>
          </a:xfrm>
        </p:spPr>
        <p:txBody>
          <a:bodyPr anchor="ctr" anchorCtr="0"/>
          <a:lstStyle>
            <a:lvl1pPr marL="0" indent="0" rtl="0">
              <a:buNone/>
              <a:defRPr sz="1400">
                <a:solidFill>
                  <a:schemeClr val="bg1"/>
                </a:solidFill>
              </a:defRPr>
            </a:lvl1pPr>
          </a:lstStyle>
          <a:p>
            <a:pPr marL="0" marR="0" lvl="0" indent="0" algn="l" defTabSz="10728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chevrons</a:t>
            </a:r>
          </a:p>
        </p:txBody>
      </p:sp>
      <p:sp>
        <p:nvSpPr>
          <p:cNvPr id="10" name="Marcador de texto 11">
            <a:extLst>
              <a:ext uri="{FF2B5EF4-FFF2-40B4-BE49-F238E27FC236}">
                <a16:creationId xmlns:a16="http://schemas.microsoft.com/office/drawing/2014/main" id="{39E3BF80-13D4-1308-81F6-7D2E3E097676}"/>
              </a:ext>
            </a:extLst>
          </p:cNvPr>
          <p:cNvSpPr>
            <a:spLocks noGrp="1"/>
          </p:cNvSpPr>
          <p:nvPr userDrawn="1">
            <p:ph type="body" sz="quarter" idx="45" hasCustomPrompt="1"/>
          </p:nvPr>
        </p:nvSpPr>
        <p:spPr>
          <a:xfrm>
            <a:off x="466344" y="4837588"/>
            <a:ext cx="7323915" cy="231775"/>
          </a:xfrm>
        </p:spPr>
        <p:txBody>
          <a:bodyPr anchor="b"/>
          <a:lstStyle>
            <a:lvl1pPr marL="0" indent="0" rtl="0">
              <a:lnSpc>
                <a:spcPct val="100000"/>
              </a:lnSpc>
              <a:spcBef>
                <a:spcPts val="0"/>
              </a:spcBef>
              <a:buNone/>
              <a:defRPr sz="700">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2" name="Text Placeholder 6">
            <a:extLst>
              <a:ext uri="{FF2B5EF4-FFF2-40B4-BE49-F238E27FC236}">
                <a16:creationId xmlns:a16="http://schemas.microsoft.com/office/drawing/2014/main" id="{445B6F2A-F158-A5C0-AAD3-D77625C319AB}"/>
              </a:ext>
            </a:extLst>
          </p:cNvPr>
          <p:cNvSpPr>
            <a:spLocks noGrp="1"/>
          </p:cNvSpPr>
          <p:nvPr userDrawn="1">
            <p:ph type="body" sz="quarter" idx="35" hasCustomPrompt="1"/>
          </p:nvPr>
        </p:nvSpPr>
        <p:spPr>
          <a:xfrm rot="16200000">
            <a:off x="8471916" y="-256815"/>
            <a:ext cx="283464" cy="1060704"/>
          </a:xfrm>
          <a:prstGeom prst="round2SameRect">
            <a:avLst>
              <a:gd name="adj1" fmla="val 50000"/>
              <a:gd name="adj2" fmla="val 0"/>
            </a:avLst>
          </a:prstGeom>
          <a:solidFill>
            <a:schemeClr val="tx2">
              <a:lumMod val="75000"/>
            </a:schemeClr>
          </a:solidFill>
        </p:spPr>
        <p:txBody>
          <a:bodyPr anchor="ctr"/>
          <a:lstStyle>
            <a:lvl1pPr marL="0" indent="0" algn="ctr" rtl="0">
              <a:buNone/>
              <a:defRPr sz="1000" b="0" i="0">
                <a:solidFill>
                  <a:schemeClr val="bg1"/>
                </a:solidFill>
                <a:latin typeface="+mj-lt"/>
              </a:defRPr>
            </a:lvl1pPr>
          </a:lstStyle>
          <a:p>
            <a:pPr lvl="0"/>
            <a:r>
              <a:rPr lang="en-US"/>
              <a:t> </a:t>
            </a:r>
          </a:p>
        </p:txBody>
      </p:sp>
      <p:sp>
        <p:nvSpPr>
          <p:cNvPr id="3" name="Text Placeholder 6">
            <a:extLst>
              <a:ext uri="{FF2B5EF4-FFF2-40B4-BE49-F238E27FC236}">
                <a16:creationId xmlns:a16="http://schemas.microsoft.com/office/drawing/2014/main" id="{B70002E1-6659-B101-D77F-70A245763A67}"/>
              </a:ext>
            </a:extLst>
          </p:cNvPr>
          <p:cNvSpPr>
            <a:spLocks noGrp="1"/>
          </p:cNvSpPr>
          <p:nvPr>
            <p:ph type="body" sz="quarter" idx="46" hasCustomPrompt="1"/>
          </p:nvPr>
        </p:nvSpPr>
        <p:spPr>
          <a:xfrm>
            <a:off x="8268349" y="131805"/>
            <a:ext cx="228600" cy="283464"/>
          </a:xfrm>
          <a:prstGeom prst="chevron">
            <a:avLst/>
          </a:prstGeom>
          <a:solidFill>
            <a:schemeClr val="tx2">
              <a:lumMod val="40000"/>
              <a:lumOff val="60000"/>
            </a:schemeClr>
          </a:solidFill>
        </p:spPr>
        <p:txBody>
          <a:bodyPr anchor="ctr"/>
          <a:lstStyle>
            <a:lvl1pPr marL="0" indent="0" algn="ctr" rtl="0">
              <a:buNone/>
              <a:defRPr sz="1000" b="0" i="0">
                <a:solidFill>
                  <a:schemeClr val="bg1"/>
                </a:solidFill>
                <a:latin typeface="+mj-lt"/>
              </a:defRPr>
            </a:lvl1pPr>
          </a:lstStyle>
          <a:p>
            <a:pPr lvl="0"/>
            <a:r>
              <a:rPr lang="en-US"/>
              <a:t> </a:t>
            </a:r>
          </a:p>
        </p:txBody>
      </p:sp>
      <p:sp>
        <p:nvSpPr>
          <p:cNvPr id="4" name="Text Placeholder 6">
            <a:extLst>
              <a:ext uri="{FF2B5EF4-FFF2-40B4-BE49-F238E27FC236}">
                <a16:creationId xmlns:a16="http://schemas.microsoft.com/office/drawing/2014/main" id="{FB4F5809-490D-6D96-DFB3-5EF5D83961B5}"/>
              </a:ext>
            </a:extLst>
          </p:cNvPr>
          <p:cNvSpPr>
            <a:spLocks noGrp="1"/>
          </p:cNvSpPr>
          <p:nvPr>
            <p:ph type="body" sz="quarter" idx="47" hasCustomPrompt="1"/>
          </p:nvPr>
        </p:nvSpPr>
        <p:spPr>
          <a:xfrm>
            <a:off x="8851044" y="131805"/>
            <a:ext cx="228600" cy="283464"/>
          </a:xfrm>
          <a:prstGeom prst="chevron">
            <a:avLst/>
          </a:prstGeom>
          <a:solidFill>
            <a:schemeClr val="bg1"/>
          </a:solidFill>
        </p:spPr>
        <p:txBody>
          <a:bodyPr anchor="ctr"/>
          <a:lstStyle>
            <a:lvl1pPr marL="0" indent="0" algn="ctr" rtl="0">
              <a:buNone/>
              <a:defRPr sz="1000" b="0" i="0">
                <a:solidFill>
                  <a:schemeClr val="bg1"/>
                </a:solidFill>
                <a:latin typeface="+mj-lt"/>
              </a:defRPr>
            </a:lvl1pPr>
          </a:lstStyle>
          <a:p>
            <a:pPr lvl="0"/>
            <a:r>
              <a:rPr lang="en-US"/>
              <a:t> </a:t>
            </a:r>
          </a:p>
        </p:txBody>
      </p:sp>
      <p:sp>
        <p:nvSpPr>
          <p:cNvPr id="6" name="Text Placeholder 6">
            <a:extLst>
              <a:ext uri="{FF2B5EF4-FFF2-40B4-BE49-F238E27FC236}">
                <a16:creationId xmlns:a16="http://schemas.microsoft.com/office/drawing/2014/main" id="{7AFC829B-97BE-1AD5-7A2A-1F581CD3096F}"/>
              </a:ext>
            </a:extLst>
          </p:cNvPr>
          <p:cNvSpPr>
            <a:spLocks noGrp="1"/>
          </p:cNvSpPr>
          <p:nvPr>
            <p:ph type="body" sz="quarter" idx="48" hasCustomPrompt="1"/>
          </p:nvPr>
        </p:nvSpPr>
        <p:spPr>
          <a:xfrm>
            <a:off x="8705371" y="131805"/>
            <a:ext cx="228600" cy="283464"/>
          </a:xfrm>
          <a:prstGeom prst="chevron">
            <a:avLst/>
          </a:prstGeom>
          <a:solidFill>
            <a:schemeClr val="bg1"/>
          </a:solidFill>
        </p:spPr>
        <p:txBody>
          <a:bodyPr anchor="ctr"/>
          <a:lstStyle>
            <a:lvl1pPr marL="0" indent="0" algn="ctr" rtl="0">
              <a:buNone/>
              <a:defRPr sz="1000" b="0" i="0">
                <a:solidFill>
                  <a:schemeClr val="bg1"/>
                </a:solidFill>
                <a:latin typeface="+mj-lt"/>
              </a:defRPr>
            </a:lvl1pPr>
          </a:lstStyle>
          <a:p>
            <a:pPr lvl="0"/>
            <a:r>
              <a:rPr lang="en-US"/>
              <a:t> </a:t>
            </a:r>
          </a:p>
        </p:txBody>
      </p:sp>
      <p:sp>
        <p:nvSpPr>
          <p:cNvPr id="12" name="Text Placeholder 6">
            <a:extLst>
              <a:ext uri="{FF2B5EF4-FFF2-40B4-BE49-F238E27FC236}">
                <a16:creationId xmlns:a16="http://schemas.microsoft.com/office/drawing/2014/main" id="{884AB28C-6182-191A-F723-685D252F7316}"/>
              </a:ext>
            </a:extLst>
          </p:cNvPr>
          <p:cNvSpPr>
            <a:spLocks noGrp="1"/>
          </p:cNvSpPr>
          <p:nvPr>
            <p:ph type="body" sz="quarter" idx="49" hasCustomPrompt="1"/>
          </p:nvPr>
        </p:nvSpPr>
        <p:spPr>
          <a:xfrm>
            <a:off x="8559697" y="131805"/>
            <a:ext cx="228600" cy="283464"/>
          </a:xfrm>
          <a:prstGeom prst="chevron">
            <a:avLst/>
          </a:prstGeom>
          <a:solidFill>
            <a:schemeClr val="bg1"/>
          </a:solidFill>
        </p:spPr>
        <p:txBody>
          <a:bodyPr anchor="ctr"/>
          <a:lstStyle>
            <a:lvl1pPr marL="0" indent="0" algn="ctr" rtl="0">
              <a:buNone/>
              <a:defRPr sz="1000" b="0" i="0">
                <a:solidFill>
                  <a:schemeClr val="bg1"/>
                </a:solidFill>
                <a:latin typeface="+mj-lt"/>
              </a:defRPr>
            </a:lvl1pPr>
          </a:lstStyle>
          <a:p>
            <a:pPr lvl="0"/>
            <a:r>
              <a:rPr lang="en-US"/>
              <a:t> </a:t>
            </a:r>
          </a:p>
        </p:txBody>
      </p:sp>
      <p:sp>
        <p:nvSpPr>
          <p:cNvPr id="13" name="Text Placeholder 6">
            <a:extLst>
              <a:ext uri="{FF2B5EF4-FFF2-40B4-BE49-F238E27FC236}">
                <a16:creationId xmlns:a16="http://schemas.microsoft.com/office/drawing/2014/main" id="{AE4829CF-85E1-530C-B0EE-16FA1DDB2861}"/>
              </a:ext>
            </a:extLst>
          </p:cNvPr>
          <p:cNvSpPr>
            <a:spLocks noGrp="1"/>
          </p:cNvSpPr>
          <p:nvPr>
            <p:ph type="body" sz="quarter" idx="50" hasCustomPrompt="1"/>
          </p:nvPr>
        </p:nvSpPr>
        <p:spPr>
          <a:xfrm>
            <a:off x="8414023" y="131805"/>
            <a:ext cx="228600" cy="283464"/>
          </a:xfrm>
          <a:prstGeom prst="chevron">
            <a:avLst/>
          </a:prstGeom>
          <a:solidFill>
            <a:schemeClr val="bg1"/>
          </a:solidFill>
        </p:spPr>
        <p:txBody>
          <a:bodyPr anchor="ctr"/>
          <a:lstStyle>
            <a:lvl1pPr marL="0" indent="0" algn="ctr" rtl="0">
              <a:buNone/>
              <a:defRPr sz="1000" b="0" i="0">
                <a:solidFill>
                  <a:schemeClr val="bg1"/>
                </a:solidFill>
                <a:latin typeface="+mj-lt"/>
              </a:defRPr>
            </a:lvl1pPr>
          </a:lstStyle>
          <a:p>
            <a:pPr lvl="0"/>
            <a:r>
              <a:rPr lang="en-US"/>
              <a:t> </a:t>
            </a:r>
          </a:p>
        </p:txBody>
      </p:sp>
      <p:sp>
        <p:nvSpPr>
          <p:cNvPr id="14" name="Content Placeholder 1">
            <a:extLst>
              <a:ext uri="{FF2B5EF4-FFF2-40B4-BE49-F238E27FC236}">
                <a16:creationId xmlns:a16="http://schemas.microsoft.com/office/drawing/2014/main" id="{A9E33132-8AB5-8E49-26C7-4444957A9556}"/>
              </a:ext>
            </a:extLst>
          </p:cNvPr>
          <p:cNvSpPr>
            <a:spLocks noGrp="1"/>
          </p:cNvSpPr>
          <p:nvPr>
            <p:ph idx="1"/>
          </p:nvPr>
        </p:nvSpPr>
        <p:spPr>
          <a:xfrm>
            <a:off x="466344" y="970684"/>
            <a:ext cx="8169510" cy="3666275"/>
          </a:xfrm>
        </p:spPr>
        <p:txBody>
          <a:bodyPr/>
          <a:lstStyle>
            <a:lvl1pPr rtl="0">
              <a:lnSpc>
                <a:spcPct val="90000"/>
              </a:lnSpc>
              <a:spcBef>
                <a:spcPts val="0"/>
              </a:spcBef>
              <a:defRPr sz="1200"/>
            </a:lvl1pPr>
          </a:lstStyle>
          <a:p>
            <a:pPr lvl="0"/>
            <a:r>
              <a:rPr lang="en-US"/>
              <a:t>Click to edit Master text styles</a:t>
            </a:r>
          </a:p>
        </p:txBody>
      </p:sp>
    </p:spTree>
    <p:extLst>
      <p:ext uri="{BB962C8B-B14F-4D97-AF65-F5344CB8AC3E}">
        <p14:creationId xmlns:p14="http://schemas.microsoft.com/office/powerpoint/2010/main" val="34941237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tracker">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1DA7E4C-B155-A2A1-B22F-0A5C712B17AF}"/>
              </a:ext>
            </a:extLst>
          </p:cNvPr>
          <p:cNvGraphicFramePr>
            <a:graphicFrameLocks noChangeAspect="1"/>
          </p:cNvGraphicFramePr>
          <p:nvPr userDrawn="1">
            <p:custDataLst>
              <p:tags r:id="rId1"/>
            </p:custDataLst>
            <p:extLst>
              <p:ext uri="{D42A27DB-BD31-4B8C-83A1-F6EECF244321}">
                <p14:modId xmlns:p14="http://schemas.microsoft.com/office/powerpoint/2010/main" val="698375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E1DA7E4C-B155-A2A1-B22F-0A5C712B17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Google Shape;149;p16">
            <a:extLst>
              <a:ext uri="{FF2B5EF4-FFF2-40B4-BE49-F238E27FC236}">
                <a16:creationId xmlns:a16="http://schemas.microsoft.com/office/drawing/2014/main" id="{6F7A498E-4CA0-8EF8-04AA-47CE90183997}"/>
              </a:ext>
            </a:extLst>
          </p:cNvPr>
          <p:cNvSpPr/>
          <p:nvPr userDrawn="1"/>
        </p:nvSpPr>
        <p:spPr>
          <a:xfrm>
            <a:off x="-3265" y="-23643"/>
            <a:ext cx="9157775" cy="59436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10" name="TextBox 38">
            <a:extLst>
              <a:ext uri="{FF2B5EF4-FFF2-40B4-BE49-F238E27FC236}">
                <a16:creationId xmlns:a16="http://schemas.microsoft.com/office/drawing/2014/main" id="{40E8D054-2CF0-6511-7D98-58859FE79D8C}"/>
              </a:ext>
            </a:extLst>
          </p:cNvPr>
          <p:cNvSpPr txBox="1"/>
          <p:nvPr userDrawn="1"/>
        </p:nvSpPr>
        <p:spPr bwMode="gray">
          <a:xfrm>
            <a:off x="6774511" y="5120640"/>
            <a:ext cx="0" cy="0"/>
          </a:xfrm>
          <a:prstGeom prst="rect">
            <a:avLst/>
          </a:prstGeom>
        </p:spPr>
        <p:txBody>
          <a:bodyPr vert="horz" wrap="none" lIns="0" tIns="0" rIns="0" bIns="0" rtlCol="0" anchor="t">
            <a:noAutofit/>
          </a:bodyPr>
          <a:lstStyle/>
          <a:p>
            <a:pPr rtl="0">
              <a:spcBef>
                <a:spcPts val="600"/>
              </a:spcBef>
            </a:pPr>
            <a:endParaRPr lang="en-US">
              <a:solidFill>
                <a:srgbClr val="606060"/>
              </a:solidFill>
            </a:endParaRPr>
          </a:p>
        </p:txBody>
      </p:sp>
      <p:sp>
        <p:nvSpPr>
          <p:cNvPr id="27" name="Slide Number Placeholder 5">
            <a:extLst>
              <a:ext uri="{FF2B5EF4-FFF2-40B4-BE49-F238E27FC236}">
                <a16:creationId xmlns:a16="http://schemas.microsoft.com/office/drawing/2014/main" id="{8A6000CD-0EE1-E6F3-0767-927ACED086B2}"/>
              </a:ext>
            </a:extLst>
          </p:cNvPr>
          <p:cNvSpPr>
            <a:spLocks noGrp="1"/>
          </p:cNvSpPr>
          <p:nvPr>
            <p:ph type="sldNum" sz="quarter" idx="4294967295"/>
          </p:nvPr>
        </p:nvSpPr>
        <p:spPr>
          <a:xfrm>
            <a:off x="8729560" y="4911474"/>
            <a:ext cx="342581" cy="96296"/>
          </a:xfrm>
          <a:prstGeom prst="rect">
            <a:avLst/>
          </a:prstGeom>
        </p:spPr>
        <p:txBody>
          <a:bodyPr anchor="ctr" anchorCtr="0"/>
          <a:lstStyle>
            <a:lvl1pPr rtl="0">
              <a:defRPr>
                <a:solidFill>
                  <a:schemeClr val="tx2"/>
                </a:solidFill>
              </a:defRPr>
            </a:lvl1pPr>
          </a:lstStyle>
          <a:p>
            <a:fld id="{A90607E6-BCED-4FC1-A345-AB2A307AB80F}" type="slidenum">
              <a:rPr lang="en-US" sz="700" b="1" smtClean="0"/>
              <a:pPr/>
              <a:t>‹#›</a:t>
            </a:fld>
            <a:endParaRPr lang="en-US" b="1"/>
          </a:p>
        </p:txBody>
      </p:sp>
      <p:pic>
        <p:nvPicPr>
          <p:cNvPr id="28" name="Graphic 4">
            <a:extLst>
              <a:ext uri="{FF2B5EF4-FFF2-40B4-BE49-F238E27FC236}">
                <a16:creationId xmlns:a16="http://schemas.microsoft.com/office/drawing/2014/main" id="{968CDC6D-343E-4772-B746-F5247242228F}"/>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255140" y="4913719"/>
            <a:ext cx="380786" cy="113702"/>
          </a:xfrm>
          <a:prstGeom prst="rect">
            <a:avLst/>
          </a:prstGeom>
        </p:spPr>
      </p:pic>
      <p:sp>
        <p:nvSpPr>
          <p:cNvPr id="17" name="Marcador de texto 28">
            <a:extLst>
              <a:ext uri="{FF2B5EF4-FFF2-40B4-BE49-F238E27FC236}">
                <a16:creationId xmlns:a16="http://schemas.microsoft.com/office/drawing/2014/main" id="{2271DBCC-4BC8-7606-FDC1-CBA68567D433}"/>
              </a:ext>
            </a:extLst>
          </p:cNvPr>
          <p:cNvSpPr>
            <a:spLocks noGrp="1"/>
          </p:cNvSpPr>
          <p:nvPr>
            <p:ph type="body" sz="quarter" idx="27" hasCustomPrompt="1"/>
          </p:nvPr>
        </p:nvSpPr>
        <p:spPr>
          <a:xfrm>
            <a:off x="466344" y="58653"/>
            <a:ext cx="7128101" cy="429768"/>
          </a:xfrm>
        </p:spPr>
        <p:txBody>
          <a:bodyPr anchor="ctr" anchorCtr="0"/>
          <a:lstStyle>
            <a:lvl1pPr marL="0" indent="0" rtl="0">
              <a:buNone/>
              <a:defRPr sz="1400">
                <a:solidFill>
                  <a:schemeClr val="bg1"/>
                </a:solidFill>
              </a:defRPr>
            </a:lvl1pPr>
          </a:lstStyle>
          <a:p>
            <a:pPr marL="0" marR="0" lvl="0" indent="0" algn="l" defTabSz="10728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iconography</a:t>
            </a:r>
          </a:p>
        </p:txBody>
      </p:sp>
      <p:sp>
        <p:nvSpPr>
          <p:cNvPr id="18" name="Marcador de texto 11">
            <a:extLst>
              <a:ext uri="{FF2B5EF4-FFF2-40B4-BE49-F238E27FC236}">
                <a16:creationId xmlns:a16="http://schemas.microsoft.com/office/drawing/2014/main" id="{E3A43B34-4D65-9BB5-E2F3-4243FA26D972}"/>
              </a:ext>
            </a:extLst>
          </p:cNvPr>
          <p:cNvSpPr>
            <a:spLocks noGrp="1"/>
          </p:cNvSpPr>
          <p:nvPr>
            <p:ph type="body" sz="quarter" idx="45" hasCustomPrompt="1"/>
          </p:nvPr>
        </p:nvSpPr>
        <p:spPr>
          <a:xfrm>
            <a:off x="466344" y="4837588"/>
            <a:ext cx="7323915" cy="231775"/>
          </a:xfrm>
        </p:spPr>
        <p:txBody>
          <a:bodyPr anchor="b"/>
          <a:lstStyle>
            <a:lvl1pPr marL="0" indent="0" rtl="0">
              <a:lnSpc>
                <a:spcPct val="100000"/>
              </a:lnSpc>
              <a:spcBef>
                <a:spcPts val="0"/>
              </a:spcBef>
              <a:buNone/>
              <a:defRPr sz="700">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2" name="Text Placeholder 6">
            <a:extLst>
              <a:ext uri="{FF2B5EF4-FFF2-40B4-BE49-F238E27FC236}">
                <a16:creationId xmlns:a16="http://schemas.microsoft.com/office/drawing/2014/main" id="{418C2984-1B8D-4FE9-A07F-87671EFEF9FC}"/>
              </a:ext>
            </a:extLst>
          </p:cNvPr>
          <p:cNvSpPr>
            <a:spLocks noGrp="1"/>
          </p:cNvSpPr>
          <p:nvPr>
            <p:ph type="body" sz="quarter" idx="35" hasCustomPrompt="1"/>
          </p:nvPr>
        </p:nvSpPr>
        <p:spPr>
          <a:xfrm rot="16200000">
            <a:off x="8161020" y="-453411"/>
            <a:ext cx="512064" cy="1453896"/>
          </a:xfrm>
          <a:prstGeom prst="round2SameRect">
            <a:avLst>
              <a:gd name="adj1" fmla="val 50000"/>
              <a:gd name="adj2" fmla="val 0"/>
            </a:avLst>
          </a:prstGeom>
          <a:solidFill>
            <a:schemeClr val="bg1"/>
          </a:solidFill>
        </p:spPr>
        <p:txBody>
          <a:bodyPr anchor="ctr"/>
          <a:lstStyle>
            <a:lvl1pPr marL="0" indent="0" algn="ctr" rtl="0">
              <a:buNone/>
              <a:defRPr sz="1000" b="0" i="0">
                <a:solidFill>
                  <a:schemeClr val="bg1"/>
                </a:solidFill>
                <a:latin typeface="+mj-lt"/>
              </a:defRPr>
            </a:lvl1pPr>
          </a:lstStyle>
          <a:p>
            <a:pPr lvl="0"/>
            <a:r>
              <a:rPr lang="en-US"/>
              <a:t> </a:t>
            </a:r>
          </a:p>
        </p:txBody>
      </p:sp>
      <p:sp>
        <p:nvSpPr>
          <p:cNvPr id="22" name="Text Placeholder 6">
            <a:extLst>
              <a:ext uri="{FF2B5EF4-FFF2-40B4-BE49-F238E27FC236}">
                <a16:creationId xmlns:a16="http://schemas.microsoft.com/office/drawing/2014/main" id="{A191DCB2-F838-40E2-F3EE-AB6269646298}"/>
              </a:ext>
            </a:extLst>
          </p:cNvPr>
          <p:cNvSpPr>
            <a:spLocks noGrp="1"/>
          </p:cNvSpPr>
          <p:nvPr>
            <p:ph type="body" sz="quarter" idx="51" hasCustomPrompt="1"/>
          </p:nvPr>
        </p:nvSpPr>
        <p:spPr>
          <a:xfrm>
            <a:off x="7774438" y="122661"/>
            <a:ext cx="301752" cy="301752"/>
          </a:xfrm>
          <a:prstGeom prst="ellipse">
            <a:avLst/>
          </a:prstGeom>
          <a:solidFill>
            <a:schemeClr val="tx2"/>
          </a:solidFill>
        </p:spPr>
        <p:txBody>
          <a:bodyPr anchor="ctr"/>
          <a:lstStyle>
            <a:lvl1pPr marL="0" indent="0" algn="ctr" rtl="0">
              <a:buNone/>
              <a:defRPr sz="700" b="0" i="1">
                <a:solidFill>
                  <a:schemeClr val="bg1"/>
                </a:solidFill>
                <a:latin typeface="+mj-lt"/>
              </a:defRPr>
            </a:lvl1pPr>
          </a:lstStyle>
          <a:p>
            <a:pPr lvl="0"/>
            <a:r>
              <a:rPr lang="en-US"/>
              <a:t>icon</a:t>
            </a:r>
          </a:p>
        </p:txBody>
      </p:sp>
      <p:sp>
        <p:nvSpPr>
          <p:cNvPr id="23" name="Text Placeholder 6">
            <a:extLst>
              <a:ext uri="{FF2B5EF4-FFF2-40B4-BE49-F238E27FC236}">
                <a16:creationId xmlns:a16="http://schemas.microsoft.com/office/drawing/2014/main" id="{87C98926-9285-C752-107B-95F896E3351A}"/>
              </a:ext>
            </a:extLst>
          </p:cNvPr>
          <p:cNvSpPr>
            <a:spLocks noGrp="1"/>
          </p:cNvSpPr>
          <p:nvPr>
            <p:ph type="body" sz="quarter" idx="52" hasCustomPrompt="1"/>
          </p:nvPr>
        </p:nvSpPr>
        <p:spPr>
          <a:xfrm>
            <a:off x="8218347" y="236961"/>
            <a:ext cx="73152" cy="73152"/>
          </a:xfrm>
          <a:prstGeom prst="ellipse">
            <a:avLst/>
          </a:prstGeom>
          <a:solidFill>
            <a:schemeClr val="tx2"/>
          </a:solidFill>
        </p:spPr>
        <p:txBody>
          <a:bodyPr anchor="ctr"/>
          <a:lstStyle>
            <a:lvl1pPr marL="0" indent="0" algn="ctr" rtl="0">
              <a:buNone/>
              <a:defRPr sz="700" b="0" i="1">
                <a:solidFill>
                  <a:schemeClr val="bg1"/>
                </a:solidFill>
                <a:latin typeface="+mj-lt"/>
              </a:defRPr>
            </a:lvl1pPr>
          </a:lstStyle>
          <a:p>
            <a:pPr lvl="0"/>
            <a:r>
              <a:rPr lang="en-US"/>
              <a:t> </a:t>
            </a:r>
          </a:p>
        </p:txBody>
      </p:sp>
      <p:sp>
        <p:nvSpPr>
          <p:cNvPr id="24" name="Text Placeholder 6">
            <a:extLst>
              <a:ext uri="{FF2B5EF4-FFF2-40B4-BE49-F238E27FC236}">
                <a16:creationId xmlns:a16="http://schemas.microsoft.com/office/drawing/2014/main" id="{ADC9F979-AD21-F8D9-6FD3-739ACD9B210A}"/>
              </a:ext>
            </a:extLst>
          </p:cNvPr>
          <p:cNvSpPr>
            <a:spLocks noGrp="1"/>
          </p:cNvSpPr>
          <p:nvPr>
            <p:ph type="body" sz="quarter" idx="53" hasCustomPrompt="1"/>
          </p:nvPr>
        </p:nvSpPr>
        <p:spPr>
          <a:xfrm>
            <a:off x="8433656" y="236961"/>
            <a:ext cx="73152" cy="73152"/>
          </a:xfrm>
          <a:prstGeom prst="ellipse">
            <a:avLst/>
          </a:prstGeom>
          <a:solidFill>
            <a:schemeClr val="tx2"/>
          </a:solidFill>
        </p:spPr>
        <p:txBody>
          <a:bodyPr anchor="ctr"/>
          <a:lstStyle>
            <a:lvl1pPr marL="0" indent="0" algn="ctr" rtl="0">
              <a:buNone/>
              <a:defRPr sz="700" b="0" i="1">
                <a:solidFill>
                  <a:schemeClr val="bg1"/>
                </a:solidFill>
                <a:latin typeface="+mj-lt"/>
              </a:defRPr>
            </a:lvl1pPr>
          </a:lstStyle>
          <a:p>
            <a:pPr lvl="0"/>
            <a:r>
              <a:rPr lang="en-US"/>
              <a:t> </a:t>
            </a:r>
          </a:p>
        </p:txBody>
      </p:sp>
      <p:sp>
        <p:nvSpPr>
          <p:cNvPr id="25" name="Text Placeholder 6">
            <a:extLst>
              <a:ext uri="{FF2B5EF4-FFF2-40B4-BE49-F238E27FC236}">
                <a16:creationId xmlns:a16="http://schemas.microsoft.com/office/drawing/2014/main" id="{BAF007F3-75EB-B82C-D927-ACA56AA59A2D}"/>
              </a:ext>
            </a:extLst>
          </p:cNvPr>
          <p:cNvSpPr>
            <a:spLocks noGrp="1"/>
          </p:cNvSpPr>
          <p:nvPr>
            <p:ph type="body" sz="quarter" idx="54" hasCustomPrompt="1"/>
          </p:nvPr>
        </p:nvSpPr>
        <p:spPr>
          <a:xfrm>
            <a:off x="8648965" y="236961"/>
            <a:ext cx="73152" cy="73152"/>
          </a:xfrm>
          <a:prstGeom prst="ellipse">
            <a:avLst/>
          </a:prstGeom>
          <a:solidFill>
            <a:schemeClr val="tx2"/>
          </a:solidFill>
        </p:spPr>
        <p:txBody>
          <a:bodyPr anchor="ctr"/>
          <a:lstStyle>
            <a:lvl1pPr marL="0" indent="0" algn="ctr" rtl="0">
              <a:buNone/>
              <a:defRPr sz="700" b="0" i="1">
                <a:solidFill>
                  <a:schemeClr val="bg1"/>
                </a:solidFill>
                <a:latin typeface="+mj-lt"/>
              </a:defRPr>
            </a:lvl1pPr>
          </a:lstStyle>
          <a:p>
            <a:pPr lvl="0"/>
            <a:r>
              <a:rPr lang="en-US"/>
              <a:t> </a:t>
            </a:r>
          </a:p>
        </p:txBody>
      </p:sp>
      <p:sp>
        <p:nvSpPr>
          <p:cNvPr id="26" name="Text Placeholder 6">
            <a:extLst>
              <a:ext uri="{FF2B5EF4-FFF2-40B4-BE49-F238E27FC236}">
                <a16:creationId xmlns:a16="http://schemas.microsoft.com/office/drawing/2014/main" id="{EBF1CA00-3B0D-1589-187B-B9CB53A84925}"/>
              </a:ext>
            </a:extLst>
          </p:cNvPr>
          <p:cNvSpPr>
            <a:spLocks noGrp="1"/>
          </p:cNvSpPr>
          <p:nvPr>
            <p:ph type="body" sz="quarter" idx="55" hasCustomPrompt="1"/>
          </p:nvPr>
        </p:nvSpPr>
        <p:spPr>
          <a:xfrm>
            <a:off x="8864274" y="236961"/>
            <a:ext cx="73152" cy="73152"/>
          </a:xfrm>
          <a:prstGeom prst="ellipse">
            <a:avLst/>
          </a:prstGeom>
          <a:solidFill>
            <a:schemeClr val="tx2"/>
          </a:solidFill>
        </p:spPr>
        <p:txBody>
          <a:bodyPr anchor="ctr"/>
          <a:lstStyle>
            <a:lvl1pPr marL="0" indent="0" algn="ctr" rtl="0">
              <a:buNone/>
              <a:defRPr sz="700" b="0" i="1">
                <a:solidFill>
                  <a:schemeClr val="bg1"/>
                </a:solidFill>
                <a:latin typeface="+mj-lt"/>
              </a:defRPr>
            </a:lvl1pPr>
          </a:lstStyle>
          <a:p>
            <a:pPr lvl="0"/>
            <a:r>
              <a:rPr lang="en-US"/>
              <a:t> </a:t>
            </a:r>
          </a:p>
        </p:txBody>
      </p:sp>
      <p:sp>
        <p:nvSpPr>
          <p:cNvPr id="3" name="Content Placeholder 1">
            <a:extLst>
              <a:ext uri="{FF2B5EF4-FFF2-40B4-BE49-F238E27FC236}">
                <a16:creationId xmlns:a16="http://schemas.microsoft.com/office/drawing/2014/main" id="{9ECC57BF-AC85-1834-F20C-DD2CBA903DCD}"/>
              </a:ext>
            </a:extLst>
          </p:cNvPr>
          <p:cNvSpPr>
            <a:spLocks noGrp="1"/>
          </p:cNvSpPr>
          <p:nvPr>
            <p:ph idx="1"/>
          </p:nvPr>
        </p:nvSpPr>
        <p:spPr>
          <a:xfrm>
            <a:off x="466344" y="970684"/>
            <a:ext cx="8169510" cy="3666275"/>
          </a:xfrm>
        </p:spPr>
        <p:txBody>
          <a:bodyPr/>
          <a:lstStyle>
            <a:lvl1pPr rtl="0">
              <a:lnSpc>
                <a:spcPct val="90000"/>
              </a:lnSpc>
              <a:spcBef>
                <a:spcPts val="0"/>
              </a:spcBef>
              <a:defRPr sz="1200"/>
            </a:lvl1pPr>
          </a:lstStyle>
          <a:p>
            <a:pPr lvl="0"/>
            <a:r>
              <a:rPr lang="en-US"/>
              <a:t>Click to edit Master text styles</a:t>
            </a:r>
          </a:p>
        </p:txBody>
      </p:sp>
    </p:spTree>
    <p:extLst>
      <p:ext uri="{BB962C8B-B14F-4D97-AF65-F5344CB8AC3E}">
        <p14:creationId xmlns:p14="http://schemas.microsoft.com/office/powerpoint/2010/main" val="38468947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lide guidelines">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6A4F481-DA88-9B8A-CDCB-A72A1245DB02}"/>
              </a:ext>
            </a:extLst>
          </p:cNvPr>
          <p:cNvGraphicFramePr>
            <a:graphicFrameLocks noChangeAspect="1"/>
          </p:cNvGraphicFramePr>
          <p:nvPr userDrawn="1">
            <p:custDataLst>
              <p:tags r:id="rId1"/>
            </p:custDataLst>
            <p:extLst>
              <p:ext uri="{D42A27DB-BD31-4B8C-83A1-F6EECF244321}">
                <p14:modId xmlns:p14="http://schemas.microsoft.com/office/powerpoint/2010/main" val="20696411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6A4F481-DA88-9B8A-CDCB-A72A1245DB0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8" name="Google Shape;149;p16">
            <a:extLst>
              <a:ext uri="{FF2B5EF4-FFF2-40B4-BE49-F238E27FC236}">
                <a16:creationId xmlns:a16="http://schemas.microsoft.com/office/drawing/2014/main" id="{4F25C6DC-9324-081C-335A-3836A1D75244}"/>
              </a:ext>
            </a:extLst>
          </p:cNvPr>
          <p:cNvSpPr/>
          <p:nvPr userDrawn="1"/>
        </p:nvSpPr>
        <p:spPr>
          <a:xfrm>
            <a:off x="-3265" y="-23643"/>
            <a:ext cx="9157775" cy="594360"/>
          </a:xfrm>
          <a:prstGeom prst="rect">
            <a:avLst/>
          </a:pr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19" name="Marcador de texto 28">
            <a:extLst>
              <a:ext uri="{FF2B5EF4-FFF2-40B4-BE49-F238E27FC236}">
                <a16:creationId xmlns:a16="http://schemas.microsoft.com/office/drawing/2014/main" id="{B067DE09-55C7-0BD3-434D-2FDC1925CDEE}"/>
              </a:ext>
            </a:extLst>
          </p:cNvPr>
          <p:cNvSpPr>
            <a:spLocks noGrp="1"/>
          </p:cNvSpPr>
          <p:nvPr>
            <p:ph type="body" sz="quarter" idx="11" hasCustomPrompt="1"/>
          </p:nvPr>
        </p:nvSpPr>
        <p:spPr>
          <a:xfrm>
            <a:off x="466344" y="58653"/>
            <a:ext cx="8169510" cy="429768"/>
          </a:xfrm>
        </p:spPr>
        <p:txBody>
          <a:bodyPr anchor="ctr" anchorCtr="0"/>
          <a:lstStyle>
            <a:lvl1pPr marL="0" indent="0" rtl="0">
              <a:buNone/>
              <a:defRPr sz="1400">
                <a:solidFill>
                  <a:schemeClr val="bg1"/>
                </a:solidFill>
              </a:defRPr>
            </a:lvl1pPr>
          </a:lstStyle>
          <a:p>
            <a:pPr marL="0" marR="0" lvl="0" indent="0" algn="l" defTabSz="10728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lide guidelines</a:t>
            </a:r>
          </a:p>
        </p:txBody>
      </p:sp>
      <p:sp>
        <p:nvSpPr>
          <p:cNvPr id="20" name="Marcador de texto 11">
            <a:extLst>
              <a:ext uri="{FF2B5EF4-FFF2-40B4-BE49-F238E27FC236}">
                <a16:creationId xmlns:a16="http://schemas.microsoft.com/office/drawing/2014/main" id="{C9D7E153-4FD2-00D6-A4C7-607146374795}"/>
              </a:ext>
            </a:extLst>
          </p:cNvPr>
          <p:cNvSpPr>
            <a:spLocks noGrp="1"/>
          </p:cNvSpPr>
          <p:nvPr>
            <p:ph type="body" sz="quarter" idx="28" hasCustomPrompt="1"/>
          </p:nvPr>
        </p:nvSpPr>
        <p:spPr>
          <a:xfrm>
            <a:off x="466344" y="4837588"/>
            <a:ext cx="7323915" cy="231775"/>
          </a:xfrm>
        </p:spPr>
        <p:txBody>
          <a:bodyPr anchor="b"/>
          <a:lstStyle>
            <a:lvl1pPr marL="0" indent="0" rtl="0">
              <a:lnSpc>
                <a:spcPct val="100000"/>
              </a:lnSpc>
              <a:spcBef>
                <a:spcPts val="0"/>
              </a:spcBef>
              <a:buNone/>
              <a:defRPr sz="700">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21" name="Rectángulo 38">
            <a:extLst>
              <a:ext uri="{FF2B5EF4-FFF2-40B4-BE49-F238E27FC236}">
                <a16:creationId xmlns:a16="http://schemas.microsoft.com/office/drawing/2014/main" id="{C5EB11EB-224C-737A-4700-C4F878483B04}"/>
              </a:ext>
            </a:extLst>
          </p:cNvPr>
          <p:cNvSpPr/>
          <p:nvPr userDrawn="1"/>
        </p:nvSpPr>
        <p:spPr>
          <a:xfrm>
            <a:off x="466345" y="4763450"/>
            <a:ext cx="7323914" cy="380050"/>
          </a:xfrm>
          <a:prstGeom prst="rect">
            <a:avLst/>
          </a:prstGeom>
          <a:noFill/>
          <a:ln>
            <a:solidFill>
              <a:schemeClr val="accent1"/>
            </a:solidFill>
            <a:prstDash val="dash"/>
          </a:ln>
        </p:spPr>
        <p:style>
          <a:lnRef idx="2">
            <a:schemeClr val="accent1">
              <a:shade val="15000"/>
            </a:schemeClr>
          </a:lnRef>
          <a:fillRef idx="1">
            <a:schemeClr val="accent1"/>
          </a:fillRef>
          <a:effectRef idx="0">
            <a:schemeClr val="accent1"/>
          </a:effectRef>
          <a:fontRef idx="minor">
            <a:schemeClr val="lt1"/>
          </a:fontRef>
        </p:style>
        <p:txBody>
          <a:bodyPr wrap="square" lIns="180000" tIns="360000" rIns="288000" bIns="0" rtlCol="0" anchor="t" anchorCtr="0"/>
          <a:lstStyle/>
          <a:p>
            <a:pPr marL="177800" indent="0" algn="l" rtl="0">
              <a:spcBef>
                <a:spcPts val="0"/>
              </a:spcBef>
              <a:spcAft>
                <a:spcPts val="0"/>
              </a:spcAft>
              <a:tabLst/>
            </a:pPr>
            <a:endParaRPr lang="en-US" sz="1000" b="0" i="0">
              <a:effectLst/>
              <a:latin typeface="Lato Light" panose="020F0502020204030203" pitchFamily="34" charset="0"/>
              <a:ea typeface="Lato Light" panose="020F0502020204030203" pitchFamily="34" charset="0"/>
              <a:cs typeface="Lato Light" panose="020F0502020204030203" pitchFamily="34" charset="0"/>
            </a:endParaRPr>
          </a:p>
          <a:p>
            <a:pPr algn="l" rtl="0"/>
            <a:endParaRPr lang="en-US" sz="1000" b="0" i="0">
              <a:solidFill>
                <a:srgbClr val="3F4043"/>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2" name="Rectángulo 14">
            <a:extLst>
              <a:ext uri="{FF2B5EF4-FFF2-40B4-BE49-F238E27FC236}">
                <a16:creationId xmlns:a16="http://schemas.microsoft.com/office/drawing/2014/main" id="{69963358-235B-68C1-231A-26331875DAA7}"/>
              </a:ext>
            </a:extLst>
          </p:cNvPr>
          <p:cNvSpPr/>
          <p:nvPr userDrawn="1"/>
        </p:nvSpPr>
        <p:spPr>
          <a:xfrm>
            <a:off x="466344" y="970684"/>
            <a:ext cx="8169509" cy="3666275"/>
          </a:xfrm>
          <a:prstGeom prst="rect">
            <a:avLst/>
          </a:prstGeom>
          <a:solidFill>
            <a:srgbClr val="F0F2F9"/>
          </a:solidFill>
          <a:ln>
            <a:solidFill>
              <a:schemeClr val="accent1"/>
            </a:solidFill>
            <a:prstDash val="dash"/>
          </a:ln>
        </p:spPr>
        <p:style>
          <a:lnRef idx="2">
            <a:schemeClr val="accent1">
              <a:shade val="15000"/>
            </a:schemeClr>
          </a:lnRef>
          <a:fillRef idx="1">
            <a:schemeClr val="accent1"/>
          </a:fillRef>
          <a:effectRef idx="0">
            <a:schemeClr val="accent1"/>
          </a:effectRef>
          <a:fontRef idx="minor">
            <a:schemeClr val="lt1"/>
          </a:fontRef>
        </p:style>
        <p:txBody>
          <a:bodyPr wrap="square" lIns="180000" tIns="360000" rIns="288000" bIns="0" rtlCol="0" anchor="t" anchorCtr="0"/>
          <a:lstStyle/>
          <a:p>
            <a:pPr marL="177800" indent="0" algn="l" rtl="0">
              <a:spcBef>
                <a:spcPts val="0"/>
              </a:spcBef>
              <a:spcAft>
                <a:spcPts val="0"/>
              </a:spcAft>
              <a:tabLst/>
            </a:pPr>
            <a:endParaRPr lang="en-US" sz="1000" b="0" i="0">
              <a:effectLst/>
              <a:latin typeface="Lato Light" panose="020F0502020204030203" pitchFamily="34" charset="0"/>
              <a:ea typeface="Lato Light" panose="020F0502020204030203" pitchFamily="34" charset="0"/>
              <a:cs typeface="Lato Light" panose="020F0502020204030203" pitchFamily="34" charset="0"/>
            </a:endParaRPr>
          </a:p>
          <a:p>
            <a:pPr algn="l" rtl="0"/>
            <a:br>
              <a:rPr lang="en-US" sz="1000" b="0" i="0">
                <a:latin typeface="Lato Light" panose="020F0502020204030203" pitchFamily="34" charset="0"/>
                <a:ea typeface="Lato Light" panose="020F0502020204030203" pitchFamily="34" charset="0"/>
                <a:cs typeface="Lato Light" panose="020F0502020204030203" pitchFamily="34" charset="0"/>
              </a:rPr>
            </a:br>
            <a:endParaRPr lang="en-US" sz="1000" b="0" i="0">
              <a:solidFill>
                <a:srgbClr val="3F4043"/>
              </a:solidFill>
              <a:latin typeface="Lato Light" panose="020F0502020204030203" pitchFamily="34" charset="0"/>
              <a:ea typeface="Lato Light" panose="020F0502020204030203" pitchFamily="34" charset="0"/>
              <a:cs typeface="Lato Light" panose="020F0502020204030203" pitchFamily="34" charset="0"/>
            </a:endParaRPr>
          </a:p>
        </p:txBody>
      </p:sp>
      <p:cxnSp>
        <p:nvCxnSpPr>
          <p:cNvPr id="3" name="Conector recto 57">
            <a:extLst>
              <a:ext uri="{FF2B5EF4-FFF2-40B4-BE49-F238E27FC236}">
                <a16:creationId xmlns:a16="http://schemas.microsoft.com/office/drawing/2014/main" id="{091C39D3-0E77-9FBC-A755-3EC9E1E2B18E}"/>
              </a:ext>
            </a:extLst>
          </p:cNvPr>
          <p:cNvCxnSpPr>
            <a:cxnSpLocks/>
            <a:stCxn id="2" idx="0"/>
            <a:endCxn id="2" idx="2"/>
          </p:cNvCxnSpPr>
          <p:nvPr userDrawn="1"/>
        </p:nvCxnSpPr>
        <p:spPr>
          <a:xfrm>
            <a:off x="4551099" y="970684"/>
            <a:ext cx="0" cy="3666275"/>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82448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B07E96-0A3A-4578-92FB-3DE2F78DF300}"/>
              </a:ext>
            </a:extLst>
          </p:cNvPr>
          <p:cNvGraphicFramePr>
            <a:graphicFrameLocks noChangeAspect="1"/>
          </p:cNvGraphicFramePr>
          <p:nvPr>
            <p:custDataLst>
              <p:tags r:id="rId1"/>
            </p:custDataLst>
            <p:extLst>
              <p:ext uri="{D42A27DB-BD31-4B8C-83A1-F6EECF244321}">
                <p14:modId xmlns:p14="http://schemas.microsoft.com/office/powerpoint/2010/main" val="2180589147"/>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DB07E96-0A3A-4578-92FB-3DE2F78DF300}"/>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028B8AF-444E-4AD5-A6E3-D97BD19A901E}"/>
              </a:ext>
            </a:extLst>
          </p:cNvPr>
          <p:cNvSpPr>
            <a:spLocks noGrp="1"/>
          </p:cNvSpPr>
          <p:nvPr>
            <p:ph idx="1"/>
          </p:nvPr>
        </p:nvSpPr>
        <p:spPr>
          <a:xfrm>
            <a:off x="245853" y="983412"/>
            <a:ext cx="8637198" cy="3959525"/>
          </a:xfrm>
        </p:spPr>
        <p:txBody>
          <a:bodyPr>
            <a:normAutofit/>
          </a:bodyPr>
          <a:lstStyle>
            <a:lvl1pPr>
              <a:defRPr sz="1800"/>
            </a:lvl1pPr>
            <a:lvl2pPr>
              <a:defRPr sz="1500"/>
            </a:lvl2pPr>
            <a:lvl3pPr>
              <a:defRPr sz="135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Google Shape;149;p16">
            <a:extLst>
              <a:ext uri="{FF2B5EF4-FFF2-40B4-BE49-F238E27FC236}">
                <a16:creationId xmlns:a16="http://schemas.microsoft.com/office/drawing/2014/main" id="{57444038-213D-1C32-3BFD-25F7DC707494}"/>
              </a:ext>
            </a:extLst>
          </p:cNvPr>
          <p:cNvSpPr/>
          <p:nvPr userDrawn="1"/>
        </p:nvSpPr>
        <p:spPr>
          <a:xfrm>
            <a:off x="-3265" y="-23643"/>
            <a:ext cx="9147265" cy="59436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6" name="Marcador de texto 28">
            <a:extLst>
              <a:ext uri="{FF2B5EF4-FFF2-40B4-BE49-F238E27FC236}">
                <a16:creationId xmlns:a16="http://schemas.microsoft.com/office/drawing/2014/main" id="{D1D2EA27-7CA8-04E8-9347-ECD6B839687E}"/>
              </a:ext>
            </a:extLst>
          </p:cNvPr>
          <p:cNvSpPr>
            <a:spLocks noGrp="1"/>
          </p:cNvSpPr>
          <p:nvPr>
            <p:ph type="body" sz="quarter" idx="27" hasCustomPrompt="1"/>
          </p:nvPr>
        </p:nvSpPr>
        <p:spPr>
          <a:xfrm>
            <a:off x="206574" y="58653"/>
            <a:ext cx="8676477" cy="429768"/>
          </a:xfrm>
        </p:spPr>
        <p:txBody>
          <a:bodyPr anchor="ctr" anchorCtr="0"/>
          <a:lstStyle>
            <a:lvl1pPr marL="0" indent="0" rtl="0">
              <a:buNone/>
              <a:defRPr sz="1400" b="1">
                <a:solidFill>
                  <a:schemeClr val="bg1"/>
                </a:solidFill>
              </a:defRPr>
            </a:lvl1pPr>
          </a:lstStyle>
          <a:p>
            <a:pPr marL="0" marR="0" lvl="0" indent="0" algn="l" defTabSz="10728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numbers</a:t>
            </a:r>
          </a:p>
        </p:txBody>
      </p:sp>
      <p:sp>
        <p:nvSpPr>
          <p:cNvPr id="17" name="Slide Number Placeholder 5">
            <a:extLst>
              <a:ext uri="{FF2B5EF4-FFF2-40B4-BE49-F238E27FC236}">
                <a16:creationId xmlns:a16="http://schemas.microsoft.com/office/drawing/2014/main" id="{521F7AAD-9078-B5B4-0558-E8D0362AF267}"/>
              </a:ext>
            </a:extLst>
          </p:cNvPr>
          <p:cNvSpPr>
            <a:spLocks noGrp="1"/>
          </p:cNvSpPr>
          <p:nvPr>
            <p:ph type="sldNum" sz="quarter" idx="4294967295"/>
          </p:nvPr>
        </p:nvSpPr>
        <p:spPr>
          <a:xfrm>
            <a:off x="8729560" y="4911474"/>
            <a:ext cx="342581" cy="96296"/>
          </a:xfrm>
          <a:prstGeom prst="rect">
            <a:avLst/>
          </a:prstGeom>
        </p:spPr>
        <p:txBody>
          <a:bodyPr anchor="ctr" anchorCtr="0"/>
          <a:lstStyle>
            <a:lvl1pPr rtl="0">
              <a:defRPr>
                <a:solidFill>
                  <a:schemeClr val="tx1"/>
                </a:solidFill>
              </a:defRPr>
            </a:lvl1pPr>
          </a:lstStyle>
          <a:p>
            <a:fld id="{A90607E6-BCED-4FC1-A345-AB2A307AB80F}" type="slidenum">
              <a:rPr lang="en-US" sz="700" b="1" smtClean="0"/>
              <a:pPr/>
              <a:t>‹#›</a:t>
            </a:fld>
            <a:endParaRPr lang="en-US" b="1"/>
          </a:p>
        </p:txBody>
      </p:sp>
    </p:spTree>
    <p:extLst>
      <p:ext uri="{BB962C8B-B14F-4D97-AF65-F5344CB8AC3E}">
        <p14:creationId xmlns:p14="http://schemas.microsoft.com/office/powerpoint/2010/main" val="483641742"/>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ogo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43AE969-9C01-D83F-0126-A8C78A131327}"/>
              </a:ext>
            </a:extLst>
          </p:cNvPr>
          <p:cNvGraphicFramePr>
            <a:graphicFrameLocks noChangeAspect="1"/>
          </p:cNvGraphicFramePr>
          <p:nvPr userDrawn="1">
            <p:custDataLst>
              <p:tags r:id="rId1"/>
            </p:custDataLst>
            <p:extLst>
              <p:ext uri="{D42A27DB-BD31-4B8C-83A1-F6EECF244321}">
                <p14:modId xmlns:p14="http://schemas.microsoft.com/office/powerpoint/2010/main" val="2104035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think-cell data - do not delete" hidden="1">
                        <a:extLst>
                          <a:ext uri="{FF2B5EF4-FFF2-40B4-BE49-F238E27FC236}">
                            <a16:creationId xmlns:a16="http://schemas.microsoft.com/office/drawing/2014/main" id="{643AE969-9C01-D83F-0126-A8C78A1313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Google Shape;149;p16">
            <a:extLst>
              <a:ext uri="{FF2B5EF4-FFF2-40B4-BE49-F238E27FC236}">
                <a16:creationId xmlns:a16="http://schemas.microsoft.com/office/drawing/2014/main" id="{20107C94-4CFE-2A93-58F2-78027B28A5DC}"/>
              </a:ext>
            </a:extLst>
          </p:cNvPr>
          <p:cNvSpPr/>
          <p:nvPr userDrawn="1"/>
        </p:nvSpPr>
        <p:spPr>
          <a:xfrm>
            <a:off x="-3265" y="-23643"/>
            <a:ext cx="9157775" cy="593041"/>
          </a:xfrm>
          <a:prstGeom prst="rect">
            <a:avLst/>
          </a:prstGeom>
          <a:solidFill>
            <a:srgbClr val="88194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3" name="Title 1">
            <a:extLst>
              <a:ext uri="{FF2B5EF4-FFF2-40B4-BE49-F238E27FC236}">
                <a16:creationId xmlns:a16="http://schemas.microsoft.com/office/drawing/2014/main" id="{AC33C26B-5E89-D470-8AA2-29F70A6E6D48}"/>
              </a:ext>
            </a:extLst>
          </p:cNvPr>
          <p:cNvSpPr txBox="1">
            <a:spLocks/>
          </p:cNvSpPr>
          <p:nvPr userDrawn="1"/>
        </p:nvSpPr>
        <p:spPr bwMode="gray">
          <a:xfrm>
            <a:off x="452417" y="925187"/>
            <a:ext cx="1746178" cy="123111"/>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800" spc="113">
                <a:solidFill>
                  <a:srgbClr val="881946"/>
                </a:solidFill>
                <a:latin typeface="Lato" panose="020F0502020204030203" pitchFamily="34" charset="77"/>
              </a:rPr>
              <a:t>DALBERG’s MAIN LOGO </a:t>
            </a:r>
          </a:p>
        </p:txBody>
      </p:sp>
      <p:sp>
        <p:nvSpPr>
          <p:cNvPr id="4" name="Title 1">
            <a:extLst>
              <a:ext uri="{FF2B5EF4-FFF2-40B4-BE49-F238E27FC236}">
                <a16:creationId xmlns:a16="http://schemas.microsoft.com/office/drawing/2014/main" id="{3207F05E-83E0-FD9C-07AD-991966A000D4}"/>
              </a:ext>
            </a:extLst>
          </p:cNvPr>
          <p:cNvSpPr txBox="1">
            <a:spLocks/>
          </p:cNvSpPr>
          <p:nvPr userDrawn="1"/>
        </p:nvSpPr>
        <p:spPr bwMode="gray">
          <a:xfrm>
            <a:off x="3135104" y="925187"/>
            <a:ext cx="1746178" cy="123111"/>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800" spc="113">
                <a:solidFill>
                  <a:srgbClr val="881946"/>
                </a:solidFill>
                <a:latin typeface="Lato" panose="020F0502020204030203" pitchFamily="34" charset="77"/>
              </a:rPr>
              <a:t>DALBERG’s SUB-BRANDS</a:t>
            </a:r>
          </a:p>
        </p:txBody>
      </p:sp>
      <p:sp>
        <p:nvSpPr>
          <p:cNvPr id="5" name="Title 1">
            <a:extLst>
              <a:ext uri="{FF2B5EF4-FFF2-40B4-BE49-F238E27FC236}">
                <a16:creationId xmlns:a16="http://schemas.microsoft.com/office/drawing/2014/main" id="{91BA4BB9-C5E4-E41F-3017-2195B947CD19}"/>
              </a:ext>
            </a:extLst>
          </p:cNvPr>
          <p:cNvSpPr txBox="1">
            <a:spLocks/>
          </p:cNvSpPr>
          <p:nvPr userDrawn="1"/>
        </p:nvSpPr>
        <p:spPr bwMode="gray">
          <a:xfrm>
            <a:off x="3135104" y="3159104"/>
            <a:ext cx="1746178" cy="123111"/>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800" spc="113">
                <a:solidFill>
                  <a:srgbClr val="881946"/>
                </a:solidFill>
                <a:latin typeface="Lato" panose="020F0502020204030203" pitchFamily="34" charset="77"/>
              </a:rPr>
              <a:t>CONDENSED VERSIONS</a:t>
            </a:r>
          </a:p>
        </p:txBody>
      </p:sp>
      <p:pic>
        <p:nvPicPr>
          <p:cNvPr id="6" name="Graphic 9">
            <a:extLst>
              <a:ext uri="{FF2B5EF4-FFF2-40B4-BE49-F238E27FC236}">
                <a16:creationId xmlns:a16="http://schemas.microsoft.com/office/drawing/2014/main" id="{5F4E8FCE-B2F0-4353-F52A-2D39B69FCC92}"/>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35104" y="1251886"/>
            <a:ext cx="1860455" cy="265779"/>
          </a:xfrm>
          <a:prstGeom prst="rect">
            <a:avLst/>
          </a:prstGeom>
        </p:spPr>
      </p:pic>
      <p:pic>
        <p:nvPicPr>
          <p:cNvPr id="7" name="Graphic 11">
            <a:extLst>
              <a:ext uri="{FF2B5EF4-FFF2-40B4-BE49-F238E27FC236}">
                <a16:creationId xmlns:a16="http://schemas.microsoft.com/office/drawing/2014/main" id="{7A99B8A8-D5C1-7F82-4856-7536F2948904}"/>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87419" y="2080732"/>
            <a:ext cx="1908159" cy="265779"/>
          </a:xfrm>
          <a:prstGeom prst="rect">
            <a:avLst/>
          </a:prstGeom>
        </p:spPr>
      </p:pic>
      <p:pic>
        <p:nvPicPr>
          <p:cNvPr id="8" name="Graphic 13">
            <a:extLst>
              <a:ext uri="{FF2B5EF4-FFF2-40B4-BE49-F238E27FC236}">
                <a16:creationId xmlns:a16="http://schemas.microsoft.com/office/drawing/2014/main" id="{1765EB2F-EFCD-38B7-96E7-01F4DB5AD35E}"/>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87419" y="1674751"/>
            <a:ext cx="1601490" cy="265779"/>
          </a:xfrm>
          <a:prstGeom prst="rect">
            <a:avLst/>
          </a:prstGeom>
        </p:spPr>
      </p:pic>
      <p:pic>
        <p:nvPicPr>
          <p:cNvPr id="10" name="Graphic 17">
            <a:extLst>
              <a:ext uri="{FF2B5EF4-FFF2-40B4-BE49-F238E27FC236}">
                <a16:creationId xmlns:a16="http://schemas.microsoft.com/office/drawing/2014/main" id="{EE3CE4B1-C299-1C4C-A426-C66777AFAE41}"/>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63567" y="1251885"/>
            <a:ext cx="1649194" cy="265779"/>
          </a:xfrm>
          <a:prstGeom prst="rect">
            <a:avLst/>
          </a:prstGeom>
        </p:spPr>
      </p:pic>
      <p:pic>
        <p:nvPicPr>
          <p:cNvPr id="11" name="Graphic 19">
            <a:extLst>
              <a:ext uri="{FF2B5EF4-FFF2-40B4-BE49-F238E27FC236}">
                <a16:creationId xmlns:a16="http://schemas.microsoft.com/office/drawing/2014/main" id="{465E76C2-05F7-912D-0940-C4E353B91BCF}"/>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130319" y="2080732"/>
            <a:ext cx="2330680" cy="265779"/>
          </a:xfrm>
          <a:prstGeom prst="rect">
            <a:avLst/>
          </a:prstGeom>
        </p:spPr>
      </p:pic>
      <p:pic>
        <p:nvPicPr>
          <p:cNvPr id="12" name="Graphic 21">
            <a:extLst>
              <a:ext uri="{FF2B5EF4-FFF2-40B4-BE49-F238E27FC236}">
                <a16:creationId xmlns:a16="http://schemas.microsoft.com/office/drawing/2014/main" id="{5F68D72C-450F-08C8-0F7B-3165BD9C1996}"/>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129898" y="1667845"/>
            <a:ext cx="1819565" cy="258964"/>
          </a:xfrm>
          <a:prstGeom prst="rect">
            <a:avLst/>
          </a:prstGeom>
        </p:spPr>
      </p:pic>
      <p:pic>
        <p:nvPicPr>
          <p:cNvPr id="13" name="Graphic 22">
            <a:extLst>
              <a:ext uri="{FF2B5EF4-FFF2-40B4-BE49-F238E27FC236}">
                <a16:creationId xmlns:a16="http://schemas.microsoft.com/office/drawing/2014/main" id="{795BB61B-1C52-0BCD-DEAB-764296C84FAF}"/>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52417" y="1264323"/>
            <a:ext cx="1819565" cy="543317"/>
          </a:xfrm>
          <a:prstGeom prst="rect">
            <a:avLst/>
          </a:prstGeom>
        </p:spPr>
      </p:pic>
      <p:pic>
        <p:nvPicPr>
          <p:cNvPr id="14" name="Graphic 24">
            <a:extLst>
              <a:ext uri="{FF2B5EF4-FFF2-40B4-BE49-F238E27FC236}">
                <a16:creationId xmlns:a16="http://schemas.microsoft.com/office/drawing/2014/main" id="{8A273315-A5EE-B428-4B7D-57EB0D8F52DF}"/>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574805" y="3594406"/>
            <a:ext cx="879765" cy="329912"/>
          </a:xfrm>
          <a:prstGeom prst="rect">
            <a:avLst/>
          </a:prstGeom>
        </p:spPr>
      </p:pic>
      <p:pic>
        <p:nvPicPr>
          <p:cNvPr id="15" name="Graphic 26">
            <a:extLst>
              <a:ext uri="{FF2B5EF4-FFF2-40B4-BE49-F238E27FC236}">
                <a16:creationId xmlns:a16="http://schemas.microsoft.com/office/drawing/2014/main" id="{B11A1EC5-8035-85E5-06DF-E12B91DF562B}"/>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574806" y="4054517"/>
            <a:ext cx="879765" cy="329912"/>
          </a:xfrm>
          <a:prstGeom prst="rect">
            <a:avLst/>
          </a:prstGeom>
        </p:spPr>
      </p:pic>
      <p:pic>
        <p:nvPicPr>
          <p:cNvPr id="17" name="Graphic 30">
            <a:extLst>
              <a:ext uri="{FF2B5EF4-FFF2-40B4-BE49-F238E27FC236}">
                <a16:creationId xmlns:a16="http://schemas.microsoft.com/office/drawing/2014/main" id="{E9666FBD-F5DB-E431-93F7-3A78FE081416}"/>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384934" y="3583409"/>
            <a:ext cx="879765" cy="351906"/>
          </a:xfrm>
          <a:prstGeom prst="rect">
            <a:avLst/>
          </a:prstGeom>
        </p:spPr>
      </p:pic>
      <p:pic>
        <p:nvPicPr>
          <p:cNvPr id="18" name="Graphic 32">
            <a:extLst>
              <a:ext uri="{FF2B5EF4-FFF2-40B4-BE49-F238E27FC236}">
                <a16:creationId xmlns:a16="http://schemas.microsoft.com/office/drawing/2014/main" id="{58CE37B3-5C3E-1E04-D043-0E99C922EF0B}"/>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384933" y="4042314"/>
            <a:ext cx="879765" cy="359237"/>
          </a:xfrm>
          <a:prstGeom prst="rect">
            <a:avLst/>
          </a:prstGeom>
        </p:spPr>
      </p:pic>
      <p:pic>
        <p:nvPicPr>
          <p:cNvPr id="19" name="Graphic 34">
            <a:extLst>
              <a:ext uri="{FF2B5EF4-FFF2-40B4-BE49-F238E27FC236}">
                <a16:creationId xmlns:a16="http://schemas.microsoft.com/office/drawing/2014/main" id="{56ACEC38-C61B-1B66-6C53-A474246F5743}"/>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130319" y="4049066"/>
            <a:ext cx="887096" cy="351906"/>
          </a:xfrm>
          <a:prstGeom prst="rect">
            <a:avLst/>
          </a:prstGeom>
        </p:spPr>
      </p:pic>
      <p:pic>
        <p:nvPicPr>
          <p:cNvPr id="20" name="Graphic 36">
            <a:extLst>
              <a:ext uri="{FF2B5EF4-FFF2-40B4-BE49-F238E27FC236}">
                <a16:creationId xmlns:a16="http://schemas.microsoft.com/office/drawing/2014/main" id="{0A3C12AE-C2E2-99B1-80BE-4025C22B1F44}"/>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144952" y="3583409"/>
            <a:ext cx="879765" cy="329912"/>
          </a:xfrm>
          <a:prstGeom prst="rect">
            <a:avLst/>
          </a:prstGeom>
        </p:spPr>
      </p:pic>
      <p:sp>
        <p:nvSpPr>
          <p:cNvPr id="21" name="Title 1">
            <a:extLst>
              <a:ext uri="{FF2B5EF4-FFF2-40B4-BE49-F238E27FC236}">
                <a16:creationId xmlns:a16="http://schemas.microsoft.com/office/drawing/2014/main" id="{59771665-4120-E77D-D040-80F7774D05EA}"/>
              </a:ext>
            </a:extLst>
          </p:cNvPr>
          <p:cNvSpPr txBox="1">
            <a:spLocks/>
          </p:cNvSpPr>
          <p:nvPr userDrawn="1"/>
        </p:nvSpPr>
        <p:spPr bwMode="gray">
          <a:xfrm>
            <a:off x="236573" y="149025"/>
            <a:ext cx="8511427" cy="207749"/>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1350" spc="0">
                <a:solidFill>
                  <a:schemeClr val="bg1"/>
                </a:solidFill>
                <a:latin typeface="Lato Light" panose="020F0302020204030203" pitchFamily="34" charset="77"/>
              </a:rPr>
              <a:t>THESE ARE ALL OF DALBERG’S LOGOS AS .SVGs (meaning you can edit their colors inside PPT) </a:t>
            </a:r>
          </a:p>
        </p:txBody>
      </p:sp>
    </p:spTree>
    <p:extLst>
      <p:ext uri="{BB962C8B-B14F-4D97-AF65-F5344CB8AC3E}">
        <p14:creationId xmlns:p14="http://schemas.microsoft.com/office/powerpoint/2010/main" val="7629526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conography 1/3">
    <p:spTree>
      <p:nvGrpSpPr>
        <p:cNvPr id="1" name=""/>
        <p:cNvGrpSpPr/>
        <p:nvPr/>
      </p:nvGrpSpPr>
      <p:grpSpPr>
        <a:xfrm>
          <a:off x="0" y="0"/>
          <a:ext cx="0" cy="0"/>
          <a:chOff x="0" y="0"/>
          <a:chExt cx="0" cy="0"/>
        </a:xfrm>
      </p:grpSpPr>
      <p:graphicFrame>
        <p:nvGraphicFramePr>
          <p:cNvPr id="74" name="think-cell data - do not delete" hidden="1">
            <a:extLst>
              <a:ext uri="{FF2B5EF4-FFF2-40B4-BE49-F238E27FC236}">
                <a16:creationId xmlns:a16="http://schemas.microsoft.com/office/drawing/2014/main" id="{70887BFF-733A-D6E5-8592-23B1514B7717}"/>
              </a:ext>
            </a:extLst>
          </p:cNvPr>
          <p:cNvGraphicFramePr>
            <a:graphicFrameLocks noChangeAspect="1"/>
          </p:cNvGraphicFramePr>
          <p:nvPr userDrawn="1">
            <p:custDataLst>
              <p:tags r:id="rId1"/>
            </p:custDataLst>
            <p:extLst>
              <p:ext uri="{D42A27DB-BD31-4B8C-83A1-F6EECF244321}">
                <p14:modId xmlns:p14="http://schemas.microsoft.com/office/powerpoint/2010/main" val="3952686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4" name="think-cell data - do not delete" hidden="1">
                        <a:extLst>
                          <a:ext uri="{FF2B5EF4-FFF2-40B4-BE49-F238E27FC236}">
                            <a16:creationId xmlns:a16="http://schemas.microsoft.com/office/drawing/2014/main" id="{70887BFF-733A-D6E5-8592-23B1514B77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Google Shape;149;p16">
            <a:extLst>
              <a:ext uri="{FF2B5EF4-FFF2-40B4-BE49-F238E27FC236}">
                <a16:creationId xmlns:a16="http://schemas.microsoft.com/office/drawing/2014/main" id="{0F362C44-0A8F-4791-5878-3A81668562D6}"/>
              </a:ext>
            </a:extLst>
          </p:cNvPr>
          <p:cNvSpPr/>
          <p:nvPr userDrawn="1"/>
        </p:nvSpPr>
        <p:spPr>
          <a:xfrm>
            <a:off x="-3265" y="-23643"/>
            <a:ext cx="9157775" cy="593041"/>
          </a:xfrm>
          <a:prstGeom prst="rect">
            <a:avLst/>
          </a:prstGeom>
          <a:solidFill>
            <a:srgbClr val="88194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3" name="Title 1">
            <a:extLst>
              <a:ext uri="{FF2B5EF4-FFF2-40B4-BE49-F238E27FC236}">
                <a16:creationId xmlns:a16="http://schemas.microsoft.com/office/drawing/2014/main" id="{E4EA99F8-12FA-D772-6629-54393188BF67}"/>
              </a:ext>
            </a:extLst>
          </p:cNvPr>
          <p:cNvSpPr txBox="1">
            <a:spLocks/>
          </p:cNvSpPr>
          <p:nvPr userDrawn="1"/>
        </p:nvSpPr>
        <p:spPr bwMode="gray">
          <a:xfrm>
            <a:off x="452417" y="925187"/>
            <a:ext cx="1746178" cy="123111"/>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800" spc="113">
                <a:solidFill>
                  <a:srgbClr val="881946"/>
                </a:solidFill>
                <a:latin typeface="Lato" panose="020F0502020204030203" pitchFamily="34" charset="77"/>
              </a:rPr>
              <a:t>BUSINESS AND FINANCE</a:t>
            </a:r>
          </a:p>
        </p:txBody>
      </p:sp>
      <p:sp>
        <p:nvSpPr>
          <p:cNvPr id="4" name="Title 1">
            <a:extLst>
              <a:ext uri="{FF2B5EF4-FFF2-40B4-BE49-F238E27FC236}">
                <a16:creationId xmlns:a16="http://schemas.microsoft.com/office/drawing/2014/main" id="{5D431398-4851-ECFF-B92E-5DCC8D423F88}"/>
              </a:ext>
            </a:extLst>
          </p:cNvPr>
          <p:cNvSpPr txBox="1">
            <a:spLocks/>
          </p:cNvSpPr>
          <p:nvPr userDrawn="1"/>
        </p:nvSpPr>
        <p:spPr bwMode="gray">
          <a:xfrm>
            <a:off x="452417" y="3362135"/>
            <a:ext cx="1746178" cy="123111"/>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800" spc="113">
                <a:solidFill>
                  <a:srgbClr val="881946"/>
                </a:solidFill>
                <a:latin typeface="Lato" panose="020F0502020204030203" pitchFamily="34" charset="77"/>
              </a:rPr>
              <a:t>DATA AND SUPPLY</a:t>
            </a:r>
          </a:p>
        </p:txBody>
      </p:sp>
      <p:sp>
        <p:nvSpPr>
          <p:cNvPr id="5" name="Title 1">
            <a:extLst>
              <a:ext uri="{FF2B5EF4-FFF2-40B4-BE49-F238E27FC236}">
                <a16:creationId xmlns:a16="http://schemas.microsoft.com/office/drawing/2014/main" id="{019142C4-29DD-DAC9-2543-F581E14CAEFD}"/>
              </a:ext>
            </a:extLst>
          </p:cNvPr>
          <p:cNvSpPr txBox="1">
            <a:spLocks/>
          </p:cNvSpPr>
          <p:nvPr userDrawn="1"/>
        </p:nvSpPr>
        <p:spPr bwMode="gray">
          <a:xfrm>
            <a:off x="4862290" y="925187"/>
            <a:ext cx="1746178" cy="123111"/>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800" spc="113">
                <a:solidFill>
                  <a:srgbClr val="881946"/>
                </a:solidFill>
                <a:latin typeface="Lato" panose="020F0502020204030203" pitchFamily="34" charset="77"/>
              </a:rPr>
              <a:t>PEOPLE</a:t>
            </a:r>
          </a:p>
        </p:txBody>
      </p:sp>
      <p:pic>
        <p:nvPicPr>
          <p:cNvPr id="6" name="Graphic 5">
            <a:extLst>
              <a:ext uri="{FF2B5EF4-FFF2-40B4-BE49-F238E27FC236}">
                <a16:creationId xmlns:a16="http://schemas.microsoft.com/office/drawing/2014/main" id="{23981E20-3D02-A88B-3B37-ADD554AE9F2A}"/>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75767" y="1278400"/>
            <a:ext cx="342900" cy="279400"/>
          </a:xfrm>
          <a:prstGeom prst="rect">
            <a:avLst/>
          </a:prstGeom>
        </p:spPr>
      </p:pic>
      <p:pic>
        <p:nvPicPr>
          <p:cNvPr id="7" name="Graphic 6">
            <a:extLst>
              <a:ext uri="{FF2B5EF4-FFF2-40B4-BE49-F238E27FC236}">
                <a16:creationId xmlns:a16="http://schemas.microsoft.com/office/drawing/2014/main" id="{E74EBC7A-EA19-7C05-0FF7-F02DF37CFF12}"/>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72841" y="1218444"/>
            <a:ext cx="444500" cy="419100"/>
          </a:xfrm>
          <a:prstGeom prst="rect">
            <a:avLst/>
          </a:prstGeom>
        </p:spPr>
      </p:pic>
      <p:pic>
        <p:nvPicPr>
          <p:cNvPr id="8" name="Graphic 7">
            <a:extLst>
              <a:ext uri="{FF2B5EF4-FFF2-40B4-BE49-F238E27FC236}">
                <a16:creationId xmlns:a16="http://schemas.microsoft.com/office/drawing/2014/main" id="{C44BB47C-64D5-23E1-2CCD-3321F8E5FCBE}"/>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418535" y="1199394"/>
            <a:ext cx="457200" cy="457200"/>
          </a:xfrm>
          <a:prstGeom prst="rect">
            <a:avLst/>
          </a:prstGeom>
        </p:spPr>
      </p:pic>
      <p:pic>
        <p:nvPicPr>
          <p:cNvPr id="9" name="Graphic 8">
            <a:extLst>
              <a:ext uri="{FF2B5EF4-FFF2-40B4-BE49-F238E27FC236}">
                <a16:creationId xmlns:a16="http://schemas.microsoft.com/office/drawing/2014/main" id="{DDF30341-FF6A-C6C3-64EA-89F19FB2D23C}"/>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991939" y="1189550"/>
            <a:ext cx="469900" cy="457200"/>
          </a:xfrm>
          <a:prstGeom prst="rect">
            <a:avLst/>
          </a:prstGeom>
        </p:spPr>
      </p:pic>
      <p:pic>
        <p:nvPicPr>
          <p:cNvPr id="10" name="Graphic 9">
            <a:extLst>
              <a:ext uri="{FF2B5EF4-FFF2-40B4-BE49-F238E27FC236}">
                <a16:creationId xmlns:a16="http://schemas.microsoft.com/office/drawing/2014/main" id="{3D22619E-0C61-8BF2-AF63-53EE44061749}"/>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530089" y="1195900"/>
            <a:ext cx="444500" cy="419100"/>
          </a:xfrm>
          <a:prstGeom prst="rect">
            <a:avLst/>
          </a:prstGeom>
        </p:spPr>
      </p:pic>
      <p:pic>
        <p:nvPicPr>
          <p:cNvPr id="11" name="Graphic 10">
            <a:extLst>
              <a:ext uri="{FF2B5EF4-FFF2-40B4-BE49-F238E27FC236}">
                <a16:creationId xmlns:a16="http://schemas.microsoft.com/office/drawing/2014/main" id="{7F070238-609E-E4FB-9F93-D3771CDB9425}"/>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062717" y="1240350"/>
            <a:ext cx="355600" cy="368300"/>
          </a:xfrm>
          <a:prstGeom prst="rect">
            <a:avLst/>
          </a:prstGeom>
        </p:spPr>
      </p:pic>
      <p:pic>
        <p:nvPicPr>
          <p:cNvPr id="12" name="Graphic 11">
            <a:extLst>
              <a:ext uri="{FF2B5EF4-FFF2-40B4-BE49-F238E27FC236}">
                <a16:creationId xmlns:a16="http://schemas.microsoft.com/office/drawing/2014/main" id="{92FC7358-5AC0-4990-D46B-806D5B0ACDD1}"/>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561814" y="1248170"/>
            <a:ext cx="266700" cy="342900"/>
          </a:xfrm>
          <a:prstGeom prst="rect">
            <a:avLst/>
          </a:prstGeom>
        </p:spPr>
      </p:pic>
      <p:pic>
        <p:nvPicPr>
          <p:cNvPr id="13" name="Graphic 12">
            <a:extLst>
              <a:ext uri="{FF2B5EF4-FFF2-40B4-BE49-F238E27FC236}">
                <a16:creationId xmlns:a16="http://schemas.microsoft.com/office/drawing/2014/main" id="{B0BEA16D-8CA8-AECE-F22B-E48C69222363}"/>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909103" y="1164150"/>
            <a:ext cx="482600" cy="482600"/>
          </a:xfrm>
          <a:prstGeom prst="rect">
            <a:avLst/>
          </a:prstGeom>
        </p:spPr>
      </p:pic>
      <p:pic>
        <p:nvPicPr>
          <p:cNvPr id="14" name="Graphic 13">
            <a:extLst>
              <a:ext uri="{FF2B5EF4-FFF2-40B4-BE49-F238E27FC236}">
                <a16:creationId xmlns:a16="http://schemas.microsoft.com/office/drawing/2014/main" id="{0FFBAC0D-B1FE-6B68-758F-953A6BCC4321}"/>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72829" y="1809679"/>
            <a:ext cx="381000" cy="393700"/>
          </a:xfrm>
          <a:prstGeom prst="rect">
            <a:avLst/>
          </a:prstGeom>
        </p:spPr>
      </p:pic>
      <p:pic>
        <p:nvPicPr>
          <p:cNvPr id="15" name="Graphic 14">
            <a:extLst>
              <a:ext uri="{FF2B5EF4-FFF2-40B4-BE49-F238E27FC236}">
                <a16:creationId xmlns:a16="http://schemas.microsoft.com/office/drawing/2014/main" id="{28365AC6-482E-40ED-54F8-A282C4BEBA27}"/>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62697" y="1742635"/>
            <a:ext cx="495300" cy="460744"/>
          </a:xfrm>
          <a:prstGeom prst="rect">
            <a:avLst/>
          </a:prstGeom>
        </p:spPr>
      </p:pic>
      <p:pic>
        <p:nvPicPr>
          <p:cNvPr id="16" name="Graphic 15">
            <a:extLst>
              <a:ext uri="{FF2B5EF4-FFF2-40B4-BE49-F238E27FC236}">
                <a16:creationId xmlns:a16="http://schemas.microsoft.com/office/drawing/2014/main" id="{A3EF595E-E371-29A5-5C6D-3B2D438756C2}"/>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464256" y="1815522"/>
            <a:ext cx="393700" cy="381000"/>
          </a:xfrm>
          <a:prstGeom prst="rect">
            <a:avLst/>
          </a:prstGeom>
        </p:spPr>
      </p:pic>
      <p:pic>
        <p:nvPicPr>
          <p:cNvPr id="17" name="Graphic 16">
            <a:extLst>
              <a:ext uri="{FF2B5EF4-FFF2-40B4-BE49-F238E27FC236}">
                <a16:creationId xmlns:a16="http://schemas.microsoft.com/office/drawing/2014/main" id="{5D849805-5209-AB85-8206-8A3F650CF739}"/>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956733" y="1766419"/>
            <a:ext cx="381000" cy="406400"/>
          </a:xfrm>
          <a:prstGeom prst="rect">
            <a:avLst/>
          </a:prstGeom>
        </p:spPr>
      </p:pic>
      <p:pic>
        <p:nvPicPr>
          <p:cNvPr id="18" name="Graphic 17">
            <a:extLst>
              <a:ext uri="{FF2B5EF4-FFF2-40B4-BE49-F238E27FC236}">
                <a16:creationId xmlns:a16="http://schemas.microsoft.com/office/drawing/2014/main" id="{A5555759-C522-FD3B-D67A-AEFF59D5440A}"/>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434881" y="1804519"/>
            <a:ext cx="342900" cy="368300"/>
          </a:xfrm>
          <a:prstGeom prst="rect">
            <a:avLst/>
          </a:prstGeom>
        </p:spPr>
      </p:pic>
      <p:pic>
        <p:nvPicPr>
          <p:cNvPr id="19" name="Graphic 18">
            <a:extLst>
              <a:ext uri="{FF2B5EF4-FFF2-40B4-BE49-F238E27FC236}">
                <a16:creationId xmlns:a16="http://schemas.microsoft.com/office/drawing/2014/main" id="{1E90E1F4-FF0A-BFB7-85CD-5A5D1A383D78}"/>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2908566" y="1802822"/>
            <a:ext cx="393700" cy="406400"/>
          </a:xfrm>
          <a:prstGeom prst="rect">
            <a:avLst/>
          </a:prstGeom>
        </p:spPr>
      </p:pic>
      <p:pic>
        <p:nvPicPr>
          <p:cNvPr id="20" name="Graphic 19">
            <a:extLst>
              <a:ext uri="{FF2B5EF4-FFF2-40B4-BE49-F238E27FC236}">
                <a16:creationId xmlns:a16="http://schemas.microsoft.com/office/drawing/2014/main" id="{021DFEE0-D2AA-FDB2-9110-94C987BD68AC}"/>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3439203" y="1763971"/>
            <a:ext cx="469900" cy="469900"/>
          </a:xfrm>
          <a:prstGeom prst="rect">
            <a:avLst/>
          </a:prstGeom>
        </p:spPr>
      </p:pic>
      <p:pic>
        <p:nvPicPr>
          <p:cNvPr id="21" name="Graphic 20">
            <a:extLst>
              <a:ext uri="{FF2B5EF4-FFF2-40B4-BE49-F238E27FC236}">
                <a16:creationId xmlns:a16="http://schemas.microsoft.com/office/drawing/2014/main" id="{DC947D32-C2B6-AB22-3EB2-B9033125C435}"/>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18870" y="2409108"/>
            <a:ext cx="419100" cy="406400"/>
          </a:xfrm>
          <a:prstGeom prst="rect">
            <a:avLst/>
          </a:prstGeom>
        </p:spPr>
      </p:pic>
      <p:pic>
        <p:nvPicPr>
          <p:cNvPr id="22" name="Graphic 21">
            <a:extLst>
              <a:ext uri="{FF2B5EF4-FFF2-40B4-BE49-F238E27FC236}">
                <a16:creationId xmlns:a16="http://schemas.microsoft.com/office/drawing/2014/main" id="{603A2E00-B211-BF80-26F8-437FFED39F31}"/>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892021" y="2438433"/>
            <a:ext cx="381000" cy="381000"/>
          </a:xfrm>
          <a:prstGeom prst="rect">
            <a:avLst/>
          </a:prstGeom>
        </p:spPr>
      </p:pic>
      <p:pic>
        <p:nvPicPr>
          <p:cNvPr id="23" name="Graphic 22">
            <a:extLst>
              <a:ext uri="{FF2B5EF4-FFF2-40B4-BE49-F238E27FC236}">
                <a16:creationId xmlns:a16="http://schemas.microsoft.com/office/drawing/2014/main" id="{4C440303-1B5A-44C2-0995-CD694C78D8BD}"/>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392245" y="2438433"/>
            <a:ext cx="596900" cy="419100"/>
          </a:xfrm>
          <a:prstGeom prst="rect">
            <a:avLst/>
          </a:prstGeom>
        </p:spPr>
      </p:pic>
      <p:pic>
        <p:nvPicPr>
          <p:cNvPr id="24" name="Graphic 23">
            <a:extLst>
              <a:ext uri="{FF2B5EF4-FFF2-40B4-BE49-F238E27FC236}">
                <a16:creationId xmlns:a16="http://schemas.microsoft.com/office/drawing/2014/main" id="{1D024B70-8D74-A350-C260-ABB5E798FADF}"/>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2158793" y="2375209"/>
            <a:ext cx="495300" cy="495300"/>
          </a:xfrm>
          <a:prstGeom prst="rect">
            <a:avLst/>
          </a:prstGeom>
        </p:spPr>
      </p:pic>
      <p:pic>
        <p:nvPicPr>
          <p:cNvPr id="25" name="Graphic 24">
            <a:extLst>
              <a:ext uri="{FF2B5EF4-FFF2-40B4-BE49-F238E27FC236}">
                <a16:creationId xmlns:a16="http://schemas.microsoft.com/office/drawing/2014/main" id="{1AE02D35-4528-C0D3-39A7-DE081707C475}"/>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2778276" y="2325789"/>
            <a:ext cx="609600" cy="546100"/>
          </a:xfrm>
          <a:prstGeom prst="rect">
            <a:avLst/>
          </a:prstGeom>
        </p:spPr>
      </p:pic>
      <p:pic>
        <p:nvPicPr>
          <p:cNvPr id="26" name="Graphic 25">
            <a:extLst>
              <a:ext uri="{FF2B5EF4-FFF2-40B4-BE49-F238E27FC236}">
                <a16:creationId xmlns:a16="http://schemas.microsoft.com/office/drawing/2014/main" id="{2900243F-20CC-C63E-F924-7191BE45B9A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3512059" y="2343459"/>
            <a:ext cx="393700" cy="482600"/>
          </a:xfrm>
          <a:prstGeom prst="rect">
            <a:avLst/>
          </a:prstGeom>
        </p:spPr>
      </p:pic>
      <p:pic>
        <p:nvPicPr>
          <p:cNvPr id="27" name="Graphic 27">
            <a:extLst>
              <a:ext uri="{FF2B5EF4-FFF2-40B4-BE49-F238E27FC236}">
                <a16:creationId xmlns:a16="http://schemas.microsoft.com/office/drawing/2014/main" id="{261EB3DC-FC0D-730B-2BF0-463CCA0D7231}"/>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4786103" y="1245811"/>
            <a:ext cx="342900" cy="381000"/>
          </a:xfrm>
          <a:prstGeom prst="rect">
            <a:avLst/>
          </a:prstGeom>
        </p:spPr>
      </p:pic>
      <p:pic>
        <p:nvPicPr>
          <p:cNvPr id="28" name="Graphic 29">
            <a:extLst>
              <a:ext uri="{FF2B5EF4-FFF2-40B4-BE49-F238E27FC236}">
                <a16:creationId xmlns:a16="http://schemas.microsoft.com/office/drawing/2014/main" id="{D80817AE-33C2-9237-3BAD-E626A7BC8320}"/>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220065" y="1241655"/>
            <a:ext cx="342900" cy="368300"/>
          </a:xfrm>
          <a:prstGeom prst="rect">
            <a:avLst/>
          </a:prstGeom>
        </p:spPr>
      </p:pic>
      <p:pic>
        <p:nvPicPr>
          <p:cNvPr id="29" name="Graphic 31">
            <a:extLst>
              <a:ext uri="{FF2B5EF4-FFF2-40B4-BE49-F238E27FC236}">
                <a16:creationId xmlns:a16="http://schemas.microsoft.com/office/drawing/2014/main" id="{C9731FBE-2FDF-535F-6710-F47C97F04680}"/>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5669329" y="1241655"/>
            <a:ext cx="342900" cy="368300"/>
          </a:xfrm>
          <a:prstGeom prst="rect">
            <a:avLst/>
          </a:prstGeom>
        </p:spPr>
      </p:pic>
      <p:pic>
        <p:nvPicPr>
          <p:cNvPr id="30" name="Graphic 33">
            <a:extLst>
              <a:ext uri="{FF2B5EF4-FFF2-40B4-BE49-F238E27FC236}">
                <a16:creationId xmlns:a16="http://schemas.microsoft.com/office/drawing/2014/main" id="{41BC6510-A98F-8874-F457-70D480B1D22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6108150" y="1242121"/>
            <a:ext cx="342900" cy="368300"/>
          </a:xfrm>
          <a:prstGeom prst="rect">
            <a:avLst/>
          </a:prstGeom>
        </p:spPr>
      </p:pic>
      <p:pic>
        <p:nvPicPr>
          <p:cNvPr id="31" name="Graphic 35">
            <a:extLst>
              <a:ext uri="{FF2B5EF4-FFF2-40B4-BE49-F238E27FC236}">
                <a16:creationId xmlns:a16="http://schemas.microsoft.com/office/drawing/2014/main" id="{3A768601-3778-8AA3-8A34-6E32F06C63A7}"/>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6505686" y="1234764"/>
            <a:ext cx="330200" cy="368300"/>
          </a:xfrm>
          <a:prstGeom prst="rect">
            <a:avLst/>
          </a:prstGeom>
        </p:spPr>
      </p:pic>
      <p:pic>
        <p:nvPicPr>
          <p:cNvPr id="32" name="Graphic 37">
            <a:extLst>
              <a:ext uri="{FF2B5EF4-FFF2-40B4-BE49-F238E27FC236}">
                <a16:creationId xmlns:a16="http://schemas.microsoft.com/office/drawing/2014/main" id="{D8BEEAD3-D515-6917-891B-58D856E19E0C}"/>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7383835" y="1267055"/>
            <a:ext cx="317500" cy="317500"/>
          </a:xfrm>
          <a:prstGeom prst="rect">
            <a:avLst/>
          </a:prstGeom>
        </p:spPr>
      </p:pic>
      <p:pic>
        <p:nvPicPr>
          <p:cNvPr id="33" name="Graphic 39">
            <a:extLst>
              <a:ext uri="{FF2B5EF4-FFF2-40B4-BE49-F238E27FC236}">
                <a16:creationId xmlns:a16="http://schemas.microsoft.com/office/drawing/2014/main" id="{D6456556-E01E-2419-43BC-A6708FC94202}"/>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6905729" y="1228991"/>
            <a:ext cx="368300" cy="419100"/>
          </a:xfrm>
          <a:prstGeom prst="rect">
            <a:avLst/>
          </a:prstGeom>
        </p:spPr>
      </p:pic>
      <p:pic>
        <p:nvPicPr>
          <p:cNvPr id="34" name="Graphic 41">
            <a:extLst>
              <a:ext uri="{FF2B5EF4-FFF2-40B4-BE49-F238E27FC236}">
                <a16:creationId xmlns:a16="http://schemas.microsoft.com/office/drawing/2014/main" id="{40470EB2-BB9C-3344-162E-B779DD934C62}"/>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7822698" y="1255825"/>
            <a:ext cx="304800" cy="381000"/>
          </a:xfrm>
          <a:prstGeom prst="rect">
            <a:avLst/>
          </a:prstGeom>
        </p:spPr>
      </p:pic>
      <p:pic>
        <p:nvPicPr>
          <p:cNvPr id="35" name="Graphic 43">
            <a:extLst>
              <a:ext uri="{FF2B5EF4-FFF2-40B4-BE49-F238E27FC236}">
                <a16:creationId xmlns:a16="http://schemas.microsoft.com/office/drawing/2014/main" id="{468C4597-18C0-B8DB-4D1E-05E8C6086AC1}"/>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8186546" y="1261606"/>
            <a:ext cx="292100" cy="381000"/>
          </a:xfrm>
          <a:prstGeom prst="rect">
            <a:avLst/>
          </a:prstGeom>
        </p:spPr>
      </p:pic>
      <p:pic>
        <p:nvPicPr>
          <p:cNvPr id="36" name="Graphic 45">
            <a:extLst>
              <a:ext uri="{FF2B5EF4-FFF2-40B4-BE49-F238E27FC236}">
                <a16:creationId xmlns:a16="http://schemas.microsoft.com/office/drawing/2014/main" id="{C07AB73B-F15C-7F0F-DD83-44FCE7D4A8ED}"/>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5"/>
              </a:ext>
            </a:extLst>
          </a:blip>
          <a:stretch>
            <a:fillRect/>
          </a:stretch>
        </p:blipFill>
        <p:spPr>
          <a:xfrm>
            <a:off x="8537695" y="1255825"/>
            <a:ext cx="292100" cy="381000"/>
          </a:xfrm>
          <a:prstGeom prst="rect">
            <a:avLst/>
          </a:prstGeom>
        </p:spPr>
      </p:pic>
      <p:pic>
        <p:nvPicPr>
          <p:cNvPr id="37" name="Graphic 47">
            <a:extLst>
              <a:ext uri="{FF2B5EF4-FFF2-40B4-BE49-F238E27FC236}">
                <a16:creationId xmlns:a16="http://schemas.microsoft.com/office/drawing/2014/main" id="{5DEFF5C5-2CB4-C9EA-2FF5-89C658D1F52A}"/>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4721385" y="1871962"/>
            <a:ext cx="581907" cy="371430"/>
          </a:xfrm>
          <a:prstGeom prst="rect">
            <a:avLst/>
          </a:prstGeom>
        </p:spPr>
      </p:pic>
      <p:pic>
        <p:nvPicPr>
          <p:cNvPr id="38" name="Graphic 49">
            <a:extLst>
              <a:ext uri="{FF2B5EF4-FFF2-40B4-BE49-F238E27FC236}">
                <a16:creationId xmlns:a16="http://schemas.microsoft.com/office/drawing/2014/main" id="{2AC51C21-B10F-654C-CE1A-D94B7E4B4107}"/>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7"/>
              </a:ext>
            </a:extLst>
          </a:blip>
          <a:stretch>
            <a:fillRect/>
          </a:stretch>
        </p:blipFill>
        <p:spPr>
          <a:xfrm>
            <a:off x="5377679" y="1809051"/>
            <a:ext cx="368300" cy="482600"/>
          </a:xfrm>
          <a:prstGeom prst="rect">
            <a:avLst/>
          </a:prstGeom>
        </p:spPr>
      </p:pic>
      <p:pic>
        <p:nvPicPr>
          <p:cNvPr id="39" name="Graphic 51">
            <a:extLst>
              <a:ext uri="{FF2B5EF4-FFF2-40B4-BE49-F238E27FC236}">
                <a16:creationId xmlns:a16="http://schemas.microsoft.com/office/drawing/2014/main" id="{FEA36ED5-4385-2F72-4562-55434A4953A7}"/>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5894161" y="1814008"/>
            <a:ext cx="190500" cy="457200"/>
          </a:xfrm>
          <a:prstGeom prst="rect">
            <a:avLst/>
          </a:prstGeom>
        </p:spPr>
      </p:pic>
      <p:pic>
        <p:nvPicPr>
          <p:cNvPr id="40" name="Graphic 53">
            <a:extLst>
              <a:ext uri="{FF2B5EF4-FFF2-40B4-BE49-F238E27FC236}">
                <a16:creationId xmlns:a16="http://schemas.microsoft.com/office/drawing/2014/main" id="{2D423271-129E-116C-5327-E57F737A836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9"/>
              </a:ext>
            </a:extLst>
          </a:blip>
          <a:stretch>
            <a:fillRect/>
          </a:stretch>
        </p:blipFill>
        <p:spPr>
          <a:xfrm>
            <a:off x="6248738" y="1805870"/>
            <a:ext cx="190500" cy="457200"/>
          </a:xfrm>
          <a:prstGeom prst="rect">
            <a:avLst/>
          </a:prstGeom>
        </p:spPr>
      </p:pic>
      <p:pic>
        <p:nvPicPr>
          <p:cNvPr id="41" name="Graphic 55">
            <a:extLst>
              <a:ext uri="{FF2B5EF4-FFF2-40B4-BE49-F238E27FC236}">
                <a16:creationId xmlns:a16="http://schemas.microsoft.com/office/drawing/2014/main" id="{E7E236AB-F6CC-9546-42EE-8B8326FCA5CA}"/>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6583970" y="1790633"/>
            <a:ext cx="304800" cy="457200"/>
          </a:xfrm>
          <a:prstGeom prst="rect">
            <a:avLst/>
          </a:prstGeom>
        </p:spPr>
      </p:pic>
      <p:pic>
        <p:nvPicPr>
          <p:cNvPr id="42" name="Graphic 57">
            <a:extLst>
              <a:ext uri="{FF2B5EF4-FFF2-40B4-BE49-F238E27FC236}">
                <a16:creationId xmlns:a16="http://schemas.microsoft.com/office/drawing/2014/main" id="{76AD5753-6B4A-E44A-D153-FB26E9D2C16E}"/>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41"/>
              </a:ext>
            </a:extLst>
          </a:blip>
          <a:stretch>
            <a:fillRect/>
          </a:stretch>
        </p:blipFill>
        <p:spPr>
          <a:xfrm>
            <a:off x="7035805" y="1779682"/>
            <a:ext cx="457200" cy="469900"/>
          </a:xfrm>
          <a:prstGeom prst="rect">
            <a:avLst/>
          </a:prstGeom>
        </p:spPr>
      </p:pic>
      <p:pic>
        <p:nvPicPr>
          <p:cNvPr id="43" name="Graphic 59">
            <a:extLst>
              <a:ext uri="{FF2B5EF4-FFF2-40B4-BE49-F238E27FC236}">
                <a16:creationId xmlns:a16="http://schemas.microsoft.com/office/drawing/2014/main" id="{D095C6D0-0172-0A38-EE4C-3BA4003D8DFC}"/>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42"/>
              </a:ext>
            </a:extLst>
          </a:blip>
          <a:stretch>
            <a:fillRect/>
          </a:stretch>
        </p:blipFill>
        <p:spPr>
          <a:xfrm>
            <a:off x="7572871" y="1765233"/>
            <a:ext cx="533400" cy="508000"/>
          </a:xfrm>
          <a:prstGeom prst="rect">
            <a:avLst/>
          </a:prstGeom>
        </p:spPr>
      </p:pic>
      <p:pic>
        <p:nvPicPr>
          <p:cNvPr id="44" name="Graphic 61">
            <a:extLst>
              <a:ext uri="{FF2B5EF4-FFF2-40B4-BE49-F238E27FC236}">
                <a16:creationId xmlns:a16="http://schemas.microsoft.com/office/drawing/2014/main" id="{11B86745-03A5-A07A-337A-A7B6A597CFA2}"/>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43"/>
              </a:ext>
            </a:extLst>
          </a:blip>
          <a:stretch>
            <a:fillRect/>
          </a:stretch>
        </p:blipFill>
        <p:spPr>
          <a:xfrm>
            <a:off x="8217097" y="1824874"/>
            <a:ext cx="533400" cy="431800"/>
          </a:xfrm>
          <a:prstGeom prst="rect">
            <a:avLst/>
          </a:prstGeom>
        </p:spPr>
      </p:pic>
      <p:pic>
        <p:nvPicPr>
          <p:cNvPr id="45" name="Graphic 63">
            <a:extLst>
              <a:ext uri="{FF2B5EF4-FFF2-40B4-BE49-F238E27FC236}">
                <a16:creationId xmlns:a16="http://schemas.microsoft.com/office/drawing/2014/main" id="{CA6A5FAA-CE15-7D52-CF00-177234D70762}"/>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4778420" y="2377851"/>
            <a:ext cx="533400" cy="457200"/>
          </a:xfrm>
          <a:prstGeom prst="rect">
            <a:avLst/>
          </a:prstGeom>
        </p:spPr>
      </p:pic>
      <p:pic>
        <p:nvPicPr>
          <p:cNvPr id="46" name="Graphic 65">
            <a:extLst>
              <a:ext uri="{FF2B5EF4-FFF2-40B4-BE49-F238E27FC236}">
                <a16:creationId xmlns:a16="http://schemas.microsoft.com/office/drawing/2014/main" id="{31322C0A-E2F4-1061-062E-C61E2AC0C691}"/>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45"/>
              </a:ext>
            </a:extLst>
          </a:blip>
          <a:stretch>
            <a:fillRect/>
          </a:stretch>
        </p:blipFill>
        <p:spPr>
          <a:xfrm>
            <a:off x="5394711" y="2389955"/>
            <a:ext cx="520700" cy="457200"/>
          </a:xfrm>
          <a:prstGeom prst="rect">
            <a:avLst/>
          </a:prstGeom>
        </p:spPr>
      </p:pic>
      <p:pic>
        <p:nvPicPr>
          <p:cNvPr id="47" name="Graphic 67">
            <a:extLst>
              <a:ext uri="{FF2B5EF4-FFF2-40B4-BE49-F238E27FC236}">
                <a16:creationId xmlns:a16="http://schemas.microsoft.com/office/drawing/2014/main" id="{A3593918-2C38-EF68-5D7E-02F0FC23CB67}"/>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5973862" y="2432083"/>
            <a:ext cx="546100" cy="393700"/>
          </a:xfrm>
          <a:prstGeom prst="rect">
            <a:avLst/>
          </a:prstGeom>
        </p:spPr>
      </p:pic>
      <p:pic>
        <p:nvPicPr>
          <p:cNvPr id="48" name="Graphic 69">
            <a:extLst>
              <a:ext uri="{FF2B5EF4-FFF2-40B4-BE49-F238E27FC236}">
                <a16:creationId xmlns:a16="http://schemas.microsoft.com/office/drawing/2014/main" id="{780F536C-1AC5-0541-EF83-60C17E3C63E8}"/>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47"/>
              </a:ext>
            </a:extLst>
          </a:blip>
          <a:stretch>
            <a:fillRect/>
          </a:stretch>
        </p:blipFill>
        <p:spPr>
          <a:xfrm>
            <a:off x="6567861" y="2375209"/>
            <a:ext cx="584200" cy="533400"/>
          </a:xfrm>
          <a:prstGeom prst="rect">
            <a:avLst/>
          </a:prstGeom>
        </p:spPr>
      </p:pic>
      <p:pic>
        <p:nvPicPr>
          <p:cNvPr id="49" name="Graphic 71">
            <a:extLst>
              <a:ext uri="{FF2B5EF4-FFF2-40B4-BE49-F238E27FC236}">
                <a16:creationId xmlns:a16="http://schemas.microsoft.com/office/drawing/2014/main" id="{61CC502D-5E53-3218-8644-6FA8CFC41BCD}"/>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48"/>
              </a:ext>
            </a:extLst>
          </a:blip>
          <a:stretch>
            <a:fillRect/>
          </a:stretch>
        </p:blipFill>
        <p:spPr>
          <a:xfrm>
            <a:off x="7198016" y="2495005"/>
            <a:ext cx="520700" cy="406400"/>
          </a:xfrm>
          <a:prstGeom prst="rect">
            <a:avLst/>
          </a:prstGeom>
        </p:spPr>
      </p:pic>
      <p:pic>
        <p:nvPicPr>
          <p:cNvPr id="50" name="Graphic 73">
            <a:extLst>
              <a:ext uri="{FF2B5EF4-FFF2-40B4-BE49-F238E27FC236}">
                <a16:creationId xmlns:a16="http://schemas.microsoft.com/office/drawing/2014/main" id="{71E4A252-3DC2-B967-D252-39EC4C0B5F98}"/>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49"/>
              </a:ext>
            </a:extLst>
          </a:blip>
          <a:stretch>
            <a:fillRect/>
          </a:stretch>
        </p:blipFill>
        <p:spPr>
          <a:xfrm>
            <a:off x="7801607" y="2516955"/>
            <a:ext cx="266700" cy="330200"/>
          </a:xfrm>
          <a:prstGeom prst="rect">
            <a:avLst/>
          </a:prstGeom>
        </p:spPr>
      </p:pic>
      <p:pic>
        <p:nvPicPr>
          <p:cNvPr id="51" name="Graphic 75">
            <a:extLst>
              <a:ext uri="{FF2B5EF4-FFF2-40B4-BE49-F238E27FC236}">
                <a16:creationId xmlns:a16="http://schemas.microsoft.com/office/drawing/2014/main" id="{114F620E-10EB-BB75-C775-507E1BF92374}"/>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0"/>
              </a:ext>
            </a:extLst>
          </a:blip>
          <a:stretch>
            <a:fillRect/>
          </a:stretch>
        </p:blipFill>
        <p:spPr>
          <a:xfrm>
            <a:off x="8186814" y="2493911"/>
            <a:ext cx="266700" cy="355600"/>
          </a:xfrm>
          <a:prstGeom prst="rect">
            <a:avLst/>
          </a:prstGeom>
        </p:spPr>
      </p:pic>
      <p:pic>
        <p:nvPicPr>
          <p:cNvPr id="52" name="Graphic 77">
            <a:extLst>
              <a:ext uri="{FF2B5EF4-FFF2-40B4-BE49-F238E27FC236}">
                <a16:creationId xmlns:a16="http://schemas.microsoft.com/office/drawing/2014/main" id="{BD836368-4514-2CC0-11A3-26FE1BFC4D2D}"/>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8521857" y="2427005"/>
            <a:ext cx="355600" cy="368300"/>
          </a:xfrm>
          <a:prstGeom prst="rect">
            <a:avLst/>
          </a:prstGeom>
        </p:spPr>
      </p:pic>
      <p:pic>
        <p:nvPicPr>
          <p:cNvPr id="53" name="Graphic 79">
            <a:extLst>
              <a:ext uri="{FF2B5EF4-FFF2-40B4-BE49-F238E27FC236}">
                <a16:creationId xmlns:a16="http://schemas.microsoft.com/office/drawing/2014/main" id="{8F3F5CB0-BDF1-7909-2004-A556C8E402AE}"/>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2"/>
              </a:ext>
            </a:extLst>
          </a:blip>
          <a:stretch>
            <a:fillRect/>
          </a:stretch>
        </p:blipFill>
        <p:spPr>
          <a:xfrm>
            <a:off x="4737465" y="3032266"/>
            <a:ext cx="482600" cy="381000"/>
          </a:xfrm>
          <a:prstGeom prst="rect">
            <a:avLst/>
          </a:prstGeom>
        </p:spPr>
      </p:pic>
      <p:pic>
        <p:nvPicPr>
          <p:cNvPr id="54" name="Graphic 81">
            <a:extLst>
              <a:ext uri="{FF2B5EF4-FFF2-40B4-BE49-F238E27FC236}">
                <a16:creationId xmlns:a16="http://schemas.microsoft.com/office/drawing/2014/main" id="{2BCEAFB6-F7A0-032A-E0DA-8D21B46ACA63}"/>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3"/>
              </a:ext>
            </a:extLst>
          </a:blip>
          <a:stretch>
            <a:fillRect/>
          </a:stretch>
        </p:blipFill>
        <p:spPr>
          <a:xfrm>
            <a:off x="5302738" y="3027633"/>
            <a:ext cx="495300" cy="419100"/>
          </a:xfrm>
          <a:prstGeom prst="rect">
            <a:avLst/>
          </a:prstGeom>
        </p:spPr>
      </p:pic>
      <p:pic>
        <p:nvPicPr>
          <p:cNvPr id="55" name="Graphic 83">
            <a:extLst>
              <a:ext uri="{FF2B5EF4-FFF2-40B4-BE49-F238E27FC236}">
                <a16:creationId xmlns:a16="http://schemas.microsoft.com/office/drawing/2014/main" id="{3C5AEADB-2C56-D42E-F22F-8CB605C75094}"/>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4"/>
              </a:ext>
            </a:extLst>
          </a:blip>
          <a:stretch>
            <a:fillRect/>
          </a:stretch>
        </p:blipFill>
        <p:spPr>
          <a:xfrm>
            <a:off x="5877657" y="3021645"/>
            <a:ext cx="419100" cy="368300"/>
          </a:xfrm>
          <a:prstGeom prst="rect">
            <a:avLst/>
          </a:prstGeom>
        </p:spPr>
      </p:pic>
      <p:pic>
        <p:nvPicPr>
          <p:cNvPr id="56" name="Graphic 85">
            <a:extLst>
              <a:ext uri="{FF2B5EF4-FFF2-40B4-BE49-F238E27FC236}">
                <a16:creationId xmlns:a16="http://schemas.microsoft.com/office/drawing/2014/main" id="{B4DAE195-4F1A-CF4D-A9B3-FFE021EE4A3D}"/>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5"/>
              </a:ext>
            </a:extLst>
          </a:blip>
          <a:stretch>
            <a:fillRect/>
          </a:stretch>
        </p:blipFill>
        <p:spPr>
          <a:xfrm>
            <a:off x="6379307" y="2996891"/>
            <a:ext cx="304800" cy="419100"/>
          </a:xfrm>
          <a:prstGeom prst="rect">
            <a:avLst/>
          </a:prstGeom>
        </p:spPr>
      </p:pic>
      <p:pic>
        <p:nvPicPr>
          <p:cNvPr id="57" name="Graphic 87">
            <a:extLst>
              <a:ext uri="{FF2B5EF4-FFF2-40B4-BE49-F238E27FC236}">
                <a16:creationId xmlns:a16="http://schemas.microsoft.com/office/drawing/2014/main" id="{CA72508C-E80C-966E-28C9-D598AEC62D8F}"/>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6"/>
              </a:ext>
            </a:extLst>
          </a:blip>
          <a:stretch>
            <a:fillRect/>
          </a:stretch>
        </p:blipFill>
        <p:spPr>
          <a:xfrm>
            <a:off x="6766657" y="3021645"/>
            <a:ext cx="533400" cy="355600"/>
          </a:xfrm>
          <a:prstGeom prst="rect">
            <a:avLst/>
          </a:prstGeom>
        </p:spPr>
      </p:pic>
      <p:pic>
        <p:nvPicPr>
          <p:cNvPr id="58" name="Graphic 89">
            <a:extLst>
              <a:ext uri="{FF2B5EF4-FFF2-40B4-BE49-F238E27FC236}">
                <a16:creationId xmlns:a16="http://schemas.microsoft.com/office/drawing/2014/main" id="{11C95B03-BB70-6BEE-C9EE-4251E0027EF1}"/>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7"/>
              </a:ext>
            </a:extLst>
          </a:blip>
          <a:stretch>
            <a:fillRect/>
          </a:stretch>
        </p:blipFill>
        <p:spPr>
          <a:xfrm>
            <a:off x="7427057" y="2958145"/>
            <a:ext cx="444500" cy="381000"/>
          </a:xfrm>
          <a:prstGeom prst="rect">
            <a:avLst/>
          </a:prstGeom>
        </p:spPr>
      </p:pic>
      <p:pic>
        <p:nvPicPr>
          <p:cNvPr id="59" name="Graphic 91">
            <a:extLst>
              <a:ext uri="{FF2B5EF4-FFF2-40B4-BE49-F238E27FC236}">
                <a16:creationId xmlns:a16="http://schemas.microsoft.com/office/drawing/2014/main" id="{82D47464-E188-09AF-4AED-2F96E71621EC}"/>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8"/>
              </a:ext>
            </a:extLst>
          </a:blip>
          <a:stretch>
            <a:fillRect/>
          </a:stretch>
        </p:blipFill>
        <p:spPr>
          <a:xfrm>
            <a:off x="7998557" y="3072445"/>
            <a:ext cx="469900" cy="266700"/>
          </a:xfrm>
          <a:prstGeom prst="rect">
            <a:avLst/>
          </a:prstGeom>
        </p:spPr>
      </p:pic>
      <p:pic>
        <p:nvPicPr>
          <p:cNvPr id="60" name="Graphic 93">
            <a:extLst>
              <a:ext uri="{FF2B5EF4-FFF2-40B4-BE49-F238E27FC236}">
                <a16:creationId xmlns:a16="http://schemas.microsoft.com/office/drawing/2014/main" id="{D67DAAAC-B93C-FFDF-C695-69E2E64C5F49}"/>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9"/>
              </a:ext>
            </a:extLst>
          </a:blip>
          <a:stretch>
            <a:fillRect/>
          </a:stretch>
        </p:blipFill>
        <p:spPr>
          <a:xfrm>
            <a:off x="304940" y="3767389"/>
            <a:ext cx="520700" cy="381000"/>
          </a:xfrm>
          <a:prstGeom prst="rect">
            <a:avLst/>
          </a:prstGeom>
        </p:spPr>
      </p:pic>
      <p:pic>
        <p:nvPicPr>
          <p:cNvPr id="61" name="Graphic 95">
            <a:extLst>
              <a:ext uri="{FF2B5EF4-FFF2-40B4-BE49-F238E27FC236}">
                <a16:creationId xmlns:a16="http://schemas.microsoft.com/office/drawing/2014/main" id="{63A1BBCC-F719-4B32-DCE5-082E8FD4EEF8}"/>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0"/>
              </a:ext>
            </a:extLst>
          </a:blip>
          <a:stretch>
            <a:fillRect/>
          </a:stretch>
        </p:blipFill>
        <p:spPr>
          <a:xfrm>
            <a:off x="932303" y="3757750"/>
            <a:ext cx="533400" cy="381000"/>
          </a:xfrm>
          <a:prstGeom prst="rect">
            <a:avLst/>
          </a:prstGeom>
        </p:spPr>
      </p:pic>
      <p:pic>
        <p:nvPicPr>
          <p:cNvPr id="62" name="Graphic 97">
            <a:extLst>
              <a:ext uri="{FF2B5EF4-FFF2-40B4-BE49-F238E27FC236}">
                <a16:creationId xmlns:a16="http://schemas.microsoft.com/office/drawing/2014/main" id="{0313FC27-D692-DF0B-4C90-2E1D9075F00B}"/>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1"/>
              </a:ext>
            </a:extLst>
          </a:blip>
          <a:stretch>
            <a:fillRect/>
          </a:stretch>
        </p:blipFill>
        <p:spPr>
          <a:xfrm>
            <a:off x="1558838" y="3771740"/>
            <a:ext cx="330200" cy="330200"/>
          </a:xfrm>
          <a:prstGeom prst="rect">
            <a:avLst/>
          </a:prstGeom>
        </p:spPr>
      </p:pic>
      <p:pic>
        <p:nvPicPr>
          <p:cNvPr id="63" name="Graphic 99">
            <a:extLst>
              <a:ext uri="{FF2B5EF4-FFF2-40B4-BE49-F238E27FC236}">
                <a16:creationId xmlns:a16="http://schemas.microsoft.com/office/drawing/2014/main" id="{F2012764-4D05-ADD0-957D-F3390E40E51C}"/>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2"/>
              </a:ext>
            </a:extLst>
          </a:blip>
          <a:stretch>
            <a:fillRect/>
          </a:stretch>
        </p:blipFill>
        <p:spPr>
          <a:xfrm>
            <a:off x="1991939" y="3751400"/>
            <a:ext cx="381000" cy="355600"/>
          </a:xfrm>
          <a:prstGeom prst="rect">
            <a:avLst/>
          </a:prstGeom>
        </p:spPr>
      </p:pic>
      <p:pic>
        <p:nvPicPr>
          <p:cNvPr id="64" name="Graphic 101">
            <a:extLst>
              <a:ext uri="{FF2B5EF4-FFF2-40B4-BE49-F238E27FC236}">
                <a16:creationId xmlns:a16="http://schemas.microsoft.com/office/drawing/2014/main" id="{E3AA0CEE-7282-A9C7-AC73-C432EF3B6EA0}"/>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3"/>
              </a:ext>
            </a:extLst>
          </a:blip>
          <a:stretch>
            <a:fillRect/>
          </a:stretch>
        </p:blipFill>
        <p:spPr>
          <a:xfrm>
            <a:off x="2472911" y="3853000"/>
            <a:ext cx="533400" cy="254000"/>
          </a:xfrm>
          <a:prstGeom prst="rect">
            <a:avLst/>
          </a:prstGeom>
        </p:spPr>
      </p:pic>
      <p:pic>
        <p:nvPicPr>
          <p:cNvPr id="65" name="Graphic 103">
            <a:extLst>
              <a:ext uri="{FF2B5EF4-FFF2-40B4-BE49-F238E27FC236}">
                <a16:creationId xmlns:a16="http://schemas.microsoft.com/office/drawing/2014/main" id="{8845048E-A4AD-A889-20CE-1CF855FF969F}"/>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4"/>
              </a:ext>
            </a:extLst>
          </a:blip>
          <a:stretch>
            <a:fillRect/>
          </a:stretch>
        </p:blipFill>
        <p:spPr>
          <a:xfrm>
            <a:off x="3128730" y="3747585"/>
            <a:ext cx="419100" cy="381000"/>
          </a:xfrm>
          <a:prstGeom prst="rect">
            <a:avLst/>
          </a:prstGeom>
        </p:spPr>
      </p:pic>
      <p:pic>
        <p:nvPicPr>
          <p:cNvPr id="66" name="Graphic 105">
            <a:extLst>
              <a:ext uri="{FF2B5EF4-FFF2-40B4-BE49-F238E27FC236}">
                <a16:creationId xmlns:a16="http://schemas.microsoft.com/office/drawing/2014/main" id="{A38D64A4-D4B9-7128-9C04-9E1E5C5C717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5"/>
              </a:ext>
            </a:extLst>
          </a:blip>
          <a:stretch>
            <a:fillRect/>
          </a:stretch>
        </p:blipFill>
        <p:spPr>
          <a:xfrm>
            <a:off x="3616866" y="3726841"/>
            <a:ext cx="457200" cy="406400"/>
          </a:xfrm>
          <a:prstGeom prst="rect">
            <a:avLst/>
          </a:prstGeom>
        </p:spPr>
      </p:pic>
      <p:pic>
        <p:nvPicPr>
          <p:cNvPr id="67" name="Graphic 107">
            <a:extLst>
              <a:ext uri="{FF2B5EF4-FFF2-40B4-BE49-F238E27FC236}">
                <a16:creationId xmlns:a16="http://schemas.microsoft.com/office/drawing/2014/main" id="{7278314F-FD64-01EF-7F8C-AD827B419EFB}"/>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6"/>
              </a:ext>
            </a:extLst>
          </a:blip>
          <a:stretch>
            <a:fillRect/>
          </a:stretch>
        </p:blipFill>
        <p:spPr>
          <a:xfrm>
            <a:off x="345947" y="4352937"/>
            <a:ext cx="457200" cy="355600"/>
          </a:xfrm>
          <a:prstGeom prst="rect">
            <a:avLst/>
          </a:prstGeom>
        </p:spPr>
      </p:pic>
      <p:pic>
        <p:nvPicPr>
          <p:cNvPr id="68" name="Graphic 109">
            <a:extLst>
              <a:ext uri="{FF2B5EF4-FFF2-40B4-BE49-F238E27FC236}">
                <a16:creationId xmlns:a16="http://schemas.microsoft.com/office/drawing/2014/main" id="{8FA30651-76A7-ACDC-552C-72590E5CC10D}"/>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7"/>
              </a:ext>
            </a:extLst>
          </a:blip>
          <a:stretch>
            <a:fillRect/>
          </a:stretch>
        </p:blipFill>
        <p:spPr>
          <a:xfrm>
            <a:off x="1009358" y="4346263"/>
            <a:ext cx="304800" cy="368300"/>
          </a:xfrm>
          <a:prstGeom prst="rect">
            <a:avLst/>
          </a:prstGeom>
        </p:spPr>
      </p:pic>
      <p:pic>
        <p:nvPicPr>
          <p:cNvPr id="69" name="Graphic 111">
            <a:extLst>
              <a:ext uri="{FF2B5EF4-FFF2-40B4-BE49-F238E27FC236}">
                <a16:creationId xmlns:a16="http://schemas.microsoft.com/office/drawing/2014/main" id="{FD5C6D50-22EA-8D82-4D6B-7E9B744A3E25}"/>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8"/>
              </a:ext>
            </a:extLst>
          </a:blip>
          <a:stretch>
            <a:fillRect/>
          </a:stretch>
        </p:blipFill>
        <p:spPr>
          <a:xfrm>
            <a:off x="1411866" y="4346263"/>
            <a:ext cx="304800" cy="368300"/>
          </a:xfrm>
          <a:prstGeom prst="rect">
            <a:avLst/>
          </a:prstGeom>
        </p:spPr>
      </p:pic>
      <p:pic>
        <p:nvPicPr>
          <p:cNvPr id="70" name="Graphic 113">
            <a:extLst>
              <a:ext uri="{FF2B5EF4-FFF2-40B4-BE49-F238E27FC236}">
                <a16:creationId xmlns:a16="http://schemas.microsoft.com/office/drawing/2014/main" id="{0213DF10-0E1D-C8ED-5100-9DFA49BCD944}"/>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9"/>
              </a:ext>
            </a:extLst>
          </a:blip>
          <a:stretch>
            <a:fillRect/>
          </a:stretch>
        </p:blipFill>
        <p:spPr>
          <a:xfrm>
            <a:off x="1814374" y="4334115"/>
            <a:ext cx="444500" cy="419100"/>
          </a:xfrm>
          <a:prstGeom prst="rect">
            <a:avLst/>
          </a:prstGeom>
        </p:spPr>
      </p:pic>
      <p:pic>
        <p:nvPicPr>
          <p:cNvPr id="71" name="Graphic 115">
            <a:extLst>
              <a:ext uri="{FF2B5EF4-FFF2-40B4-BE49-F238E27FC236}">
                <a16:creationId xmlns:a16="http://schemas.microsoft.com/office/drawing/2014/main" id="{1F7DD5AF-0DD3-524B-559E-11D2B4C26D67}"/>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70"/>
              </a:ext>
            </a:extLst>
          </a:blip>
          <a:stretch>
            <a:fillRect/>
          </a:stretch>
        </p:blipFill>
        <p:spPr>
          <a:xfrm>
            <a:off x="2327910" y="4301813"/>
            <a:ext cx="393700" cy="457200"/>
          </a:xfrm>
          <a:prstGeom prst="rect">
            <a:avLst/>
          </a:prstGeom>
        </p:spPr>
      </p:pic>
      <p:pic>
        <p:nvPicPr>
          <p:cNvPr id="72" name="Graphic 117">
            <a:extLst>
              <a:ext uri="{FF2B5EF4-FFF2-40B4-BE49-F238E27FC236}">
                <a16:creationId xmlns:a16="http://schemas.microsoft.com/office/drawing/2014/main" id="{B9BEDF2C-D9FD-B9D0-CB9C-AA248359CC51}"/>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71"/>
              </a:ext>
            </a:extLst>
          </a:blip>
          <a:stretch>
            <a:fillRect/>
          </a:stretch>
        </p:blipFill>
        <p:spPr>
          <a:xfrm>
            <a:off x="2859682" y="4307611"/>
            <a:ext cx="495300" cy="469900"/>
          </a:xfrm>
          <a:prstGeom prst="rect">
            <a:avLst/>
          </a:prstGeom>
        </p:spPr>
      </p:pic>
      <p:sp>
        <p:nvSpPr>
          <p:cNvPr id="73" name="Title 1">
            <a:extLst>
              <a:ext uri="{FF2B5EF4-FFF2-40B4-BE49-F238E27FC236}">
                <a16:creationId xmlns:a16="http://schemas.microsoft.com/office/drawing/2014/main" id="{13886987-59F5-6E0D-C6F8-35C11F612ABB}"/>
              </a:ext>
            </a:extLst>
          </p:cNvPr>
          <p:cNvSpPr txBox="1">
            <a:spLocks/>
          </p:cNvSpPr>
          <p:nvPr userDrawn="1"/>
        </p:nvSpPr>
        <p:spPr bwMode="gray">
          <a:xfrm>
            <a:off x="236573" y="142580"/>
            <a:ext cx="8511427" cy="207749"/>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1350" spc="0">
                <a:solidFill>
                  <a:schemeClr val="bg1"/>
                </a:solidFill>
                <a:latin typeface="Lato Light" panose="020F0302020204030203" pitchFamily="34" charset="77"/>
              </a:rPr>
              <a:t>THIS IS DALBERG’S CUSTOM ICONOGRAPHY (outline color, fill, and width are editable) 1/3</a:t>
            </a:r>
          </a:p>
        </p:txBody>
      </p:sp>
    </p:spTree>
    <p:extLst>
      <p:ext uri="{BB962C8B-B14F-4D97-AF65-F5344CB8AC3E}">
        <p14:creationId xmlns:p14="http://schemas.microsoft.com/office/powerpoint/2010/main" val="103693905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conography 2/3">
    <p:spTree>
      <p:nvGrpSpPr>
        <p:cNvPr id="1" name=""/>
        <p:cNvGrpSpPr/>
        <p:nvPr/>
      </p:nvGrpSpPr>
      <p:grpSpPr>
        <a:xfrm>
          <a:off x="0" y="0"/>
          <a:ext cx="0" cy="0"/>
          <a:chOff x="0" y="0"/>
          <a:chExt cx="0" cy="0"/>
        </a:xfrm>
      </p:grpSpPr>
      <p:graphicFrame>
        <p:nvGraphicFramePr>
          <p:cNvPr id="72" name="think-cell data - do not delete" hidden="1">
            <a:extLst>
              <a:ext uri="{FF2B5EF4-FFF2-40B4-BE49-F238E27FC236}">
                <a16:creationId xmlns:a16="http://schemas.microsoft.com/office/drawing/2014/main" id="{B34E6DBC-2116-73A5-A164-E666FFC60256}"/>
              </a:ext>
            </a:extLst>
          </p:cNvPr>
          <p:cNvGraphicFramePr>
            <a:graphicFrameLocks noChangeAspect="1"/>
          </p:cNvGraphicFramePr>
          <p:nvPr userDrawn="1">
            <p:custDataLst>
              <p:tags r:id="rId1"/>
            </p:custDataLst>
            <p:extLst>
              <p:ext uri="{D42A27DB-BD31-4B8C-83A1-F6EECF244321}">
                <p14:modId xmlns:p14="http://schemas.microsoft.com/office/powerpoint/2010/main" val="62246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2" name="think-cell data - do not delete" hidden="1">
                        <a:extLst>
                          <a:ext uri="{FF2B5EF4-FFF2-40B4-BE49-F238E27FC236}">
                            <a16:creationId xmlns:a16="http://schemas.microsoft.com/office/drawing/2014/main" id="{B34E6DBC-2116-73A5-A164-E666FFC602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Google Shape;149;p16">
            <a:extLst>
              <a:ext uri="{FF2B5EF4-FFF2-40B4-BE49-F238E27FC236}">
                <a16:creationId xmlns:a16="http://schemas.microsoft.com/office/drawing/2014/main" id="{D1DF1FC1-BFF1-3357-F356-91477576B4B0}"/>
              </a:ext>
            </a:extLst>
          </p:cNvPr>
          <p:cNvSpPr/>
          <p:nvPr userDrawn="1"/>
        </p:nvSpPr>
        <p:spPr>
          <a:xfrm>
            <a:off x="-3265" y="-23643"/>
            <a:ext cx="9157775" cy="593041"/>
          </a:xfrm>
          <a:prstGeom prst="rect">
            <a:avLst/>
          </a:prstGeom>
          <a:solidFill>
            <a:srgbClr val="8D19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3" name="Title 1">
            <a:extLst>
              <a:ext uri="{FF2B5EF4-FFF2-40B4-BE49-F238E27FC236}">
                <a16:creationId xmlns:a16="http://schemas.microsoft.com/office/drawing/2014/main" id="{832B2C76-B989-CA83-0DBE-4588AA119367}"/>
              </a:ext>
            </a:extLst>
          </p:cNvPr>
          <p:cNvSpPr txBox="1">
            <a:spLocks/>
          </p:cNvSpPr>
          <p:nvPr userDrawn="1"/>
        </p:nvSpPr>
        <p:spPr bwMode="gray">
          <a:xfrm>
            <a:off x="403431" y="3382491"/>
            <a:ext cx="1746178" cy="123111"/>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800" spc="113">
                <a:solidFill>
                  <a:srgbClr val="881946"/>
                </a:solidFill>
                <a:latin typeface="Lato" panose="020F0502020204030203" pitchFamily="34" charset="77"/>
              </a:rPr>
              <a:t>HEALTH</a:t>
            </a:r>
          </a:p>
        </p:txBody>
      </p:sp>
      <p:sp>
        <p:nvSpPr>
          <p:cNvPr id="4" name="Title 1">
            <a:extLst>
              <a:ext uri="{FF2B5EF4-FFF2-40B4-BE49-F238E27FC236}">
                <a16:creationId xmlns:a16="http://schemas.microsoft.com/office/drawing/2014/main" id="{D2FB3957-F045-E9A2-1611-0D1D29F231C1}"/>
              </a:ext>
            </a:extLst>
          </p:cNvPr>
          <p:cNvSpPr txBox="1">
            <a:spLocks/>
          </p:cNvSpPr>
          <p:nvPr userDrawn="1"/>
        </p:nvSpPr>
        <p:spPr bwMode="gray">
          <a:xfrm>
            <a:off x="4814245" y="903345"/>
            <a:ext cx="2499293" cy="123111"/>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800" spc="113">
                <a:solidFill>
                  <a:srgbClr val="881946"/>
                </a:solidFill>
                <a:latin typeface="Lato" panose="020F0502020204030203" pitchFamily="34" charset="77"/>
              </a:rPr>
              <a:t>EDUCATION AND INNOVATION</a:t>
            </a:r>
          </a:p>
        </p:txBody>
      </p:sp>
      <p:sp>
        <p:nvSpPr>
          <p:cNvPr id="5" name="Title 1">
            <a:extLst>
              <a:ext uri="{FF2B5EF4-FFF2-40B4-BE49-F238E27FC236}">
                <a16:creationId xmlns:a16="http://schemas.microsoft.com/office/drawing/2014/main" id="{27B74C3C-14A3-DD32-E85E-41133446FE66}"/>
              </a:ext>
            </a:extLst>
          </p:cNvPr>
          <p:cNvSpPr txBox="1">
            <a:spLocks/>
          </p:cNvSpPr>
          <p:nvPr userDrawn="1"/>
        </p:nvSpPr>
        <p:spPr bwMode="gray">
          <a:xfrm>
            <a:off x="4927879" y="2627198"/>
            <a:ext cx="1746178" cy="123111"/>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800" spc="113">
                <a:solidFill>
                  <a:srgbClr val="881946"/>
                </a:solidFill>
                <a:latin typeface="Lato" panose="020F0502020204030203" pitchFamily="34" charset="77"/>
              </a:rPr>
              <a:t>TECHNOLOGY</a:t>
            </a:r>
          </a:p>
        </p:txBody>
      </p:sp>
      <p:sp>
        <p:nvSpPr>
          <p:cNvPr id="6" name="Title 1">
            <a:extLst>
              <a:ext uri="{FF2B5EF4-FFF2-40B4-BE49-F238E27FC236}">
                <a16:creationId xmlns:a16="http://schemas.microsoft.com/office/drawing/2014/main" id="{9273058F-220C-32AA-C3D2-FEFE1E6AA29B}"/>
              </a:ext>
            </a:extLst>
          </p:cNvPr>
          <p:cNvSpPr txBox="1">
            <a:spLocks/>
          </p:cNvSpPr>
          <p:nvPr userDrawn="1"/>
        </p:nvSpPr>
        <p:spPr bwMode="gray">
          <a:xfrm>
            <a:off x="403431" y="853684"/>
            <a:ext cx="2423961" cy="123111"/>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800" spc="113">
                <a:solidFill>
                  <a:srgbClr val="881946"/>
                </a:solidFill>
                <a:latin typeface="Lato" panose="020F0502020204030203" pitchFamily="34" charset="77"/>
              </a:rPr>
              <a:t>ENVIRONMENT</a:t>
            </a:r>
          </a:p>
        </p:txBody>
      </p:sp>
      <p:pic>
        <p:nvPicPr>
          <p:cNvPr id="7" name="Graphic 49">
            <a:extLst>
              <a:ext uri="{FF2B5EF4-FFF2-40B4-BE49-F238E27FC236}">
                <a16:creationId xmlns:a16="http://schemas.microsoft.com/office/drawing/2014/main" id="{FA724367-565F-19C7-E463-EB70FFC73787}"/>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99696" y="1181361"/>
            <a:ext cx="444500" cy="457200"/>
          </a:xfrm>
          <a:prstGeom prst="rect">
            <a:avLst/>
          </a:prstGeom>
        </p:spPr>
      </p:pic>
      <p:pic>
        <p:nvPicPr>
          <p:cNvPr id="8" name="Graphic 51">
            <a:extLst>
              <a:ext uri="{FF2B5EF4-FFF2-40B4-BE49-F238E27FC236}">
                <a16:creationId xmlns:a16="http://schemas.microsoft.com/office/drawing/2014/main" id="{F4733B31-CBAE-A0B6-EAF1-9B98D5147D50}"/>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12073" y="1279711"/>
            <a:ext cx="266700" cy="342900"/>
          </a:xfrm>
          <a:prstGeom prst="rect">
            <a:avLst/>
          </a:prstGeom>
        </p:spPr>
      </p:pic>
      <p:pic>
        <p:nvPicPr>
          <p:cNvPr id="9" name="Graphic 53">
            <a:extLst>
              <a:ext uri="{FF2B5EF4-FFF2-40B4-BE49-F238E27FC236}">
                <a16:creationId xmlns:a16="http://schemas.microsoft.com/office/drawing/2014/main" id="{7C998406-6D4F-CBA8-4C8E-A2DB9B35E4F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276520" y="1143940"/>
            <a:ext cx="419100" cy="495300"/>
          </a:xfrm>
          <a:prstGeom prst="rect">
            <a:avLst/>
          </a:prstGeom>
        </p:spPr>
      </p:pic>
      <p:pic>
        <p:nvPicPr>
          <p:cNvPr id="10" name="Graphic 55">
            <a:extLst>
              <a:ext uri="{FF2B5EF4-FFF2-40B4-BE49-F238E27FC236}">
                <a16:creationId xmlns:a16="http://schemas.microsoft.com/office/drawing/2014/main" id="{AB878650-C4EA-7228-FB94-2184767C2844}"/>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784118" y="1215303"/>
            <a:ext cx="381000" cy="393700"/>
          </a:xfrm>
          <a:prstGeom prst="rect">
            <a:avLst/>
          </a:prstGeom>
        </p:spPr>
      </p:pic>
      <p:pic>
        <p:nvPicPr>
          <p:cNvPr id="11" name="Graphic 57">
            <a:extLst>
              <a:ext uri="{FF2B5EF4-FFF2-40B4-BE49-F238E27FC236}">
                <a16:creationId xmlns:a16="http://schemas.microsoft.com/office/drawing/2014/main" id="{00E07D73-3538-46B8-0E7D-DB61D40C7162}"/>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282057" y="1241436"/>
            <a:ext cx="495300" cy="342900"/>
          </a:xfrm>
          <a:prstGeom prst="rect">
            <a:avLst/>
          </a:prstGeom>
        </p:spPr>
      </p:pic>
      <p:pic>
        <p:nvPicPr>
          <p:cNvPr id="12" name="Graphic 59">
            <a:extLst>
              <a:ext uri="{FF2B5EF4-FFF2-40B4-BE49-F238E27FC236}">
                <a16:creationId xmlns:a16="http://schemas.microsoft.com/office/drawing/2014/main" id="{04AAFDAE-CCB7-CA12-0939-4EF2AC0B8B93}"/>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909286" y="1165411"/>
            <a:ext cx="508000" cy="457200"/>
          </a:xfrm>
          <a:prstGeom prst="rect">
            <a:avLst/>
          </a:prstGeom>
        </p:spPr>
      </p:pic>
      <p:pic>
        <p:nvPicPr>
          <p:cNvPr id="13" name="Graphic 61">
            <a:extLst>
              <a:ext uri="{FF2B5EF4-FFF2-40B4-BE49-F238E27FC236}">
                <a16:creationId xmlns:a16="http://schemas.microsoft.com/office/drawing/2014/main" id="{179F36E3-53FB-DBCE-52E4-1F8156731DB2}"/>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534225" y="1188839"/>
            <a:ext cx="698500" cy="469900"/>
          </a:xfrm>
          <a:prstGeom prst="rect">
            <a:avLst/>
          </a:prstGeom>
        </p:spPr>
      </p:pic>
      <p:pic>
        <p:nvPicPr>
          <p:cNvPr id="14" name="Graphic 63">
            <a:extLst>
              <a:ext uri="{FF2B5EF4-FFF2-40B4-BE49-F238E27FC236}">
                <a16:creationId xmlns:a16="http://schemas.microsoft.com/office/drawing/2014/main" id="{3660F36A-49D5-6318-6053-F1CB104962BE}"/>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12866" y="1761745"/>
            <a:ext cx="419100" cy="419100"/>
          </a:xfrm>
          <a:prstGeom prst="rect">
            <a:avLst/>
          </a:prstGeom>
        </p:spPr>
      </p:pic>
      <p:pic>
        <p:nvPicPr>
          <p:cNvPr id="15" name="Graphic 65">
            <a:extLst>
              <a:ext uri="{FF2B5EF4-FFF2-40B4-BE49-F238E27FC236}">
                <a16:creationId xmlns:a16="http://schemas.microsoft.com/office/drawing/2014/main" id="{34CD3064-EF80-5E0D-9375-69CE40A0AA21}"/>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849460" y="1723645"/>
            <a:ext cx="368300" cy="495300"/>
          </a:xfrm>
          <a:prstGeom prst="rect">
            <a:avLst/>
          </a:prstGeom>
        </p:spPr>
      </p:pic>
      <p:pic>
        <p:nvPicPr>
          <p:cNvPr id="16" name="Graphic 67">
            <a:extLst>
              <a:ext uri="{FF2B5EF4-FFF2-40B4-BE49-F238E27FC236}">
                <a16:creationId xmlns:a16="http://schemas.microsoft.com/office/drawing/2014/main" id="{44501D33-602E-1646-CCDA-FA8CCBC6C71A}"/>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335649" y="1935927"/>
            <a:ext cx="596900" cy="266700"/>
          </a:xfrm>
          <a:prstGeom prst="rect">
            <a:avLst/>
          </a:prstGeom>
        </p:spPr>
      </p:pic>
      <p:pic>
        <p:nvPicPr>
          <p:cNvPr id="17" name="Graphic 69">
            <a:extLst>
              <a:ext uri="{FF2B5EF4-FFF2-40B4-BE49-F238E27FC236}">
                <a16:creationId xmlns:a16="http://schemas.microsoft.com/office/drawing/2014/main" id="{3F220FE5-2034-7967-5E81-5CFC7AC4294F}"/>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2034808" y="1816709"/>
            <a:ext cx="368300" cy="431800"/>
          </a:xfrm>
          <a:prstGeom prst="rect">
            <a:avLst/>
          </a:prstGeom>
        </p:spPr>
      </p:pic>
      <p:pic>
        <p:nvPicPr>
          <p:cNvPr id="18" name="Graphic 71">
            <a:extLst>
              <a:ext uri="{FF2B5EF4-FFF2-40B4-BE49-F238E27FC236}">
                <a16:creationId xmlns:a16="http://schemas.microsoft.com/office/drawing/2014/main" id="{D39457F7-E60A-48EF-58EB-FA4C598D25E3}"/>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501303" y="1816709"/>
            <a:ext cx="495300" cy="469900"/>
          </a:xfrm>
          <a:prstGeom prst="rect">
            <a:avLst/>
          </a:prstGeom>
        </p:spPr>
      </p:pic>
      <p:pic>
        <p:nvPicPr>
          <p:cNvPr id="19" name="Graphic 73">
            <a:extLst>
              <a:ext uri="{FF2B5EF4-FFF2-40B4-BE49-F238E27FC236}">
                <a16:creationId xmlns:a16="http://schemas.microsoft.com/office/drawing/2014/main" id="{C9830EC0-9B81-E6F9-D72A-FE04EA621F27}"/>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097115" y="1735970"/>
            <a:ext cx="673100" cy="609600"/>
          </a:xfrm>
          <a:prstGeom prst="rect">
            <a:avLst/>
          </a:prstGeom>
        </p:spPr>
      </p:pic>
      <p:pic>
        <p:nvPicPr>
          <p:cNvPr id="20" name="Graphic 75">
            <a:extLst>
              <a:ext uri="{FF2B5EF4-FFF2-40B4-BE49-F238E27FC236}">
                <a16:creationId xmlns:a16="http://schemas.microsoft.com/office/drawing/2014/main" id="{5E36C601-D152-9721-6BD6-29D7F79B07B8}"/>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3857735" y="1737803"/>
            <a:ext cx="482600" cy="609600"/>
          </a:xfrm>
          <a:prstGeom prst="rect">
            <a:avLst/>
          </a:prstGeom>
        </p:spPr>
      </p:pic>
      <p:pic>
        <p:nvPicPr>
          <p:cNvPr id="21" name="Graphic 77">
            <a:extLst>
              <a:ext uri="{FF2B5EF4-FFF2-40B4-BE49-F238E27FC236}">
                <a16:creationId xmlns:a16="http://schemas.microsoft.com/office/drawing/2014/main" id="{98DD4065-EC53-FC86-164D-083E5D90034E}"/>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316269" y="2362786"/>
            <a:ext cx="457200" cy="495300"/>
          </a:xfrm>
          <a:prstGeom prst="rect">
            <a:avLst/>
          </a:prstGeom>
        </p:spPr>
      </p:pic>
      <p:pic>
        <p:nvPicPr>
          <p:cNvPr id="22" name="Graphic 79">
            <a:extLst>
              <a:ext uri="{FF2B5EF4-FFF2-40B4-BE49-F238E27FC236}">
                <a16:creationId xmlns:a16="http://schemas.microsoft.com/office/drawing/2014/main" id="{145A4D4D-04A5-BA12-BEBC-580025583EB1}"/>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813510" y="2311986"/>
            <a:ext cx="609600" cy="596900"/>
          </a:xfrm>
          <a:prstGeom prst="rect">
            <a:avLst/>
          </a:prstGeom>
        </p:spPr>
      </p:pic>
      <p:pic>
        <p:nvPicPr>
          <p:cNvPr id="23" name="Graphic 81">
            <a:extLst>
              <a:ext uri="{FF2B5EF4-FFF2-40B4-BE49-F238E27FC236}">
                <a16:creationId xmlns:a16="http://schemas.microsoft.com/office/drawing/2014/main" id="{88D3F691-12FD-ECAF-114F-902845791F2B}"/>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460106" y="2456932"/>
            <a:ext cx="838200" cy="393700"/>
          </a:xfrm>
          <a:prstGeom prst="rect">
            <a:avLst/>
          </a:prstGeom>
        </p:spPr>
      </p:pic>
      <p:pic>
        <p:nvPicPr>
          <p:cNvPr id="24" name="Graphic 83">
            <a:extLst>
              <a:ext uri="{FF2B5EF4-FFF2-40B4-BE49-F238E27FC236}">
                <a16:creationId xmlns:a16="http://schemas.microsoft.com/office/drawing/2014/main" id="{95C7D13E-A08D-7CCC-AA36-E20DC7FA02EE}"/>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2347125" y="2469632"/>
            <a:ext cx="660400" cy="368300"/>
          </a:xfrm>
          <a:prstGeom prst="rect">
            <a:avLst/>
          </a:prstGeom>
        </p:spPr>
      </p:pic>
      <p:pic>
        <p:nvPicPr>
          <p:cNvPr id="25" name="Graphic 85">
            <a:extLst>
              <a:ext uri="{FF2B5EF4-FFF2-40B4-BE49-F238E27FC236}">
                <a16:creationId xmlns:a16="http://schemas.microsoft.com/office/drawing/2014/main" id="{6D69AC90-3C0F-D75E-06CC-CE73F7E6A3A2}"/>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3017236" y="2393575"/>
            <a:ext cx="800100" cy="533400"/>
          </a:xfrm>
          <a:prstGeom prst="rect">
            <a:avLst/>
          </a:prstGeom>
        </p:spPr>
      </p:pic>
      <p:pic>
        <p:nvPicPr>
          <p:cNvPr id="26" name="Graphic 87">
            <a:extLst>
              <a:ext uri="{FF2B5EF4-FFF2-40B4-BE49-F238E27FC236}">
                <a16:creationId xmlns:a16="http://schemas.microsoft.com/office/drawing/2014/main" id="{82A03797-C464-487C-5FCA-A949E736F21C}"/>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265469" y="3674741"/>
            <a:ext cx="571500" cy="457200"/>
          </a:xfrm>
          <a:prstGeom prst="rect">
            <a:avLst/>
          </a:prstGeom>
        </p:spPr>
      </p:pic>
      <p:pic>
        <p:nvPicPr>
          <p:cNvPr id="27" name="Graphic 89">
            <a:extLst>
              <a:ext uri="{FF2B5EF4-FFF2-40B4-BE49-F238E27FC236}">
                <a16:creationId xmlns:a16="http://schemas.microsoft.com/office/drawing/2014/main" id="{C8F91B0A-A79D-8689-9275-EE78235B8F6C}"/>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966757" y="3639617"/>
            <a:ext cx="596900" cy="457200"/>
          </a:xfrm>
          <a:prstGeom prst="rect">
            <a:avLst/>
          </a:prstGeom>
        </p:spPr>
      </p:pic>
      <p:pic>
        <p:nvPicPr>
          <p:cNvPr id="28" name="Graphic 91">
            <a:extLst>
              <a:ext uri="{FF2B5EF4-FFF2-40B4-BE49-F238E27FC236}">
                <a16:creationId xmlns:a16="http://schemas.microsoft.com/office/drawing/2014/main" id="{7E6E1954-05FB-335E-3282-E3416BF1E107}"/>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1696250" y="3629707"/>
            <a:ext cx="444500" cy="469900"/>
          </a:xfrm>
          <a:prstGeom prst="rect">
            <a:avLst/>
          </a:prstGeom>
        </p:spPr>
      </p:pic>
      <p:pic>
        <p:nvPicPr>
          <p:cNvPr id="29" name="Graphic 93">
            <a:extLst>
              <a:ext uri="{FF2B5EF4-FFF2-40B4-BE49-F238E27FC236}">
                <a16:creationId xmlns:a16="http://schemas.microsoft.com/office/drawing/2014/main" id="{27D292A2-B11B-D24D-A0B3-005F1AB4580D}"/>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2249252" y="3696182"/>
            <a:ext cx="165100" cy="381000"/>
          </a:xfrm>
          <a:prstGeom prst="rect">
            <a:avLst/>
          </a:prstGeom>
        </p:spPr>
      </p:pic>
      <p:pic>
        <p:nvPicPr>
          <p:cNvPr id="30" name="Graphic 95">
            <a:extLst>
              <a:ext uri="{FF2B5EF4-FFF2-40B4-BE49-F238E27FC236}">
                <a16:creationId xmlns:a16="http://schemas.microsoft.com/office/drawing/2014/main" id="{9DB63450-F791-F869-BFBD-0DF422F930C3}"/>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2535278" y="3702251"/>
            <a:ext cx="419100" cy="419100"/>
          </a:xfrm>
          <a:prstGeom prst="rect">
            <a:avLst/>
          </a:prstGeom>
        </p:spPr>
      </p:pic>
      <p:pic>
        <p:nvPicPr>
          <p:cNvPr id="31" name="Graphic 97">
            <a:extLst>
              <a:ext uri="{FF2B5EF4-FFF2-40B4-BE49-F238E27FC236}">
                <a16:creationId xmlns:a16="http://schemas.microsoft.com/office/drawing/2014/main" id="{80C43D26-492E-2C13-49C6-7F8005675965}"/>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3077513" y="3567190"/>
            <a:ext cx="393700" cy="533400"/>
          </a:xfrm>
          <a:prstGeom prst="rect">
            <a:avLst/>
          </a:prstGeom>
        </p:spPr>
      </p:pic>
      <p:pic>
        <p:nvPicPr>
          <p:cNvPr id="32" name="Graphic 99">
            <a:extLst>
              <a:ext uri="{FF2B5EF4-FFF2-40B4-BE49-F238E27FC236}">
                <a16:creationId xmlns:a16="http://schemas.microsoft.com/office/drawing/2014/main" id="{48D241C5-16BB-4DB9-747C-5CC3F19F857C}"/>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3579715" y="3702251"/>
            <a:ext cx="419100" cy="406400"/>
          </a:xfrm>
          <a:prstGeom prst="rect">
            <a:avLst/>
          </a:prstGeom>
        </p:spPr>
      </p:pic>
      <p:pic>
        <p:nvPicPr>
          <p:cNvPr id="33" name="Graphic 101">
            <a:extLst>
              <a:ext uri="{FF2B5EF4-FFF2-40B4-BE49-F238E27FC236}">
                <a16:creationId xmlns:a16="http://schemas.microsoft.com/office/drawing/2014/main" id="{D4E0E676-52AB-D066-95B5-BC43159FA173}"/>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4075291" y="3738241"/>
            <a:ext cx="469900" cy="393700"/>
          </a:xfrm>
          <a:prstGeom prst="rect">
            <a:avLst/>
          </a:prstGeom>
        </p:spPr>
      </p:pic>
      <p:pic>
        <p:nvPicPr>
          <p:cNvPr id="34" name="Graphic 103">
            <a:extLst>
              <a:ext uri="{FF2B5EF4-FFF2-40B4-BE49-F238E27FC236}">
                <a16:creationId xmlns:a16="http://schemas.microsoft.com/office/drawing/2014/main" id="{C76BA5C8-17E6-E7BE-2836-C20917BEED0F}"/>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404852" y="4234809"/>
            <a:ext cx="495300" cy="495300"/>
          </a:xfrm>
          <a:prstGeom prst="rect">
            <a:avLst/>
          </a:prstGeom>
        </p:spPr>
      </p:pic>
      <p:pic>
        <p:nvPicPr>
          <p:cNvPr id="35" name="Graphic 105">
            <a:extLst>
              <a:ext uri="{FF2B5EF4-FFF2-40B4-BE49-F238E27FC236}">
                <a16:creationId xmlns:a16="http://schemas.microsoft.com/office/drawing/2014/main" id="{BF2D7A5F-0828-3DA0-F8B6-083E5D2772EB}"/>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1044546" y="4335894"/>
            <a:ext cx="317500" cy="317500"/>
          </a:xfrm>
          <a:prstGeom prst="rect">
            <a:avLst/>
          </a:prstGeom>
        </p:spPr>
      </p:pic>
      <p:pic>
        <p:nvPicPr>
          <p:cNvPr id="36" name="Graphic 107">
            <a:extLst>
              <a:ext uri="{FF2B5EF4-FFF2-40B4-BE49-F238E27FC236}">
                <a16:creationId xmlns:a16="http://schemas.microsoft.com/office/drawing/2014/main" id="{A189192E-6EF1-C52B-9542-15832194E6DE}"/>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1503817" y="4196709"/>
            <a:ext cx="469900" cy="533400"/>
          </a:xfrm>
          <a:prstGeom prst="rect">
            <a:avLst/>
          </a:prstGeom>
        </p:spPr>
      </p:pic>
      <p:pic>
        <p:nvPicPr>
          <p:cNvPr id="37" name="Graphic 109">
            <a:extLst>
              <a:ext uri="{FF2B5EF4-FFF2-40B4-BE49-F238E27FC236}">
                <a16:creationId xmlns:a16="http://schemas.microsoft.com/office/drawing/2014/main" id="{EE427AA5-7EB5-C701-78DC-F775DD8CAC9C}"/>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5"/>
              </a:ext>
            </a:extLst>
          </a:blip>
          <a:stretch>
            <a:fillRect/>
          </a:stretch>
        </p:blipFill>
        <p:spPr>
          <a:xfrm>
            <a:off x="2075731" y="4246994"/>
            <a:ext cx="482600" cy="495300"/>
          </a:xfrm>
          <a:prstGeom prst="rect">
            <a:avLst/>
          </a:prstGeom>
        </p:spPr>
      </p:pic>
      <p:pic>
        <p:nvPicPr>
          <p:cNvPr id="38" name="Graphic 111">
            <a:extLst>
              <a:ext uri="{FF2B5EF4-FFF2-40B4-BE49-F238E27FC236}">
                <a16:creationId xmlns:a16="http://schemas.microsoft.com/office/drawing/2014/main" id="{042F331A-0567-78E4-E727-0C63F03676F3}"/>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2702725" y="4323709"/>
            <a:ext cx="304800" cy="406400"/>
          </a:xfrm>
          <a:prstGeom prst="rect">
            <a:avLst/>
          </a:prstGeom>
        </p:spPr>
      </p:pic>
      <p:pic>
        <p:nvPicPr>
          <p:cNvPr id="39" name="Graphic 113">
            <a:extLst>
              <a:ext uri="{FF2B5EF4-FFF2-40B4-BE49-F238E27FC236}">
                <a16:creationId xmlns:a16="http://schemas.microsoft.com/office/drawing/2014/main" id="{9FE2B116-0469-DD92-4FA8-D5D117E5F67E}"/>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7"/>
              </a:ext>
            </a:extLst>
          </a:blip>
          <a:stretch>
            <a:fillRect/>
          </a:stretch>
        </p:blipFill>
        <p:spPr>
          <a:xfrm>
            <a:off x="3109539" y="4349109"/>
            <a:ext cx="393700" cy="355600"/>
          </a:xfrm>
          <a:prstGeom prst="rect">
            <a:avLst/>
          </a:prstGeom>
        </p:spPr>
      </p:pic>
      <p:pic>
        <p:nvPicPr>
          <p:cNvPr id="40" name="Graphic 115">
            <a:extLst>
              <a:ext uri="{FF2B5EF4-FFF2-40B4-BE49-F238E27FC236}">
                <a16:creationId xmlns:a16="http://schemas.microsoft.com/office/drawing/2014/main" id="{FB66ED49-7F9C-D3F0-C386-24527F3E3D0F}"/>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3573365" y="4341655"/>
            <a:ext cx="431800" cy="419100"/>
          </a:xfrm>
          <a:prstGeom prst="rect">
            <a:avLst/>
          </a:prstGeom>
        </p:spPr>
      </p:pic>
      <p:pic>
        <p:nvPicPr>
          <p:cNvPr id="41" name="Graphic 117">
            <a:extLst>
              <a:ext uri="{FF2B5EF4-FFF2-40B4-BE49-F238E27FC236}">
                <a16:creationId xmlns:a16="http://schemas.microsoft.com/office/drawing/2014/main" id="{05709B73-EAEC-893A-C449-96FA30562F22}"/>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39"/>
              </a:ext>
            </a:extLst>
          </a:blip>
          <a:stretch>
            <a:fillRect/>
          </a:stretch>
        </p:blipFill>
        <p:spPr>
          <a:xfrm>
            <a:off x="4075291" y="4417855"/>
            <a:ext cx="508000" cy="266700"/>
          </a:xfrm>
          <a:prstGeom prst="rect">
            <a:avLst/>
          </a:prstGeom>
        </p:spPr>
      </p:pic>
      <p:pic>
        <p:nvPicPr>
          <p:cNvPr id="42" name="Graphic 119">
            <a:extLst>
              <a:ext uri="{FF2B5EF4-FFF2-40B4-BE49-F238E27FC236}">
                <a16:creationId xmlns:a16="http://schemas.microsoft.com/office/drawing/2014/main" id="{3BF39468-511D-651B-4EF3-68EA58E51FE0}"/>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4724005" y="1167608"/>
            <a:ext cx="647700" cy="584200"/>
          </a:xfrm>
          <a:prstGeom prst="rect">
            <a:avLst/>
          </a:prstGeom>
        </p:spPr>
      </p:pic>
      <p:pic>
        <p:nvPicPr>
          <p:cNvPr id="43" name="Graphic 121">
            <a:extLst>
              <a:ext uri="{FF2B5EF4-FFF2-40B4-BE49-F238E27FC236}">
                <a16:creationId xmlns:a16="http://schemas.microsoft.com/office/drawing/2014/main" id="{3CD2A967-CFEF-3A19-EC91-4FEA8D4F0911}"/>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41"/>
              </a:ext>
            </a:extLst>
          </a:blip>
          <a:stretch>
            <a:fillRect/>
          </a:stretch>
        </p:blipFill>
        <p:spPr>
          <a:xfrm>
            <a:off x="5369406" y="1218408"/>
            <a:ext cx="419100" cy="533400"/>
          </a:xfrm>
          <a:prstGeom prst="rect">
            <a:avLst/>
          </a:prstGeom>
        </p:spPr>
      </p:pic>
      <p:pic>
        <p:nvPicPr>
          <p:cNvPr id="44" name="Graphic 123">
            <a:extLst>
              <a:ext uri="{FF2B5EF4-FFF2-40B4-BE49-F238E27FC236}">
                <a16:creationId xmlns:a16="http://schemas.microsoft.com/office/drawing/2014/main" id="{936B6AB2-FAAB-D249-23B8-1FFC93E04544}"/>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42"/>
              </a:ext>
            </a:extLst>
          </a:blip>
          <a:stretch>
            <a:fillRect/>
          </a:stretch>
        </p:blipFill>
        <p:spPr>
          <a:xfrm>
            <a:off x="5877368" y="1339060"/>
            <a:ext cx="571500" cy="419100"/>
          </a:xfrm>
          <a:prstGeom prst="rect">
            <a:avLst/>
          </a:prstGeom>
        </p:spPr>
      </p:pic>
      <p:pic>
        <p:nvPicPr>
          <p:cNvPr id="45" name="Graphic 125">
            <a:extLst>
              <a:ext uri="{FF2B5EF4-FFF2-40B4-BE49-F238E27FC236}">
                <a16:creationId xmlns:a16="http://schemas.microsoft.com/office/drawing/2014/main" id="{F10DB6D6-5887-F0DD-11F1-FE3879DD729B}"/>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43"/>
              </a:ext>
            </a:extLst>
          </a:blip>
          <a:stretch>
            <a:fillRect/>
          </a:stretch>
        </p:blipFill>
        <p:spPr>
          <a:xfrm>
            <a:off x="6579629" y="1217407"/>
            <a:ext cx="165100" cy="584200"/>
          </a:xfrm>
          <a:prstGeom prst="rect">
            <a:avLst/>
          </a:prstGeom>
        </p:spPr>
      </p:pic>
      <p:pic>
        <p:nvPicPr>
          <p:cNvPr id="46" name="Graphic 127">
            <a:extLst>
              <a:ext uri="{FF2B5EF4-FFF2-40B4-BE49-F238E27FC236}">
                <a16:creationId xmlns:a16="http://schemas.microsoft.com/office/drawing/2014/main" id="{D2FA2D15-3F07-9537-8E37-2AB2DC15AE25}"/>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6941375" y="1269977"/>
            <a:ext cx="381000" cy="444500"/>
          </a:xfrm>
          <a:prstGeom prst="rect">
            <a:avLst/>
          </a:prstGeom>
        </p:spPr>
      </p:pic>
      <p:pic>
        <p:nvPicPr>
          <p:cNvPr id="47" name="Graphic 129">
            <a:extLst>
              <a:ext uri="{FF2B5EF4-FFF2-40B4-BE49-F238E27FC236}">
                <a16:creationId xmlns:a16="http://schemas.microsoft.com/office/drawing/2014/main" id="{B70AF366-14B4-DB84-AA46-D91FA8EBE7A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45"/>
              </a:ext>
            </a:extLst>
          </a:blip>
          <a:stretch>
            <a:fillRect/>
          </a:stretch>
        </p:blipFill>
        <p:spPr>
          <a:xfrm>
            <a:off x="7395976" y="1282990"/>
            <a:ext cx="495300" cy="520700"/>
          </a:xfrm>
          <a:prstGeom prst="rect">
            <a:avLst/>
          </a:prstGeom>
        </p:spPr>
      </p:pic>
      <p:pic>
        <p:nvPicPr>
          <p:cNvPr id="48" name="Graphic 131">
            <a:extLst>
              <a:ext uri="{FF2B5EF4-FFF2-40B4-BE49-F238E27FC236}">
                <a16:creationId xmlns:a16="http://schemas.microsoft.com/office/drawing/2014/main" id="{72204119-0B7F-C247-D9A3-774C07EB7F3A}"/>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7967524" y="1295377"/>
            <a:ext cx="381000" cy="393700"/>
          </a:xfrm>
          <a:prstGeom prst="rect">
            <a:avLst/>
          </a:prstGeom>
        </p:spPr>
      </p:pic>
      <p:pic>
        <p:nvPicPr>
          <p:cNvPr id="49" name="Graphic 133">
            <a:extLst>
              <a:ext uri="{FF2B5EF4-FFF2-40B4-BE49-F238E27FC236}">
                <a16:creationId xmlns:a16="http://schemas.microsoft.com/office/drawing/2014/main" id="{1F719F42-2C78-C78B-A5E5-0E37D2D67D13}"/>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47"/>
              </a:ext>
            </a:extLst>
          </a:blip>
          <a:stretch>
            <a:fillRect/>
          </a:stretch>
        </p:blipFill>
        <p:spPr>
          <a:xfrm>
            <a:off x="8423344" y="1250927"/>
            <a:ext cx="495300" cy="482600"/>
          </a:xfrm>
          <a:prstGeom prst="rect">
            <a:avLst/>
          </a:prstGeom>
        </p:spPr>
      </p:pic>
      <p:pic>
        <p:nvPicPr>
          <p:cNvPr id="50" name="Graphic 135">
            <a:extLst>
              <a:ext uri="{FF2B5EF4-FFF2-40B4-BE49-F238E27FC236}">
                <a16:creationId xmlns:a16="http://schemas.microsoft.com/office/drawing/2014/main" id="{E21216F5-AF1B-62C9-4A8F-BF27F8DDDC8F}"/>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48"/>
              </a:ext>
            </a:extLst>
          </a:blip>
          <a:stretch>
            <a:fillRect/>
          </a:stretch>
        </p:blipFill>
        <p:spPr>
          <a:xfrm>
            <a:off x="4811311" y="1868006"/>
            <a:ext cx="266700" cy="482600"/>
          </a:xfrm>
          <a:prstGeom prst="rect">
            <a:avLst/>
          </a:prstGeom>
        </p:spPr>
      </p:pic>
      <p:pic>
        <p:nvPicPr>
          <p:cNvPr id="51" name="Graphic 137">
            <a:extLst>
              <a:ext uri="{FF2B5EF4-FFF2-40B4-BE49-F238E27FC236}">
                <a16:creationId xmlns:a16="http://schemas.microsoft.com/office/drawing/2014/main" id="{AF3713DF-0204-84A4-E55C-121EA5FC5068}"/>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49"/>
              </a:ext>
            </a:extLst>
          </a:blip>
          <a:stretch>
            <a:fillRect/>
          </a:stretch>
        </p:blipFill>
        <p:spPr>
          <a:xfrm>
            <a:off x="5150922" y="1941341"/>
            <a:ext cx="495300" cy="304800"/>
          </a:xfrm>
          <a:prstGeom prst="rect">
            <a:avLst/>
          </a:prstGeom>
        </p:spPr>
      </p:pic>
      <p:pic>
        <p:nvPicPr>
          <p:cNvPr id="52" name="Graphic 139">
            <a:extLst>
              <a:ext uri="{FF2B5EF4-FFF2-40B4-BE49-F238E27FC236}">
                <a16:creationId xmlns:a16="http://schemas.microsoft.com/office/drawing/2014/main" id="{A9033A17-E753-BCD9-5C0D-00F105CFADEB}"/>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0"/>
              </a:ext>
            </a:extLst>
          </a:blip>
          <a:stretch>
            <a:fillRect/>
          </a:stretch>
        </p:blipFill>
        <p:spPr>
          <a:xfrm>
            <a:off x="5676453" y="1800298"/>
            <a:ext cx="584200" cy="482600"/>
          </a:xfrm>
          <a:prstGeom prst="rect">
            <a:avLst/>
          </a:prstGeom>
        </p:spPr>
      </p:pic>
      <p:pic>
        <p:nvPicPr>
          <p:cNvPr id="53" name="Graphic 141">
            <a:extLst>
              <a:ext uri="{FF2B5EF4-FFF2-40B4-BE49-F238E27FC236}">
                <a16:creationId xmlns:a16="http://schemas.microsoft.com/office/drawing/2014/main" id="{1E836F9D-9BC7-BA8C-A6B4-BCCA0C6D4D60}"/>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6299395" y="1864755"/>
            <a:ext cx="431800" cy="406400"/>
          </a:xfrm>
          <a:prstGeom prst="rect">
            <a:avLst/>
          </a:prstGeom>
        </p:spPr>
      </p:pic>
      <p:pic>
        <p:nvPicPr>
          <p:cNvPr id="54" name="Graphic 143">
            <a:extLst>
              <a:ext uri="{FF2B5EF4-FFF2-40B4-BE49-F238E27FC236}">
                <a16:creationId xmlns:a16="http://schemas.microsoft.com/office/drawing/2014/main" id="{93592E60-8E66-FD5B-58EF-66E6B256401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2"/>
              </a:ext>
            </a:extLst>
          </a:blip>
          <a:stretch>
            <a:fillRect/>
          </a:stretch>
        </p:blipFill>
        <p:spPr>
          <a:xfrm>
            <a:off x="6816209" y="1884191"/>
            <a:ext cx="457200" cy="368300"/>
          </a:xfrm>
          <a:prstGeom prst="rect">
            <a:avLst/>
          </a:prstGeom>
        </p:spPr>
      </p:pic>
      <p:pic>
        <p:nvPicPr>
          <p:cNvPr id="55" name="Graphic 145">
            <a:extLst>
              <a:ext uri="{FF2B5EF4-FFF2-40B4-BE49-F238E27FC236}">
                <a16:creationId xmlns:a16="http://schemas.microsoft.com/office/drawing/2014/main" id="{69B3A867-E78A-D318-65A0-8D318B51A78E}"/>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3"/>
              </a:ext>
            </a:extLst>
          </a:blip>
          <a:stretch>
            <a:fillRect/>
          </a:stretch>
        </p:blipFill>
        <p:spPr>
          <a:xfrm>
            <a:off x="7379081" y="1871491"/>
            <a:ext cx="279400" cy="393700"/>
          </a:xfrm>
          <a:prstGeom prst="rect">
            <a:avLst/>
          </a:prstGeom>
        </p:spPr>
      </p:pic>
      <p:pic>
        <p:nvPicPr>
          <p:cNvPr id="56" name="Graphic 147">
            <a:extLst>
              <a:ext uri="{FF2B5EF4-FFF2-40B4-BE49-F238E27FC236}">
                <a16:creationId xmlns:a16="http://schemas.microsoft.com/office/drawing/2014/main" id="{09CA627A-2C88-1376-89DB-D0DD6691B4D8}"/>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4"/>
              </a:ext>
            </a:extLst>
          </a:blip>
          <a:stretch>
            <a:fillRect/>
          </a:stretch>
        </p:blipFill>
        <p:spPr>
          <a:xfrm>
            <a:off x="7753868" y="1877455"/>
            <a:ext cx="406400" cy="381000"/>
          </a:xfrm>
          <a:prstGeom prst="rect">
            <a:avLst/>
          </a:prstGeom>
        </p:spPr>
      </p:pic>
      <p:pic>
        <p:nvPicPr>
          <p:cNvPr id="57" name="Graphic 149">
            <a:extLst>
              <a:ext uri="{FF2B5EF4-FFF2-40B4-BE49-F238E27FC236}">
                <a16:creationId xmlns:a16="http://schemas.microsoft.com/office/drawing/2014/main" id="{B5124F4D-D972-2600-3F10-FD482DDECFC1}"/>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5"/>
              </a:ext>
            </a:extLst>
          </a:blip>
          <a:stretch>
            <a:fillRect/>
          </a:stretch>
        </p:blipFill>
        <p:spPr>
          <a:xfrm>
            <a:off x="8222304" y="1733527"/>
            <a:ext cx="571500" cy="558800"/>
          </a:xfrm>
          <a:prstGeom prst="rect">
            <a:avLst/>
          </a:prstGeom>
        </p:spPr>
      </p:pic>
      <p:pic>
        <p:nvPicPr>
          <p:cNvPr id="58" name="Graphic 151">
            <a:extLst>
              <a:ext uri="{FF2B5EF4-FFF2-40B4-BE49-F238E27FC236}">
                <a16:creationId xmlns:a16="http://schemas.microsoft.com/office/drawing/2014/main" id="{4FC9B817-534D-CA18-B650-B5980B19197D}"/>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6"/>
              </a:ext>
            </a:extLst>
          </a:blip>
          <a:stretch>
            <a:fillRect/>
          </a:stretch>
        </p:blipFill>
        <p:spPr>
          <a:xfrm>
            <a:off x="4861808" y="2894374"/>
            <a:ext cx="419100" cy="355600"/>
          </a:xfrm>
          <a:prstGeom prst="rect">
            <a:avLst/>
          </a:prstGeom>
        </p:spPr>
      </p:pic>
      <p:pic>
        <p:nvPicPr>
          <p:cNvPr id="59" name="Graphic 153">
            <a:extLst>
              <a:ext uri="{FF2B5EF4-FFF2-40B4-BE49-F238E27FC236}">
                <a16:creationId xmlns:a16="http://schemas.microsoft.com/office/drawing/2014/main" id="{74E3F801-8898-DAFB-2181-A7E942BE6145}"/>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7"/>
              </a:ext>
            </a:extLst>
          </a:blip>
          <a:stretch>
            <a:fillRect/>
          </a:stretch>
        </p:blipFill>
        <p:spPr>
          <a:xfrm>
            <a:off x="5408004" y="2865429"/>
            <a:ext cx="431800" cy="431800"/>
          </a:xfrm>
          <a:prstGeom prst="rect">
            <a:avLst/>
          </a:prstGeom>
        </p:spPr>
      </p:pic>
      <p:pic>
        <p:nvPicPr>
          <p:cNvPr id="60" name="Graphic 155">
            <a:extLst>
              <a:ext uri="{FF2B5EF4-FFF2-40B4-BE49-F238E27FC236}">
                <a16:creationId xmlns:a16="http://schemas.microsoft.com/office/drawing/2014/main" id="{AA42ECE7-DD16-6A70-DDE4-8700D5174575}"/>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8"/>
              </a:ext>
            </a:extLst>
          </a:blip>
          <a:stretch>
            <a:fillRect/>
          </a:stretch>
        </p:blipFill>
        <p:spPr>
          <a:xfrm>
            <a:off x="5931820" y="2883862"/>
            <a:ext cx="393700" cy="381000"/>
          </a:xfrm>
          <a:prstGeom prst="rect">
            <a:avLst/>
          </a:prstGeom>
        </p:spPr>
      </p:pic>
      <p:pic>
        <p:nvPicPr>
          <p:cNvPr id="61" name="Graphic 157">
            <a:extLst>
              <a:ext uri="{FF2B5EF4-FFF2-40B4-BE49-F238E27FC236}">
                <a16:creationId xmlns:a16="http://schemas.microsoft.com/office/drawing/2014/main" id="{DE111874-E7E9-5FCA-0312-A2DBCD0208E4}"/>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9"/>
              </a:ext>
            </a:extLst>
          </a:blip>
          <a:stretch>
            <a:fillRect/>
          </a:stretch>
        </p:blipFill>
        <p:spPr>
          <a:xfrm>
            <a:off x="6414727" y="2855527"/>
            <a:ext cx="419100" cy="381000"/>
          </a:xfrm>
          <a:prstGeom prst="rect">
            <a:avLst/>
          </a:prstGeom>
        </p:spPr>
      </p:pic>
      <p:pic>
        <p:nvPicPr>
          <p:cNvPr id="62" name="Graphic 159">
            <a:extLst>
              <a:ext uri="{FF2B5EF4-FFF2-40B4-BE49-F238E27FC236}">
                <a16:creationId xmlns:a16="http://schemas.microsoft.com/office/drawing/2014/main" id="{2C5880D4-298D-ED97-49C7-016EE2A9FF67}"/>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0"/>
              </a:ext>
            </a:extLst>
          </a:blip>
          <a:stretch>
            <a:fillRect/>
          </a:stretch>
        </p:blipFill>
        <p:spPr>
          <a:xfrm>
            <a:off x="6931947" y="2901970"/>
            <a:ext cx="457200" cy="317500"/>
          </a:xfrm>
          <a:prstGeom prst="rect">
            <a:avLst/>
          </a:prstGeom>
        </p:spPr>
      </p:pic>
      <p:pic>
        <p:nvPicPr>
          <p:cNvPr id="63" name="Graphic 161">
            <a:extLst>
              <a:ext uri="{FF2B5EF4-FFF2-40B4-BE49-F238E27FC236}">
                <a16:creationId xmlns:a16="http://schemas.microsoft.com/office/drawing/2014/main" id="{BE823A40-BA75-CE7D-02F5-6D4B644DCFD9}"/>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1"/>
              </a:ext>
            </a:extLst>
          </a:blip>
          <a:stretch>
            <a:fillRect/>
          </a:stretch>
        </p:blipFill>
        <p:spPr>
          <a:xfrm>
            <a:off x="7475366" y="2835328"/>
            <a:ext cx="495300" cy="457200"/>
          </a:xfrm>
          <a:prstGeom prst="rect">
            <a:avLst/>
          </a:prstGeom>
        </p:spPr>
      </p:pic>
      <p:pic>
        <p:nvPicPr>
          <p:cNvPr id="64" name="Graphic 163">
            <a:extLst>
              <a:ext uri="{FF2B5EF4-FFF2-40B4-BE49-F238E27FC236}">
                <a16:creationId xmlns:a16="http://schemas.microsoft.com/office/drawing/2014/main" id="{45FDEC67-1B06-F778-F6EB-B9D090474D42}"/>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2"/>
              </a:ext>
            </a:extLst>
          </a:blip>
          <a:stretch>
            <a:fillRect/>
          </a:stretch>
        </p:blipFill>
        <p:spPr>
          <a:xfrm>
            <a:off x="8030340" y="2774927"/>
            <a:ext cx="508000" cy="533400"/>
          </a:xfrm>
          <a:prstGeom prst="rect">
            <a:avLst/>
          </a:prstGeom>
        </p:spPr>
      </p:pic>
      <p:pic>
        <p:nvPicPr>
          <p:cNvPr id="65" name="Graphic 165">
            <a:extLst>
              <a:ext uri="{FF2B5EF4-FFF2-40B4-BE49-F238E27FC236}">
                <a16:creationId xmlns:a16="http://schemas.microsoft.com/office/drawing/2014/main" id="{6DE07C9E-BE32-4B9C-2263-6C38EDE0D84B}"/>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3"/>
              </a:ext>
            </a:extLst>
          </a:blip>
          <a:stretch>
            <a:fillRect/>
          </a:stretch>
        </p:blipFill>
        <p:spPr>
          <a:xfrm>
            <a:off x="4780191" y="3365306"/>
            <a:ext cx="533400" cy="520700"/>
          </a:xfrm>
          <a:prstGeom prst="rect">
            <a:avLst/>
          </a:prstGeom>
        </p:spPr>
      </p:pic>
      <p:pic>
        <p:nvPicPr>
          <p:cNvPr id="66" name="Graphic 167">
            <a:extLst>
              <a:ext uri="{FF2B5EF4-FFF2-40B4-BE49-F238E27FC236}">
                <a16:creationId xmlns:a16="http://schemas.microsoft.com/office/drawing/2014/main" id="{66E9B635-2CE0-521F-FDB9-0FA1C80ADB81}"/>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4"/>
              </a:ext>
            </a:extLst>
          </a:blip>
          <a:stretch>
            <a:fillRect/>
          </a:stretch>
        </p:blipFill>
        <p:spPr>
          <a:xfrm>
            <a:off x="5374013" y="3496641"/>
            <a:ext cx="381000" cy="266700"/>
          </a:xfrm>
          <a:prstGeom prst="rect">
            <a:avLst/>
          </a:prstGeom>
        </p:spPr>
      </p:pic>
      <p:pic>
        <p:nvPicPr>
          <p:cNvPr id="67" name="Graphic 169">
            <a:extLst>
              <a:ext uri="{FF2B5EF4-FFF2-40B4-BE49-F238E27FC236}">
                <a16:creationId xmlns:a16="http://schemas.microsoft.com/office/drawing/2014/main" id="{175E46B7-260F-F731-EFE5-E00527632C70}"/>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5"/>
              </a:ext>
            </a:extLst>
          </a:blip>
          <a:stretch>
            <a:fillRect/>
          </a:stretch>
        </p:blipFill>
        <p:spPr>
          <a:xfrm>
            <a:off x="5844230" y="3400806"/>
            <a:ext cx="495300" cy="495300"/>
          </a:xfrm>
          <a:prstGeom prst="rect">
            <a:avLst/>
          </a:prstGeom>
        </p:spPr>
      </p:pic>
      <p:pic>
        <p:nvPicPr>
          <p:cNvPr id="68" name="Graphic 171">
            <a:extLst>
              <a:ext uri="{FF2B5EF4-FFF2-40B4-BE49-F238E27FC236}">
                <a16:creationId xmlns:a16="http://schemas.microsoft.com/office/drawing/2014/main" id="{367CCBB0-092B-0E0C-77CC-3FF25F5F7AFF}"/>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6"/>
              </a:ext>
            </a:extLst>
          </a:blip>
          <a:stretch>
            <a:fillRect/>
          </a:stretch>
        </p:blipFill>
        <p:spPr>
          <a:xfrm>
            <a:off x="6394195" y="3394376"/>
            <a:ext cx="431800" cy="469900"/>
          </a:xfrm>
          <a:prstGeom prst="rect">
            <a:avLst/>
          </a:prstGeom>
        </p:spPr>
      </p:pic>
      <p:pic>
        <p:nvPicPr>
          <p:cNvPr id="69" name="Graphic 173">
            <a:extLst>
              <a:ext uri="{FF2B5EF4-FFF2-40B4-BE49-F238E27FC236}">
                <a16:creationId xmlns:a16="http://schemas.microsoft.com/office/drawing/2014/main" id="{31690EFC-2802-AC4B-D806-B9551B41E90C}"/>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7"/>
              </a:ext>
            </a:extLst>
          </a:blip>
          <a:stretch>
            <a:fillRect/>
          </a:stretch>
        </p:blipFill>
        <p:spPr>
          <a:xfrm>
            <a:off x="6911030" y="3356276"/>
            <a:ext cx="482600" cy="546100"/>
          </a:xfrm>
          <a:prstGeom prst="rect">
            <a:avLst/>
          </a:prstGeom>
        </p:spPr>
      </p:pic>
      <p:pic>
        <p:nvPicPr>
          <p:cNvPr id="70" name="Graphic 175">
            <a:extLst>
              <a:ext uri="{FF2B5EF4-FFF2-40B4-BE49-F238E27FC236}">
                <a16:creationId xmlns:a16="http://schemas.microsoft.com/office/drawing/2014/main" id="{BAE09F34-737F-77A8-98AD-6DE88F0793D2}"/>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8"/>
              </a:ext>
            </a:extLst>
          </a:blip>
          <a:stretch>
            <a:fillRect/>
          </a:stretch>
        </p:blipFill>
        <p:spPr>
          <a:xfrm>
            <a:off x="7421756" y="3400806"/>
            <a:ext cx="444500" cy="419100"/>
          </a:xfrm>
          <a:prstGeom prst="rect">
            <a:avLst/>
          </a:prstGeom>
        </p:spPr>
      </p:pic>
      <p:sp>
        <p:nvSpPr>
          <p:cNvPr id="71" name="Title 1">
            <a:extLst>
              <a:ext uri="{FF2B5EF4-FFF2-40B4-BE49-F238E27FC236}">
                <a16:creationId xmlns:a16="http://schemas.microsoft.com/office/drawing/2014/main" id="{CB276011-696F-1203-6222-6842304AF9BC}"/>
              </a:ext>
            </a:extLst>
          </p:cNvPr>
          <p:cNvSpPr txBox="1">
            <a:spLocks/>
          </p:cNvSpPr>
          <p:nvPr userDrawn="1"/>
        </p:nvSpPr>
        <p:spPr bwMode="gray">
          <a:xfrm>
            <a:off x="236573" y="142580"/>
            <a:ext cx="8511427" cy="207749"/>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1350" spc="0">
                <a:solidFill>
                  <a:schemeClr val="bg1"/>
                </a:solidFill>
                <a:latin typeface="Lato Light" panose="020F0302020204030203" pitchFamily="34" charset="77"/>
              </a:rPr>
              <a:t>THIS IS DALBERG’S CUSTOM ICONOGRAPHY (outline color, fill, and width are editable) 2/3</a:t>
            </a:r>
          </a:p>
        </p:txBody>
      </p:sp>
    </p:spTree>
    <p:extLst>
      <p:ext uri="{BB962C8B-B14F-4D97-AF65-F5344CB8AC3E}">
        <p14:creationId xmlns:p14="http://schemas.microsoft.com/office/powerpoint/2010/main" val="9026073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conography 3/3">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60AA4A20-FDE0-F48C-D553-8C35D876C8ED}"/>
              </a:ext>
            </a:extLst>
          </p:cNvPr>
          <p:cNvGraphicFramePr>
            <a:graphicFrameLocks noChangeAspect="1"/>
          </p:cNvGraphicFramePr>
          <p:nvPr userDrawn="1">
            <p:custDataLst>
              <p:tags r:id="rId1"/>
            </p:custDataLst>
            <p:extLst>
              <p:ext uri="{D42A27DB-BD31-4B8C-83A1-F6EECF244321}">
                <p14:modId xmlns:p14="http://schemas.microsoft.com/office/powerpoint/2010/main" val="82753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1" name="think-cell data - do not delete" hidden="1">
                        <a:extLst>
                          <a:ext uri="{FF2B5EF4-FFF2-40B4-BE49-F238E27FC236}">
                            <a16:creationId xmlns:a16="http://schemas.microsoft.com/office/drawing/2014/main" id="{60AA4A20-FDE0-F48C-D553-8C35D876C8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ángulo 36">
            <a:extLst>
              <a:ext uri="{FF2B5EF4-FFF2-40B4-BE49-F238E27FC236}">
                <a16:creationId xmlns:a16="http://schemas.microsoft.com/office/drawing/2014/main" id="{86F072B4-E7C3-5FE1-91F1-D2917066620D}"/>
              </a:ext>
            </a:extLst>
          </p:cNvPr>
          <p:cNvSpPr/>
          <p:nvPr userDrawn="1"/>
        </p:nvSpPr>
        <p:spPr>
          <a:xfrm>
            <a:off x="-3265" y="564261"/>
            <a:ext cx="9157775" cy="457923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4290" tIns="17145" rIns="34290" bIns="17145" numCol="1" spcCol="0" rtlCol="0" fromWordArt="0" anchor="t" anchorCtr="0" forceAA="0" compatLnSpc="1">
            <a:prstTxWarp prst="textNoShape">
              <a:avLst/>
            </a:prstTxWarp>
            <a:noAutofit/>
          </a:bodyPr>
          <a:lstStyle/>
          <a:p>
            <a:pPr defTabSz="342900" rtl="0"/>
            <a:endParaRPr lang="en-US" sz="600">
              <a:solidFill>
                <a:schemeClr val="bg1"/>
              </a:solidFill>
              <a:cs typeface="Arial" pitchFamily="34" charset="0"/>
            </a:endParaRPr>
          </a:p>
        </p:txBody>
      </p:sp>
      <p:sp>
        <p:nvSpPr>
          <p:cNvPr id="3" name="Google Shape;149;p16">
            <a:extLst>
              <a:ext uri="{FF2B5EF4-FFF2-40B4-BE49-F238E27FC236}">
                <a16:creationId xmlns:a16="http://schemas.microsoft.com/office/drawing/2014/main" id="{1CBC8E80-20AC-0174-1E5F-70D86F52DA16}"/>
              </a:ext>
            </a:extLst>
          </p:cNvPr>
          <p:cNvSpPr/>
          <p:nvPr userDrawn="1"/>
        </p:nvSpPr>
        <p:spPr>
          <a:xfrm>
            <a:off x="-3265" y="-23643"/>
            <a:ext cx="9157775" cy="593041"/>
          </a:xfrm>
          <a:prstGeom prst="rect">
            <a:avLst/>
          </a:prstGeom>
          <a:solidFill>
            <a:srgbClr val="8D19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solidFill>
                <a:srgbClr val="881946"/>
              </a:solidFill>
            </a:endParaRPr>
          </a:p>
        </p:txBody>
      </p:sp>
      <p:sp>
        <p:nvSpPr>
          <p:cNvPr id="4" name="Title 1">
            <a:extLst>
              <a:ext uri="{FF2B5EF4-FFF2-40B4-BE49-F238E27FC236}">
                <a16:creationId xmlns:a16="http://schemas.microsoft.com/office/drawing/2014/main" id="{AF7BAAD5-6C31-8582-6E9F-2A380C194C97}"/>
              </a:ext>
            </a:extLst>
          </p:cNvPr>
          <p:cNvSpPr txBox="1">
            <a:spLocks/>
          </p:cNvSpPr>
          <p:nvPr userDrawn="1"/>
        </p:nvSpPr>
        <p:spPr bwMode="gray">
          <a:xfrm>
            <a:off x="329091" y="823948"/>
            <a:ext cx="2423961" cy="123111"/>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800" spc="113">
                <a:solidFill>
                  <a:srgbClr val="992357"/>
                </a:solidFill>
                <a:latin typeface="Lato" panose="020F0502020204030203" pitchFamily="34" charset="77"/>
              </a:rPr>
              <a:t>EXTRA </a:t>
            </a:r>
            <a:r>
              <a:rPr lang="en-US" sz="800" spc="113">
                <a:solidFill>
                  <a:srgbClr val="881946"/>
                </a:solidFill>
                <a:latin typeface="Lato" panose="020F0502020204030203" pitchFamily="34" charset="77"/>
              </a:rPr>
              <a:t>ASSETS</a:t>
            </a:r>
          </a:p>
        </p:txBody>
      </p:sp>
      <p:pic>
        <p:nvPicPr>
          <p:cNvPr id="5" name="Graphic 6">
            <a:extLst>
              <a:ext uri="{FF2B5EF4-FFF2-40B4-BE49-F238E27FC236}">
                <a16:creationId xmlns:a16="http://schemas.microsoft.com/office/drawing/2014/main" id="{753A2D86-F7E6-B81B-8F4B-E405CD4C5D5C}"/>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99867" y="1190476"/>
            <a:ext cx="431800" cy="457200"/>
          </a:xfrm>
          <a:prstGeom prst="rect">
            <a:avLst/>
          </a:prstGeom>
        </p:spPr>
      </p:pic>
      <p:pic>
        <p:nvPicPr>
          <p:cNvPr id="6" name="Graphic 8">
            <a:extLst>
              <a:ext uri="{FF2B5EF4-FFF2-40B4-BE49-F238E27FC236}">
                <a16:creationId xmlns:a16="http://schemas.microsoft.com/office/drawing/2014/main" id="{0BC02AA0-DCFC-6388-11A7-A00843C12B2F}"/>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09415" y="1178604"/>
            <a:ext cx="431800" cy="444500"/>
          </a:xfrm>
          <a:prstGeom prst="rect">
            <a:avLst/>
          </a:prstGeom>
        </p:spPr>
      </p:pic>
      <p:pic>
        <p:nvPicPr>
          <p:cNvPr id="7" name="Graphic 10">
            <a:extLst>
              <a:ext uri="{FF2B5EF4-FFF2-40B4-BE49-F238E27FC236}">
                <a16:creationId xmlns:a16="http://schemas.microsoft.com/office/drawing/2014/main" id="{906B4221-613D-4015-59E2-3245E1EE7C32}"/>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318963" y="1190476"/>
            <a:ext cx="431800" cy="457200"/>
          </a:xfrm>
          <a:prstGeom prst="rect">
            <a:avLst/>
          </a:prstGeom>
        </p:spPr>
      </p:pic>
      <p:pic>
        <p:nvPicPr>
          <p:cNvPr id="8" name="Graphic 12">
            <a:extLst>
              <a:ext uri="{FF2B5EF4-FFF2-40B4-BE49-F238E27FC236}">
                <a16:creationId xmlns:a16="http://schemas.microsoft.com/office/drawing/2014/main" id="{2B8C4B32-F660-7448-FFD4-13C76093E5BE}"/>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824183" y="1203176"/>
            <a:ext cx="419100" cy="431800"/>
          </a:xfrm>
          <a:prstGeom prst="rect">
            <a:avLst/>
          </a:prstGeom>
        </p:spPr>
      </p:pic>
      <p:pic>
        <p:nvPicPr>
          <p:cNvPr id="9" name="Graphic 14">
            <a:extLst>
              <a:ext uri="{FF2B5EF4-FFF2-40B4-BE49-F238E27FC236}">
                <a16:creationId xmlns:a16="http://schemas.microsoft.com/office/drawing/2014/main" id="{56A098FC-0AF8-9149-2825-DD9CFDDEFDE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68013" y="1842880"/>
            <a:ext cx="584200" cy="609600"/>
          </a:xfrm>
          <a:prstGeom prst="rect">
            <a:avLst/>
          </a:prstGeom>
        </p:spPr>
      </p:pic>
      <p:pic>
        <p:nvPicPr>
          <p:cNvPr id="10" name="Graphic 16">
            <a:extLst>
              <a:ext uri="{FF2B5EF4-FFF2-40B4-BE49-F238E27FC236}">
                <a16:creationId xmlns:a16="http://schemas.microsoft.com/office/drawing/2014/main" id="{C5EF0850-8BC9-5A3B-0B66-7BFECDB5F13B}"/>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14680" y="1868280"/>
            <a:ext cx="584200" cy="533400"/>
          </a:xfrm>
          <a:prstGeom prst="rect">
            <a:avLst/>
          </a:prstGeom>
        </p:spPr>
      </p:pic>
      <p:pic>
        <p:nvPicPr>
          <p:cNvPr id="11" name="Graphic 18">
            <a:extLst>
              <a:ext uri="{FF2B5EF4-FFF2-40B4-BE49-F238E27FC236}">
                <a16:creationId xmlns:a16="http://schemas.microsoft.com/office/drawing/2014/main" id="{71E093DB-5F5F-2288-B998-15DCB75BCCDD}"/>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627873" y="1868280"/>
            <a:ext cx="533400" cy="533400"/>
          </a:xfrm>
          <a:prstGeom prst="rect">
            <a:avLst/>
          </a:prstGeom>
        </p:spPr>
      </p:pic>
      <p:pic>
        <p:nvPicPr>
          <p:cNvPr id="12" name="Graphic 20">
            <a:extLst>
              <a:ext uri="{FF2B5EF4-FFF2-40B4-BE49-F238E27FC236}">
                <a16:creationId xmlns:a16="http://schemas.microsoft.com/office/drawing/2014/main" id="{6692F2A6-9069-19DA-624E-4FFFD55D986B}"/>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276133" y="1868280"/>
            <a:ext cx="558800" cy="533400"/>
          </a:xfrm>
          <a:prstGeom prst="rect">
            <a:avLst/>
          </a:prstGeom>
        </p:spPr>
      </p:pic>
      <p:pic>
        <p:nvPicPr>
          <p:cNvPr id="13" name="Graphic 22">
            <a:extLst>
              <a:ext uri="{FF2B5EF4-FFF2-40B4-BE49-F238E27FC236}">
                <a16:creationId xmlns:a16="http://schemas.microsoft.com/office/drawing/2014/main" id="{E9B98C1F-5F05-79FE-CFC5-51406FFD1C49}"/>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37269" y="2658533"/>
            <a:ext cx="289870" cy="289870"/>
          </a:xfrm>
          <a:prstGeom prst="rect">
            <a:avLst/>
          </a:prstGeom>
        </p:spPr>
      </p:pic>
      <p:pic>
        <p:nvPicPr>
          <p:cNvPr id="14" name="Graphic 24">
            <a:extLst>
              <a:ext uri="{FF2B5EF4-FFF2-40B4-BE49-F238E27FC236}">
                <a16:creationId xmlns:a16="http://schemas.microsoft.com/office/drawing/2014/main" id="{740E9729-108C-EDE7-6E7A-ECFBFDCED052}"/>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758026" y="2673790"/>
            <a:ext cx="312754" cy="259357"/>
          </a:xfrm>
          <a:prstGeom prst="rect">
            <a:avLst/>
          </a:prstGeom>
        </p:spPr>
      </p:pic>
      <p:pic>
        <p:nvPicPr>
          <p:cNvPr id="15" name="Graphic 26">
            <a:extLst>
              <a:ext uri="{FF2B5EF4-FFF2-40B4-BE49-F238E27FC236}">
                <a16:creationId xmlns:a16="http://schemas.microsoft.com/office/drawing/2014/main" id="{7492C619-07FA-8D56-38B8-03647A812670}"/>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196073" y="2654719"/>
            <a:ext cx="236473" cy="297498"/>
          </a:xfrm>
          <a:prstGeom prst="rect">
            <a:avLst/>
          </a:prstGeom>
        </p:spPr>
      </p:pic>
      <p:pic>
        <p:nvPicPr>
          <p:cNvPr id="16" name="Graphic 28">
            <a:extLst>
              <a:ext uri="{FF2B5EF4-FFF2-40B4-BE49-F238E27FC236}">
                <a16:creationId xmlns:a16="http://schemas.microsoft.com/office/drawing/2014/main" id="{30FD5DFF-CE73-0DF9-F5A9-5645AFDAC5B4}"/>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594080" y="2669976"/>
            <a:ext cx="274613" cy="266985"/>
          </a:xfrm>
          <a:prstGeom prst="rect">
            <a:avLst/>
          </a:prstGeom>
        </p:spPr>
      </p:pic>
      <p:pic>
        <p:nvPicPr>
          <p:cNvPr id="17" name="Graphic 30">
            <a:extLst>
              <a:ext uri="{FF2B5EF4-FFF2-40B4-BE49-F238E27FC236}">
                <a16:creationId xmlns:a16="http://schemas.microsoft.com/office/drawing/2014/main" id="{8E931D10-320A-6E7C-0D30-F28C8CB384D6}"/>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006113" y="2677604"/>
            <a:ext cx="251729" cy="251729"/>
          </a:xfrm>
          <a:prstGeom prst="rect">
            <a:avLst/>
          </a:prstGeom>
        </p:spPr>
      </p:pic>
      <p:pic>
        <p:nvPicPr>
          <p:cNvPr id="18" name="Graphic 32">
            <a:extLst>
              <a:ext uri="{FF2B5EF4-FFF2-40B4-BE49-F238E27FC236}">
                <a16:creationId xmlns:a16="http://schemas.microsoft.com/office/drawing/2014/main" id="{07E5239D-D045-47A7-E65B-24429701933C}"/>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2439820" y="2654719"/>
            <a:ext cx="160191" cy="297498"/>
          </a:xfrm>
          <a:prstGeom prst="rect">
            <a:avLst/>
          </a:prstGeom>
        </p:spPr>
      </p:pic>
      <p:pic>
        <p:nvPicPr>
          <p:cNvPr id="19" name="Graphic 34">
            <a:extLst>
              <a:ext uri="{FF2B5EF4-FFF2-40B4-BE49-F238E27FC236}">
                <a16:creationId xmlns:a16="http://schemas.microsoft.com/office/drawing/2014/main" id="{BAD2E58E-675D-6DEF-F149-2727A3F0A21C}"/>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2773747" y="2700488"/>
            <a:ext cx="274613" cy="205960"/>
          </a:xfrm>
          <a:prstGeom prst="rect">
            <a:avLst/>
          </a:prstGeom>
        </p:spPr>
      </p:pic>
      <p:sp>
        <p:nvSpPr>
          <p:cNvPr id="20" name="Title 1">
            <a:extLst>
              <a:ext uri="{FF2B5EF4-FFF2-40B4-BE49-F238E27FC236}">
                <a16:creationId xmlns:a16="http://schemas.microsoft.com/office/drawing/2014/main" id="{7C750A46-EEAF-D8AD-A087-B1DD7CEF2595}"/>
              </a:ext>
            </a:extLst>
          </p:cNvPr>
          <p:cNvSpPr txBox="1">
            <a:spLocks/>
          </p:cNvSpPr>
          <p:nvPr userDrawn="1"/>
        </p:nvSpPr>
        <p:spPr bwMode="gray">
          <a:xfrm>
            <a:off x="236573" y="142580"/>
            <a:ext cx="8511427" cy="207749"/>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1350" spc="0">
                <a:solidFill>
                  <a:schemeClr val="bg1"/>
                </a:solidFill>
                <a:latin typeface="Lato Light" panose="020F0302020204030203" pitchFamily="34" charset="77"/>
              </a:rPr>
              <a:t>THIS IS DALBERG’S CUSTOM ICONOGRAPHY (outline color, fill, and width are editable) 3/3</a:t>
            </a:r>
          </a:p>
        </p:txBody>
      </p:sp>
    </p:spTree>
    <p:extLst>
      <p:ext uri="{BB962C8B-B14F-4D97-AF65-F5344CB8AC3E}">
        <p14:creationId xmlns:p14="http://schemas.microsoft.com/office/powerpoint/2010/main" val="18796695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orld map">
    <p:spTree>
      <p:nvGrpSpPr>
        <p:cNvPr id="1" name=""/>
        <p:cNvGrpSpPr/>
        <p:nvPr/>
      </p:nvGrpSpPr>
      <p:grpSpPr>
        <a:xfrm>
          <a:off x="0" y="0"/>
          <a:ext cx="0" cy="0"/>
          <a:chOff x="0" y="0"/>
          <a:chExt cx="0" cy="0"/>
        </a:xfrm>
      </p:grpSpPr>
      <p:graphicFrame>
        <p:nvGraphicFramePr>
          <p:cNvPr id="174" name="think-cell data - do not delete" hidden="1">
            <a:extLst>
              <a:ext uri="{FF2B5EF4-FFF2-40B4-BE49-F238E27FC236}">
                <a16:creationId xmlns:a16="http://schemas.microsoft.com/office/drawing/2014/main" id="{5B42437D-4A61-8B83-F09D-E93D52513715}"/>
              </a:ext>
            </a:extLst>
          </p:cNvPr>
          <p:cNvGraphicFramePr>
            <a:graphicFrameLocks noChangeAspect="1"/>
          </p:cNvGraphicFramePr>
          <p:nvPr userDrawn="1">
            <p:custDataLst>
              <p:tags r:id="rId1"/>
            </p:custDataLst>
            <p:extLst>
              <p:ext uri="{D42A27DB-BD31-4B8C-83A1-F6EECF244321}">
                <p14:modId xmlns:p14="http://schemas.microsoft.com/office/powerpoint/2010/main" val="1233996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74" name="think-cell data - do not delete" hidden="1">
                        <a:extLst>
                          <a:ext uri="{FF2B5EF4-FFF2-40B4-BE49-F238E27FC236}">
                            <a16:creationId xmlns:a16="http://schemas.microsoft.com/office/drawing/2014/main" id="{5B42437D-4A61-8B83-F09D-E93D525137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Google Shape;149;p16">
            <a:extLst>
              <a:ext uri="{FF2B5EF4-FFF2-40B4-BE49-F238E27FC236}">
                <a16:creationId xmlns:a16="http://schemas.microsoft.com/office/drawing/2014/main" id="{0472EDD7-70BD-BC42-7F7D-6B567648DCDB}"/>
              </a:ext>
            </a:extLst>
          </p:cNvPr>
          <p:cNvSpPr/>
          <p:nvPr userDrawn="1"/>
        </p:nvSpPr>
        <p:spPr>
          <a:xfrm>
            <a:off x="-3265" y="-23643"/>
            <a:ext cx="9157775" cy="593041"/>
          </a:xfrm>
          <a:prstGeom prst="rect">
            <a:avLst/>
          </a:prstGeom>
          <a:solidFill>
            <a:srgbClr val="88194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3" name="Freeform 190">
            <a:extLst>
              <a:ext uri="{FF2B5EF4-FFF2-40B4-BE49-F238E27FC236}">
                <a16:creationId xmlns:a16="http://schemas.microsoft.com/office/drawing/2014/main" id="{A33AD638-70DD-CEF2-DA76-E87492DBB1D9}"/>
              </a:ext>
            </a:extLst>
          </p:cNvPr>
          <p:cNvSpPr>
            <a:spLocks/>
          </p:cNvSpPr>
          <p:nvPr userDrawn="1"/>
        </p:nvSpPr>
        <p:spPr bwMode="gray">
          <a:xfrm>
            <a:off x="4599310" y="3708792"/>
            <a:ext cx="264004" cy="262703"/>
          </a:xfrm>
          <a:custGeom>
            <a:avLst/>
            <a:gdLst/>
            <a:ahLst/>
            <a:cxnLst>
              <a:cxn ang="0">
                <a:pos x="75" y="195"/>
              </a:cxn>
              <a:cxn ang="0">
                <a:pos x="78" y="189"/>
              </a:cxn>
              <a:cxn ang="0">
                <a:pos x="82" y="189"/>
              </a:cxn>
              <a:cxn ang="0">
                <a:pos x="84" y="190"/>
              </a:cxn>
              <a:cxn ang="0">
                <a:pos x="86" y="198"/>
              </a:cxn>
              <a:cxn ang="0">
                <a:pos x="92" y="202"/>
              </a:cxn>
              <a:cxn ang="0">
                <a:pos x="105" y="202"/>
              </a:cxn>
              <a:cxn ang="0">
                <a:pos x="113" y="200"/>
              </a:cxn>
              <a:cxn ang="0">
                <a:pos x="115" y="199"/>
              </a:cxn>
              <a:cxn ang="0">
                <a:pos x="122" y="193"/>
              </a:cxn>
              <a:cxn ang="0">
                <a:pos x="123" y="190"/>
              </a:cxn>
              <a:cxn ang="0">
                <a:pos x="123" y="85"/>
              </a:cxn>
              <a:cxn ang="0">
                <a:pos x="126" y="82"/>
              </a:cxn>
              <a:cxn ang="0">
                <a:pos x="136" y="81"/>
              </a:cxn>
              <a:cxn ang="0">
                <a:pos x="139" y="78"/>
              </a:cxn>
              <a:cxn ang="0">
                <a:pos x="139" y="24"/>
              </a:cxn>
              <a:cxn ang="0">
                <a:pos x="155" y="21"/>
              </a:cxn>
              <a:cxn ang="0">
                <a:pos x="163" y="18"/>
              </a:cxn>
              <a:cxn ang="0">
                <a:pos x="173" y="17"/>
              </a:cxn>
              <a:cxn ang="0">
                <a:pos x="177" y="21"/>
              </a:cxn>
              <a:cxn ang="0">
                <a:pos x="182" y="23"/>
              </a:cxn>
              <a:cxn ang="0">
                <a:pos x="186" y="18"/>
              </a:cxn>
              <a:cxn ang="0">
                <a:pos x="193" y="15"/>
              </a:cxn>
              <a:cxn ang="0">
                <a:pos x="203" y="13"/>
              </a:cxn>
              <a:cxn ang="0">
                <a:pos x="202" y="10"/>
              </a:cxn>
              <a:cxn ang="0">
                <a:pos x="200" y="8"/>
              </a:cxn>
              <a:cxn ang="0">
                <a:pos x="187" y="8"/>
              </a:cxn>
              <a:cxn ang="0">
                <a:pos x="169" y="13"/>
              </a:cxn>
              <a:cxn ang="0">
                <a:pos x="149" y="14"/>
              </a:cxn>
              <a:cxn ang="0">
                <a:pos x="143" y="14"/>
              </a:cxn>
              <a:cxn ang="0">
                <a:pos x="123" y="13"/>
              </a:cxn>
              <a:cxn ang="0">
                <a:pos x="102" y="8"/>
              </a:cxn>
              <a:cxn ang="0">
                <a:pos x="47" y="8"/>
              </a:cxn>
              <a:cxn ang="0">
                <a:pos x="39" y="7"/>
              </a:cxn>
              <a:cxn ang="0">
                <a:pos x="32" y="4"/>
              </a:cxn>
              <a:cxn ang="0">
                <a:pos x="25" y="1"/>
              </a:cxn>
              <a:cxn ang="0">
                <a:pos x="18" y="3"/>
              </a:cxn>
              <a:cxn ang="0">
                <a:pos x="14" y="4"/>
              </a:cxn>
              <a:cxn ang="0">
                <a:pos x="12" y="1"/>
              </a:cxn>
              <a:cxn ang="0">
                <a:pos x="10" y="0"/>
              </a:cxn>
              <a:cxn ang="0">
                <a:pos x="5" y="3"/>
              </a:cxn>
              <a:cxn ang="0">
                <a:pos x="0" y="5"/>
              </a:cxn>
              <a:cxn ang="0">
                <a:pos x="0" y="10"/>
              </a:cxn>
              <a:cxn ang="0">
                <a:pos x="8" y="27"/>
              </a:cxn>
              <a:cxn ang="0">
                <a:pos x="17" y="41"/>
              </a:cxn>
              <a:cxn ang="0">
                <a:pos x="24" y="60"/>
              </a:cxn>
              <a:cxn ang="0">
                <a:pos x="32" y="77"/>
              </a:cxn>
              <a:cxn ang="0">
                <a:pos x="41" y="92"/>
              </a:cxn>
              <a:cxn ang="0">
                <a:pos x="41" y="99"/>
              </a:cxn>
              <a:cxn ang="0">
                <a:pos x="41" y="114"/>
              </a:cxn>
              <a:cxn ang="0">
                <a:pos x="41" y="119"/>
              </a:cxn>
              <a:cxn ang="0">
                <a:pos x="47" y="145"/>
              </a:cxn>
              <a:cxn ang="0">
                <a:pos x="49" y="165"/>
              </a:cxn>
              <a:cxn ang="0">
                <a:pos x="55" y="179"/>
              </a:cxn>
              <a:cxn ang="0">
                <a:pos x="58" y="183"/>
              </a:cxn>
              <a:cxn ang="0">
                <a:pos x="68" y="196"/>
              </a:cxn>
              <a:cxn ang="0">
                <a:pos x="72" y="196"/>
              </a:cxn>
              <a:cxn ang="0">
                <a:pos x="75" y="195"/>
              </a:cxn>
            </a:cxnLst>
            <a:rect l="0" t="0" r="r" b="b"/>
            <a:pathLst>
              <a:path w="203" h="202">
                <a:moveTo>
                  <a:pt x="75" y="195"/>
                </a:moveTo>
                <a:lnTo>
                  <a:pt x="75" y="195"/>
                </a:lnTo>
                <a:lnTo>
                  <a:pt x="76" y="192"/>
                </a:lnTo>
                <a:lnTo>
                  <a:pt x="78" y="189"/>
                </a:lnTo>
                <a:lnTo>
                  <a:pt x="81" y="188"/>
                </a:lnTo>
                <a:lnTo>
                  <a:pt x="82" y="189"/>
                </a:lnTo>
                <a:lnTo>
                  <a:pt x="84" y="190"/>
                </a:lnTo>
                <a:lnTo>
                  <a:pt x="84" y="190"/>
                </a:lnTo>
                <a:lnTo>
                  <a:pt x="85" y="193"/>
                </a:lnTo>
                <a:lnTo>
                  <a:pt x="86" y="198"/>
                </a:lnTo>
                <a:lnTo>
                  <a:pt x="89" y="200"/>
                </a:lnTo>
                <a:lnTo>
                  <a:pt x="92" y="202"/>
                </a:lnTo>
                <a:lnTo>
                  <a:pt x="92" y="202"/>
                </a:lnTo>
                <a:lnTo>
                  <a:pt x="105" y="202"/>
                </a:lnTo>
                <a:lnTo>
                  <a:pt x="109" y="202"/>
                </a:lnTo>
                <a:lnTo>
                  <a:pt x="113" y="200"/>
                </a:lnTo>
                <a:lnTo>
                  <a:pt x="113" y="200"/>
                </a:lnTo>
                <a:lnTo>
                  <a:pt x="115" y="199"/>
                </a:lnTo>
                <a:lnTo>
                  <a:pt x="119" y="196"/>
                </a:lnTo>
                <a:lnTo>
                  <a:pt x="122" y="193"/>
                </a:lnTo>
                <a:lnTo>
                  <a:pt x="123" y="190"/>
                </a:lnTo>
                <a:lnTo>
                  <a:pt x="123" y="190"/>
                </a:lnTo>
                <a:lnTo>
                  <a:pt x="123" y="85"/>
                </a:lnTo>
                <a:lnTo>
                  <a:pt x="123" y="85"/>
                </a:lnTo>
                <a:lnTo>
                  <a:pt x="123" y="84"/>
                </a:lnTo>
                <a:lnTo>
                  <a:pt x="126" y="82"/>
                </a:lnTo>
                <a:lnTo>
                  <a:pt x="132" y="82"/>
                </a:lnTo>
                <a:lnTo>
                  <a:pt x="136" y="81"/>
                </a:lnTo>
                <a:lnTo>
                  <a:pt x="139" y="81"/>
                </a:lnTo>
                <a:lnTo>
                  <a:pt x="139" y="78"/>
                </a:lnTo>
                <a:lnTo>
                  <a:pt x="139" y="78"/>
                </a:lnTo>
                <a:lnTo>
                  <a:pt x="139" y="24"/>
                </a:lnTo>
                <a:lnTo>
                  <a:pt x="139" y="24"/>
                </a:lnTo>
                <a:lnTo>
                  <a:pt x="155" y="21"/>
                </a:lnTo>
                <a:lnTo>
                  <a:pt x="155" y="21"/>
                </a:lnTo>
                <a:lnTo>
                  <a:pt x="163" y="18"/>
                </a:lnTo>
                <a:lnTo>
                  <a:pt x="169" y="17"/>
                </a:lnTo>
                <a:lnTo>
                  <a:pt x="173" y="17"/>
                </a:lnTo>
                <a:lnTo>
                  <a:pt x="173" y="17"/>
                </a:lnTo>
                <a:lnTo>
                  <a:pt x="177" y="21"/>
                </a:lnTo>
                <a:lnTo>
                  <a:pt x="179" y="23"/>
                </a:lnTo>
                <a:lnTo>
                  <a:pt x="182" y="23"/>
                </a:lnTo>
                <a:lnTo>
                  <a:pt x="182" y="23"/>
                </a:lnTo>
                <a:lnTo>
                  <a:pt x="186" y="18"/>
                </a:lnTo>
                <a:lnTo>
                  <a:pt x="189" y="15"/>
                </a:lnTo>
                <a:lnTo>
                  <a:pt x="193" y="15"/>
                </a:lnTo>
                <a:lnTo>
                  <a:pt x="193" y="15"/>
                </a:lnTo>
                <a:lnTo>
                  <a:pt x="203" y="13"/>
                </a:lnTo>
                <a:lnTo>
                  <a:pt x="203" y="13"/>
                </a:lnTo>
                <a:lnTo>
                  <a:pt x="202" y="10"/>
                </a:lnTo>
                <a:lnTo>
                  <a:pt x="202" y="10"/>
                </a:lnTo>
                <a:lnTo>
                  <a:pt x="200" y="8"/>
                </a:lnTo>
                <a:lnTo>
                  <a:pt x="197" y="8"/>
                </a:lnTo>
                <a:lnTo>
                  <a:pt x="187" y="8"/>
                </a:lnTo>
                <a:lnTo>
                  <a:pt x="169" y="13"/>
                </a:lnTo>
                <a:lnTo>
                  <a:pt x="169" y="13"/>
                </a:lnTo>
                <a:lnTo>
                  <a:pt x="156" y="14"/>
                </a:lnTo>
                <a:lnTo>
                  <a:pt x="149" y="14"/>
                </a:lnTo>
                <a:lnTo>
                  <a:pt x="143" y="14"/>
                </a:lnTo>
                <a:lnTo>
                  <a:pt x="143" y="14"/>
                </a:lnTo>
                <a:lnTo>
                  <a:pt x="136" y="13"/>
                </a:lnTo>
                <a:lnTo>
                  <a:pt x="123" y="13"/>
                </a:lnTo>
                <a:lnTo>
                  <a:pt x="108" y="14"/>
                </a:lnTo>
                <a:lnTo>
                  <a:pt x="102" y="8"/>
                </a:lnTo>
                <a:lnTo>
                  <a:pt x="102" y="8"/>
                </a:lnTo>
                <a:lnTo>
                  <a:pt x="47" y="8"/>
                </a:lnTo>
                <a:lnTo>
                  <a:pt x="47" y="8"/>
                </a:lnTo>
                <a:lnTo>
                  <a:pt x="39" y="7"/>
                </a:lnTo>
                <a:lnTo>
                  <a:pt x="32" y="4"/>
                </a:lnTo>
                <a:lnTo>
                  <a:pt x="32" y="4"/>
                </a:lnTo>
                <a:lnTo>
                  <a:pt x="30" y="3"/>
                </a:lnTo>
                <a:lnTo>
                  <a:pt x="25" y="1"/>
                </a:lnTo>
                <a:lnTo>
                  <a:pt x="21" y="1"/>
                </a:lnTo>
                <a:lnTo>
                  <a:pt x="18" y="3"/>
                </a:lnTo>
                <a:lnTo>
                  <a:pt x="18" y="3"/>
                </a:lnTo>
                <a:lnTo>
                  <a:pt x="14" y="4"/>
                </a:lnTo>
                <a:lnTo>
                  <a:pt x="14" y="3"/>
                </a:lnTo>
                <a:lnTo>
                  <a:pt x="12" y="1"/>
                </a:lnTo>
                <a:lnTo>
                  <a:pt x="10" y="0"/>
                </a:lnTo>
                <a:lnTo>
                  <a:pt x="10" y="0"/>
                </a:lnTo>
                <a:lnTo>
                  <a:pt x="8" y="1"/>
                </a:lnTo>
                <a:lnTo>
                  <a:pt x="5" y="3"/>
                </a:lnTo>
                <a:lnTo>
                  <a:pt x="5" y="4"/>
                </a:lnTo>
                <a:lnTo>
                  <a:pt x="0" y="5"/>
                </a:lnTo>
                <a:lnTo>
                  <a:pt x="0" y="5"/>
                </a:lnTo>
                <a:lnTo>
                  <a:pt x="0" y="10"/>
                </a:lnTo>
                <a:lnTo>
                  <a:pt x="2" y="15"/>
                </a:lnTo>
                <a:lnTo>
                  <a:pt x="8" y="27"/>
                </a:lnTo>
                <a:lnTo>
                  <a:pt x="8" y="27"/>
                </a:lnTo>
                <a:lnTo>
                  <a:pt x="17" y="41"/>
                </a:lnTo>
                <a:lnTo>
                  <a:pt x="24" y="60"/>
                </a:lnTo>
                <a:lnTo>
                  <a:pt x="24" y="60"/>
                </a:lnTo>
                <a:lnTo>
                  <a:pt x="28" y="68"/>
                </a:lnTo>
                <a:lnTo>
                  <a:pt x="32" y="77"/>
                </a:lnTo>
                <a:lnTo>
                  <a:pt x="38" y="85"/>
                </a:lnTo>
                <a:lnTo>
                  <a:pt x="41" y="92"/>
                </a:lnTo>
                <a:lnTo>
                  <a:pt x="41" y="92"/>
                </a:lnTo>
                <a:lnTo>
                  <a:pt x="41" y="99"/>
                </a:lnTo>
                <a:lnTo>
                  <a:pt x="41" y="106"/>
                </a:lnTo>
                <a:lnTo>
                  <a:pt x="41" y="114"/>
                </a:lnTo>
                <a:lnTo>
                  <a:pt x="41" y="119"/>
                </a:lnTo>
                <a:lnTo>
                  <a:pt x="41" y="119"/>
                </a:lnTo>
                <a:lnTo>
                  <a:pt x="45" y="131"/>
                </a:lnTo>
                <a:lnTo>
                  <a:pt x="47" y="145"/>
                </a:lnTo>
                <a:lnTo>
                  <a:pt x="47" y="145"/>
                </a:lnTo>
                <a:lnTo>
                  <a:pt x="49" y="165"/>
                </a:lnTo>
                <a:lnTo>
                  <a:pt x="52" y="175"/>
                </a:lnTo>
                <a:lnTo>
                  <a:pt x="55" y="179"/>
                </a:lnTo>
                <a:lnTo>
                  <a:pt x="58" y="183"/>
                </a:lnTo>
                <a:lnTo>
                  <a:pt x="58" y="183"/>
                </a:lnTo>
                <a:lnTo>
                  <a:pt x="64" y="189"/>
                </a:lnTo>
                <a:lnTo>
                  <a:pt x="68" y="196"/>
                </a:lnTo>
                <a:lnTo>
                  <a:pt x="68" y="196"/>
                </a:lnTo>
                <a:lnTo>
                  <a:pt x="72" y="196"/>
                </a:lnTo>
                <a:lnTo>
                  <a:pt x="74" y="196"/>
                </a:lnTo>
                <a:lnTo>
                  <a:pt x="75" y="195"/>
                </a:lnTo>
                <a:lnTo>
                  <a:pt x="75" y="195"/>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4" name="Freeform 191">
            <a:extLst>
              <a:ext uri="{FF2B5EF4-FFF2-40B4-BE49-F238E27FC236}">
                <a16:creationId xmlns:a16="http://schemas.microsoft.com/office/drawing/2014/main" id="{6EE8A812-62C9-EA28-6E52-5F99CB1CDE1B}"/>
              </a:ext>
            </a:extLst>
          </p:cNvPr>
          <p:cNvSpPr>
            <a:spLocks/>
          </p:cNvSpPr>
          <p:nvPr userDrawn="1"/>
        </p:nvSpPr>
        <p:spPr bwMode="gray">
          <a:xfrm>
            <a:off x="4863313" y="3678880"/>
            <a:ext cx="165165" cy="145657"/>
          </a:xfrm>
          <a:custGeom>
            <a:avLst/>
            <a:gdLst/>
            <a:ahLst/>
            <a:cxnLst>
              <a:cxn ang="0">
                <a:pos x="83" y="0"/>
              </a:cxn>
              <a:cxn ang="0">
                <a:pos x="70" y="1"/>
              </a:cxn>
              <a:cxn ang="0">
                <a:pos x="61" y="4"/>
              </a:cxn>
              <a:cxn ang="0">
                <a:pos x="60" y="9"/>
              </a:cxn>
              <a:cxn ang="0">
                <a:pos x="58" y="11"/>
              </a:cxn>
              <a:cxn ang="0">
                <a:pos x="50" y="19"/>
              </a:cxn>
              <a:cxn ang="0">
                <a:pos x="46" y="20"/>
              </a:cxn>
              <a:cxn ang="0">
                <a:pos x="36" y="30"/>
              </a:cxn>
              <a:cxn ang="0">
                <a:pos x="29" y="38"/>
              </a:cxn>
              <a:cxn ang="0">
                <a:pos x="24" y="38"/>
              </a:cxn>
              <a:cxn ang="0">
                <a:pos x="9" y="36"/>
              </a:cxn>
              <a:cxn ang="0">
                <a:pos x="0" y="36"/>
              </a:cxn>
              <a:cxn ang="0">
                <a:pos x="4" y="43"/>
              </a:cxn>
              <a:cxn ang="0">
                <a:pos x="10" y="46"/>
              </a:cxn>
              <a:cxn ang="0">
                <a:pos x="13" y="54"/>
              </a:cxn>
              <a:cxn ang="0">
                <a:pos x="16" y="63"/>
              </a:cxn>
              <a:cxn ang="0">
                <a:pos x="19" y="64"/>
              </a:cxn>
              <a:cxn ang="0">
                <a:pos x="33" y="73"/>
              </a:cxn>
              <a:cxn ang="0">
                <a:pos x="34" y="75"/>
              </a:cxn>
              <a:cxn ang="0">
                <a:pos x="37" y="81"/>
              </a:cxn>
              <a:cxn ang="0">
                <a:pos x="41" y="88"/>
              </a:cxn>
              <a:cxn ang="0">
                <a:pos x="41" y="91"/>
              </a:cxn>
              <a:cxn ang="0">
                <a:pos x="48" y="98"/>
              </a:cxn>
              <a:cxn ang="0">
                <a:pos x="51" y="100"/>
              </a:cxn>
              <a:cxn ang="0">
                <a:pos x="61" y="101"/>
              </a:cxn>
              <a:cxn ang="0">
                <a:pos x="63" y="105"/>
              </a:cxn>
              <a:cxn ang="0">
                <a:pos x="64" y="107"/>
              </a:cxn>
              <a:cxn ang="0">
                <a:pos x="70" y="107"/>
              </a:cxn>
              <a:cxn ang="0">
                <a:pos x="78" y="108"/>
              </a:cxn>
              <a:cxn ang="0">
                <a:pos x="81" y="110"/>
              </a:cxn>
              <a:cxn ang="0">
                <a:pos x="93" y="111"/>
              </a:cxn>
              <a:cxn ang="0">
                <a:pos x="97" y="112"/>
              </a:cxn>
              <a:cxn ang="0">
                <a:pos x="112" y="95"/>
              </a:cxn>
              <a:cxn ang="0">
                <a:pos x="115" y="91"/>
              </a:cxn>
              <a:cxn ang="0">
                <a:pos x="115" y="83"/>
              </a:cxn>
              <a:cxn ang="0">
                <a:pos x="117" y="80"/>
              </a:cxn>
              <a:cxn ang="0">
                <a:pos x="127" y="70"/>
              </a:cxn>
              <a:cxn ang="0">
                <a:pos x="125" y="68"/>
              </a:cxn>
              <a:cxn ang="0">
                <a:pos x="124" y="67"/>
              </a:cxn>
              <a:cxn ang="0">
                <a:pos x="122" y="60"/>
              </a:cxn>
              <a:cxn ang="0">
                <a:pos x="121" y="56"/>
              </a:cxn>
              <a:cxn ang="0">
                <a:pos x="120" y="53"/>
              </a:cxn>
              <a:cxn ang="0">
                <a:pos x="124" y="47"/>
              </a:cxn>
              <a:cxn ang="0">
                <a:pos x="125" y="41"/>
              </a:cxn>
              <a:cxn ang="0">
                <a:pos x="125" y="20"/>
              </a:cxn>
              <a:cxn ang="0">
                <a:pos x="124" y="17"/>
              </a:cxn>
              <a:cxn ang="0">
                <a:pos x="111" y="13"/>
              </a:cxn>
              <a:cxn ang="0">
                <a:pos x="105" y="10"/>
              </a:cxn>
              <a:cxn ang="0">
                <a:pos x="93" y="7"/>
              </a:cxn>
              <a:cxn ang="0">
                <a:pos x="85" y="6"/>
              </a:cxn>
            </a:cxnLst>
            <a:rect l="0" t="0" r="r" b="b"/>
            <a:pathLst>
              <a:path w="127" h="112">
                <a:moveTo>
                  <a:pt x="85" y="6"/>
                </a:moveTo>
                <a:lnTo>
                  <a:pt x="83" y="0"/>
                </a:lnTo>
                <a:lnTo>
                  <a:pt x="70" y="1"/>
                </a:lnTo>
                <a:lnTo>
                  <a:pt x="70" y="1"/>
                </a:lnTo>
                <a:lnTo>
                  <a:pt x="64" y="3"/>
                </a:lnTo>
                <a:lnTo>
                  <a:pt x="61" y="4"/>
                </a:lnTo>
                <a:lnTo>
                  <a:pt x="60" y="7"/>
                </a:lnTo>
                <a:lnTo>
                  <a:pt x="60" y="9"/>
                </a:lnTo>
                <a:lnTo>
                  <a:pt x="60" y="9"/>
                </a:lnTo>
                <a:lnTo>
                  <a:pt x="58" y="11"/>
                </a:lnTo>
                <a:lnTo>
                  <a:pt x="56" y="14"/>
                </a:lnTo>
                <a:lnTo>
                  <a:pt x="50" y="19"/>
                </a:lnTo>
                <a:lnTo>
                  <a:pt x="46" y="20"/>
                </a:lnTo>
                <a:lnTo>
                  <a:pt x="46" y="20"/>
                </a:lnTo>
                <a:lnTo>
                  <a:pt x="41" y="24"/>
                </a:lnTo>
                <a:lnTo>
                  <a:pt x="36" y="30"/>
                </a:lnTo>
                <a:lnTo>
                  <a:pt x="33" y="36"/>
                </a:lnTo>
                <a:lnTo>
                  <a:pt x="29" y="38"/>
                </a:lnTo>
                <a:lnTo>
                  <a:pt x="29" y="38"/>
                </a:lnTo>
                <a:lnTo>
                  <a:pt x="24" y="38"/>
                </a:lnTo>
                <a:lnTo>
                  <a:pt x="19" y="37"/>
                </a:lnTo>
                <a:lnTo>
                  <a:pt x="9" y="36"/>
                </a:lnTo>
                <a:lnTo>
                  <a:pt x="9" y="36"/>
                </a:lnTo>
                <a:lnTo>
                  <a:pt x="0" y="36"/>
                </a:lnTo>
                <a:lnTo>
                  <a:pt x="0" y="36"/>
                </a:lnTo>
                <a:lnTo>
                  <a:pt x="4" y="43"/>
                </a:lnTo>
                <a:lnTo>
                  <a:pt x="10" y="46"/>
                </a:lnTo>
                <a:lnTo>
                  <a:pt x="10" y="46"/>
                </a:lnTo>
                <a:lnTo>
                  <a:pt x="11" y="48"/>
                </a:lnTo>
                <a:lnTo>
                  <a:pt x="13" y="54"/>
                </a:lnTo>
                <a:lnTo>
                  <a:pt x="14" y="61"/>
                </a:lnTo>
                <a:lnTo>
                  <a:pt x="16" y="63"/>
                </a:lnTo>
                <a:lnTo>
                  <a:pt x="19" y="64"/>
                </a:lnTo>
                <a:lnTo>
                  <a:pt x="19" y="64"/>
                </a:lnTo>
                <a:lnTo>
                  <a:pt x="29" y="70"/>
                </a:lnTo>
                <a:lnTo>
                  <a:pt x="33" y="73"/>
                </a:lnTo>
                <a:lnTo>
                  <a:pt x="34" y="75"/>
                </a:lnTo>
                <a:lnTo>
                  <a:pt x="34" y="75"/>
                </a:lnTo>
                <a:lnTo>
                  <a:pt x="36" y="78"/>
                </a:lnTo>
                <a:lnTo>
                  <a:pt x="37" y="81"/>
                </a:lnTo>
                <a:lnTo>
                  <a:pt x="40" y="84"/>
                </a:lnTo>
                <a:lnTo>
                  <a:pt x="41" y="88"/>
                </a:lnTo>
                <a:lnTo>
                  <a:pt x="41" y="88"/>
                </a:lnTo>
                <a:lnTo>
                  <a:pt x="41" y="91"/>
                </a:lnTo>
                <a:lnTo>
                  <a:pt x="44" y="95"/>
                </a:lnTo>
                <a:lnTo>
                  <a:pt x="48" y="98"/>
                </a:lnTo>
                <a:lnTo>
                  <a:pt x="51" y="100"/>
                </a:lnTo>
                <a:lnTo>
                  <a:pt x="51" y="100"/>
                </a:lnTo>
                <a:lnTo>
                  <a:pt x="58" y="100"/>
                </a:lnTo>
                <a:lnTo>
                  <a:pt x="61" y="101"/>
                </a:lnTo>
                <a:lnTo>
                  <a:pt x="63" y="104"/>
                </a:lnTo>
                <a:lnTo>
                  <a:pt x="63" y="105"/>
                </a:lnTo>
                <a:lnTo>
                  <a:pt x="63" y="105"/>
                </a:lnTo>
                <a:lnTo>
                  <a:pt x="64" y="107"/>
                </a:lnTo>
                <a:lnTo>
                  <a:pt x="65" y="107"/>
                </a:lnTo>
                <a:lnTo>
                  <a:pt x="70" y="107"/>
                </a:lnTo>
                <a:lnTo>
                  <a:pt x="75" y="108"/>
                </a:lnTo>
                <a:lnTo>
                  <a:pt x="78" y="108"/>
                </a:lnTo>
                <a:lnTo>
                  <a:pt x="78" y="108"/>
                </a:lnTo>
                <a:lnTo>
                  <a:pt x="81" y="110"/>
                </a:lnTo>
                <a:lnTo>
                  <a:pt x="87" y="111"/>
                </a:lnTo>
                <a:lnTo>
                  <a:pt x="93" y="111"/>
                </a:lnTo>
                <a:lnTo>
                  <a:pt x="97" y="112"/>
                </a:lnTo>
                <a:lnTo>
                  <a:pt x="97" y="112"/>
                </a:lnTo>
                <a:lnTo>
                  <a:pt x="105" y="104"/>
                </a:lnTo>
                <a:lnTo>
                  <a:pt x="112" y="95"/>
                </a:lnTo>
                <a:lnTo>
                  <a:pt x="112" y="95"/>
                </a:lnTo>
                <a:lnTo>
                  <a:pt x="115" y="91"/>
                </a:lnTo>
                <a:lnTo>
                  <a:pt x="115" y="87"/>
                </a:lnTo>
                <a:lnTo>
                  <a:pt x="115" y="83"/>
                </a:lnTo>
                <a:lnTo>
                  <a:pt x="117" y="80"/>
                </a:lnTo>
                <a:lnTo>
                  <a:pt x="117" y="80"/>
                </a:lnTo>
                <a:lnTo>
                  <a:pt x="124" y="74"/>
                </a:lnTo>
                <a:lnTo>
                  <a:pt x="127" y="70"/>
                </a:lnTo>
                <a:lnTo>
                  <a:pt x="127" y="68"/>
                </a:lnTo>
                <a:lnTo>
                  <a:pt x="125" y="68"/>
                </a:lnTo>
                <a:lnTo>
                  <a:pt x="125" y="68"/>
                </a:lnTo>
                <a:lnTo>
                  <a:pt x="124" y="67"/>
                </a:lnTo>
                <a:lnTo>
                  <a:pt x="124" y="64"/>
                </a:lnTo>
                <a:lnTo>
                  <a:pt x="122" y="60"/>
                </a:lnTo>
                <a:lnTo>
                  <a:pt x="121" y="56"/>
                </a:lnTo>
                <a:lnTo>
                  <a:pt x="121" y="56"/>
                </a:lnTo>
                <a:lnTo>
                  <a:pt x="120" y="54"/>
                </a:lnTo>
                <a:lnTo>
                  <a:pt x="120" y="53"/>
                </a:lnTo>
                <a:lnTo>
                  <a:pt x="121" y="50"/>
                </a:lnTo>
                <a:lnTo>
                  <a:pt x="124" y="47"/>
                </a:lnTo>
                <a:lnTo>
                  <a:pt x="125" y="41"/>
                </a:lnTo>
                <a:lnTo>
                  <a:pt x="125" y="41"/>
                </a:lnTo>
                <a:lnTo>
                  <a:pt x="125" y="27"/>
                </a:lnTo>
                <a:lnTo>
                  <a:pt x="125" y="20"/>
                </a:lnTo>
                <a:lnTo>
                  <a:pt x="124" y="17"/>
                </a:lnTo>
                <a:lnTo>
                  <a:pt x="124" y="17"/>
                </a:lnTo>
                <a:lnTo>
                  <a:pt x="117" y="14"/>
                </a:lnTo>
                <a:lnTo>
                  <a:pt x="111" y="13"/>
                </a:lnTo>
                <a:lnTo>
                  <a:pt x="105" y="10"/>
                </a:lnTo>
                <a:lnTo>
                  <a:pt x="105" y="10"/>
                </a:lnTo>
                <a:lnTo>
                  <a:pt x="100" y="9"/>
                </a:lnTo>
                <a:lnTo>
                  <a:pt x="93" y="7"/>
                </a:lnTo>
                <a:lnTo>
                  <a:pt x="85" y="6"/>
                </a:lnTo>
                <a:lnTo>
                  <a:pt x="85" y="6"/>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5" name="Freeform 192">
            <a:extLst>
              <a:ext uri="{FF2B5EF4-FFF2-40B4-BE49-F238E27FC236}">
                <a16:creationId xmlns:a16="http://schemas.microsoft.com/office/drawing/2014/main" id="{1429EA6B-A0E1-E00A-722D-16F0898A61BC}"/>
              </a:ext>
            </a:extLst>
          </p:cNvPr>
          <p:cNvSpPr>
            <a:spLocks/>
          </p:cNvSpPr>
          <p:nvPr userDrawn="1"/>
        </p:nvSpPr>
        <p:spPr bwMode="gray">
          <a:xfrm>
            <a:off x="4759273" y="3725698"/>
            <a:ext cx="185973" cy="198979"/>
          </a:xfrm>
          <a:custGeom>
            <a:avLst/>
            <a:gdLst/>
            <a:ahLst/>
            <a:cxnLst>
              <a:cxn ang="0">
                <a:pos x="131" y="64"/>
              </a:cxn>
              <a:cxn ang="0">
                <a:pos x="124" y="59"/>
              </a:cxn>
              <a:cxn ang="0">
                <a:pos x="121" y="52"/>
              </a:cxn>
              <a:cxn ang="0">
                <a:pos x="120" y="48"/>
              </a:cxn>
              <a:cxn ang="0">
                <a:pos x="116" y="42"/>
              </a:cxn>
              <a:cxn ang="0">
                <a:pos x="114" y="39"/>
              </a:cxn>
              <a:cxn ang="0">
                <a:pos x="109" y="34"/>
              </a:cxn>
              <a:cxn ang="0">
                <a:pos x="99" y="28"/>
              </a:cxn>
              <a:cxn ang="0">
                <a:pos x="94" y="25"/>
              </a:cxn>
              <a:cxn ang="0">
                <a:pos x="91" y="12"/>
              </a:cxn>
              <a:cxn ang="0">
                <a:pos x="90" y="10"/>
              </a:cxn>
              <a:cxn ang="0">
                <a:pos x="80" y="0"/>
              </a:cxn>
              <a:cxn ang="0">
                <a:pos x="70" y="2"/>
              </a:cxn>
              <a:cxn ang="0">
                <a:pos x="66" y="2"/>
              </a:cxn>
              <a:cxn ang="0">
                <a:pos x="59" y="10"/>
              </a:cxn>
              <a:cxn ang="0">
                <a:pos x="56" y="10"/>
              </a:cxn>
              <a:cxn ang="0">
                <a:pos x="50" y="4"/>
              </a:cxn>
              <a:cxn ang="0">
                <a:pos x="46" y="4"/>
              </a:cxn>
              <a:cxn ang="0">
                <a:pos x="32" y="8"/>
              </a:cxn>
              <a:cxn ang="0">
                <a:pos x="16" y="11"/>
              </a:cxn>
              <a:cxn ang="0">
                <a:pos x="16" y="65"/>
              </a:cxn>
              <a:cxn ang="0">
                <a:pos x="16" y="68"/>
              </a:cxn>
              <a:cxn ang="0">
                <a:pos x="9" y="69"/>
              </a:cxn>
              <a:cxn ang="0">
                <a:pos x="0" y="71"/>
              </a:cxn>
              <a:cxn ang="0">
                <a:pos x="0" y="72"/>
              </a:cxn>
              <a:cxn ang="0">
                <a:pos x="0" y="119"/>
              </a:cxn>
              <a:cxn ang="0">
                <a:pos x="8" y="123"/>
              </a:cxn>
              <a:cxn ang="0">
                <a:pos x="12" y="133"/>
              </a:cxn>
              <a:cxn ang="0">
                <a:pos x="13" y="142"/>
              </a:cxn>
              <a:cxn ang="0">
                <a:pos x="12" y="143"/>
              </a:cxn>
              <a:cxn ang="0">
                <a:pos x="10" y="145"/>
              </a:cxn>
              <a:cxn ang="0">
                <a:pos x="10" y="146"/>
              </a:cxn>
              <a:cxn ang="0">
                <a:pos x="10" y="152"/>
              </a:cxn>
              <a:cxn ang="0">
                <a:pos x="13" y="153"/>
              </a:cxn>
              <a:cxn ang="0">
                <a:pos x="26" y="153"/>
              </a:cxn>
              <a:cxn ang="0">
                <a:pos x="29" y="152"/>
              </a:cxn>
              <a:cxn ang="0">
                <a:pos x="42" y="139"/>
              </a:cxn>
              <a:cxn ang="0">
                <a:pos x="43" y="135"/>
              </a:cxn>
              <a:cxn ang="0">
                <a:pos x="46" y="128"/>
              </a:cxn>
              <a:cxn ang="0">
                <a:pos x="49" y="125"/>
              </a:cxn>
              <a:cxn ang="0">
                <a:pos x="54" y="126"/>
              </a:cxn>
              <a:cxn ang="0">
                <a:pos x="63" y="132"/>
              </a:cxn>
              <a:cxn ang="0">
                <a:pos x="73" y="133"/>
              </a:cxn>
              <a:cxn ang="0">
                <a:pos x="80" y="132"/>
              </a:cxn>
              <a:cxn ang="0">
                <a:pos x="87" y="129"/>
              </a:cxn>
              <a:cxn ang="0">
                <a:pos x="89" y="126"/>
              </a:cxn>
              <a:cxn ang="0">
                <a:pos x="91" y="115"/>
              </a:cxn>
              <a:cxn ang="0">
                <a:pos x="94" y="113"/>
              </a:cxn>
              <a:cxn ang="0">
                <a:pos x="104" y="111"/>
              </a:cxn>
              <a:cxn ang="0">
                <a:pos x="109" y="103"/>
              </a:cxn>
              <a:cxn ang="0">
                <a:pos x="109" y="101"/>
              </a:cxn>
              <a:cxn ang="0">
                <a:pos x="113" y="93"/>
              </a:cxn>
              <a:cxn ang="0">
                <a:pos x="116" y="93"/>
              </a:cxn>
              <a:cxn ang="0">
                <a:pos x="123" y="91"/>
              </a:cxn>
              <a:cxn ang="0">
                <a:pos x="128" y="84"/>
              </a:cxn>
              <a:cxn ang="0">
                <a:pos x="130" y="81"/>
              </a:cxn>
              <a:cxn ang="0">
                <a:pos x="136" y="79"/>
              </a:cxn>
              <a:cxn ang="0">
                <a:pos x="138" y="78"/>
              </a:cxn>
              <a:cxn ang="0">
                <a:pos x="143" y="69"/>
              </a:cxn>
              <a:cxn ang="0">
                <a:pos x="143" y="69"/>
              </a:cxn>
              <a:cxn ang="0">
                <a:pos x="141" y="65"/>
              </a:cxn>
              <a:cxn ang="0">
                <a:pos x="131" y="64"/>
              </a:cxn>
            </a:cxnLst>
            <a:rect l="0" t="0" r="r" b="b"/>
            <a:pathLst>
              <a:path w="143" h="153">
                <a:moveTo>
                  <a:pt x="131" y="64"/>
                </a:moveTo>
                <a:lnTo>
                  <a:pt x="131" y="64"/>
                </a:lnTo>
                <a:lnTo>
                  <a:pt x="128" y="62"/>
                </a:lnTo>
                <a:lnTo>
                  <a:pt x="124" y="59"/>
                </a:lnTo>
                <a:lnTo>
                  <a:pt x="121" y="55"/>
                </a:lnTo>
                <a:lnTo>
                  <a:pt x="121" y="52"/>
                </a:lnTo>
                <a:lnTo>
                  <a:pt x="121" y="52"/>
                </a:lnTo>
                <a:lnTo>
                  <a:pt x="120" y="48"/>
                </a:lnTo>
                <a:lnTo>
                  <a:pt x="117" y="45"/>
                </a:lnTo>
                <a:lnTo>
                  <a:pt x="116" y="42"/>
                </a:lnTo>
                <a:lnTo>
                  <a:pt x="114" y="39"/>
                </a:lnTo>
                <a:lnTo>
                  <a:pt x="114" y="39"/>
                </a:lnTo>
                <a:lnTo>
                  <a:pt x="113" y="37"/>
                </a:lnTo>
                <a:lnTo>
                  <a:pt x="109" y="34"/>
                </a:lnTo>
                <a:lnTo>
                  <a:pt x="99" y="28"/>
                </a:lnTo>
                <a:lnTo>
                  <a:pt x="99" y="28"/>
                </a:lnTo>
                <a:lnTo>
                  <a:pt x="96" y="27"/>
                </a:lnTo>
                <a:lnTo>
                  <a:pt x="94" y="25"/>
                </a:lnTo>
                <a:lnTo>
                  <a:pt x="93" y="18"/>
                </a:lnTo>
                <a:lnTo>
                  <a:pt x="91" y="12"/>
                </a:lnTo>
                <a:lnTo>
                  <a:pt x="90" y="10"/>
                </a:lnTo>
                <a:lnTo>
                  <a:pt x="90" y="10"/>
                </a:lnTo>
                <a:lnTo>
                  <a:pt x="84" y="7"/>
                </a:lnTo>
                <a:lnTo>
                  <a:pt x="80" y="0"/>
                </a:lnTo>
                <a:lnTo>
                  <a:pt x="80" y="0"/>
                </a:lnTo>
                <a:lnTo>
                  <a:pt x="70" y="2"/>
                </a:lnTo>
                <a:lnTo>
                  <a:pt x="70" y="2"/>
                </a:lnTo>
                <a:lnTo>
                  <a:pt x="66" y="2"/>
                </a:lnTo>
                <a:lnTo>
                  <a:pt x="63" y="5"/>
                </a:lnTo>
                <a:lnTo>
                  <a:pt x="59" y="10"/>
                </a:lnTo>
                <a:lnTo>
                  <a:pt x="59" y="10"/>
                </a:lnTo>
                <a:lnTo>
                  <a:pt x="56" y="10"/>
                </a:lnTo>
                <a:lnTo>
                  <a:pt x="54" y="8"/>
                </a:lnTo>
                <a:lnTo>
                  <a:pt x="50" y="4"/>
                </a:lnTo>
                <a:lnTo>
                  <a:pt x="50" y="4"/>
                </a:lnTo>
                <a:lnTo>
                  <a:pt x="46" y="4"/>
                </a:lnTo>
                <a:lnTo>
                  <a:pt x="40" y="5"/>
                </a:lnTo>
                <a:lnTo>
                  <a:pt x="32" y="8"/>
                </a:lnTo>
                <a:lnTo>
                  <a:pt x="32" y="8"/>
                </a:lnTo>
                <a:lnTo>
                  <a:pt x="16" y="11"/>
                </a:lnTo>
                <a:lnTo>
                  <a:pt x="16" y="11"/>
                </a:lnTo>
                <a:lnTo>
                  <a:pt x="16" y="65"/>
                </a:lnTo>
                <a:lnTo>
                  <a:pt x="16" y="65"/>
                </a:lnTo>
                <a:lnTo>
                  <a:pt x="16" y="68"/>
                </a:lnTo>
                <a:lnTo>
                  <a:pt x="13" y="68"/>
                </a:lnTo>
                <a:lnTo>
                  <a:pt x="9" y="69"/>
                </a:lnTo>
                <a:lnTo>
                  <a:pt x="3" y="69"/>
                </a:lnTo>
                <a:lnTo>
                  <a:pt x="0" y="71"/>
                </a:lnTo>
                <a:lnTo>
                  <a:pt x="0" y="72"/>
                </a:lnTo>
                <a:lnTo>
                  <a:pt x="0" y="72"/>
                </a:lnTo>
                <a:lnTo>
                  <a:pt x="0" y="119"/>
                </a:lnTo>
                <a:lnTo>
                  <a:pt x="0" y="119"/>
                </a:lnTo>
                <a:lnTo>
                  <a:pt x="5" y="121"/>
                </a:lnTo>
                <a:lnTo>
                  <a:pt x="8" y="123"/>
                </a:lnTo>
                <a:lnTo>
                  <a:pt x="8" y="123"/>
                </a:lnTo>
                <a:lnTo>
                  <a:pt x="12" y="133"/>
                </a:lnTo>
                <a:lnTo>
                  <a:pt x="13" y="139"/>
                </a:lnTo>
                <a:lnTo>
                  <a:pt x="13" y="142"/>
                </a:lnTo>
                <a:lnTo>
                  <a:pt x="13" y="142"/>
                </a:lnTo>
                <a:lnTo>
                  <a:pt x="12" y="143"/>
                </a:lnTo>
                <a:lnTo>
                  <a:pt x="10" y="143"/>
                </a:lnTo>
                <a:lnTo>
                  <a:pt x="10" y="145"/>
                </a:lnTo>
                <a:lnTo>
                  <a:pt x="10" y="146"/>
                </a:lnTo>
                <a:lnTo>
                  <a:pt x="10" y="146"/>
                </a:lnTo>
                <a:lnTo>
                  <a:pt x="9" y="150"/>
                </a:lnTo>
                <a:lnTo>
                  <a:pt x="10" y="152"/>
                </a:lnTo>
                <a:lnTo>
                  <a:pt x="13" y="153"/>
                </a:lnTo>
                <a:lnTo>
                  <a:pt x="13" y="153"/>
                </a:lnTo>
                <a:lnTo>
                  <a:pt x="22" y="153"/>
                </a:lnTo>
                <a:lnTo>
                  <a:pt x="26" y="153"/>
                </a:lnTo>
                <a:lnTo>
                  <a:pt x="29" y="152"/>
                </a:lnTo>
                <a:lnTo>
                  <a:pt x="29" y="152"/>
                </a:lnTo>
                <a:lnTo>
                  <a:pt x="37" y="143"/>
                </a:lnTo>
                <a:lnTo>
                  <a:pt x="42" y="139"/>
                </a:lnTo>
                <a:lnTo>
                  <a:pt x="43" y="135"/>
                </a:lnTo>
                <a:lnTo>
                  <a:pt x="43" y="135"/>
                </a:lnTo>
                <a:lnTo>
                  <a:pt x="44" y="132"/>
                </a:lnTo>
                <a:lnTo>
                  <a:pt x="46" y="128"/>
                </a:lnTo>
                <a:lnTo>
                  <a:pt x="47" y="126"/>
                </a:lnTo>
                <a:lnTo>
                  <a:pt x="49" y="125"/>
                </a:lnTo>
                <a:lnTo>
                  <a:pt x="52" y="125"/>
                </a:lnTo>
                <a:lnTo>
                  <a:pt x="54" y="126"/>
                </a:lnTo>
                <a:lnTo>
                  <a:pt x="54" y="126"/>
                </a:lnTo>
                <a:lnTo>
                  <a:pt x="63" y="132"/>
                </a:lnTo>
                <a:lnTo>
                  <a:pt x="67" y="132"/>
                </a:lnTo>
                <a:lnTo>
                  <a:pt x="73" y="133"/>
                </a:lnTo>
                <a:lnTo>
                  <a:pt x="73" y="133"/>
                </a:lnTo>
                <a:lnTo>
                  <a:pt x="80" y="132"/>
                </a:lnTo>
                <a:lnTo>
                  <a:pt x="84" y="132"/>
                </a:lnTo>
                <a:lnTo>
                  <a:pt x="87" y="129"/>
                </a:lnTo>
                <a:lnTo>
                  <a:pt x="89" y="126"/>
                </a:lnTo>
                <a:lnTo>
                  <a:pt x="89" y="126"/>
                </a:lnTo>
                <a:lnTo>
                  <a:pt x="90" y="118"/>
                </a:lnTo>
                <a:lnTo>
                  <a:pt x="91" y="115"/>
                </a:lnTo>
                <a:lnTo>
                  <a:pt x="94" y="113"/>
                </a:lnTo>
                <a:lnTo>
                  <a:pt x="94" y="113"/>
                </a:lnTo>
                <a:lnTo>
                  <a:pt x="100" y="113"/>
                </a:lnTo>
                <a:lnTo>
                  <a:pt x="104" y="111"/>
                </a:lnTo>
                <a:lnTo>
                  <a:pt x="107" y="108"/>
                </a:lnTo>
                <a:lnTo>
                  <a:pt x="109" y="103"/>
                </a:lnTo>
                <a:lnTo>
                  <a:pt x="109" y="103"/>
                </a:lnTo>
                <a:lnTo>
                  <a:pt x="109" y="101"/>
                </a:lnTo>
                <a:lnTo>
                  <a:pt x="110" y="96"/>
                </a:lnTo>
                <a:lnTo>
                  <a:pt x="113" y="93"/>
                </a:lnTo>
                <a:lnTo>
                  <a:pt x="116" y="93"/>
                </a:lnTo>
                <a:lnTo>
                  <a:pt x="116" y="93"/>
                </a:lnTo>
                <a:lnTo>
                  <a:pt x="118" y="92"/>
                </a:lnTo>
                <a:lnTo>
                  <a:pt x="123" y="91"/>
                </a:lnTo>
                <a:lnTo>
                  <a:pt x="126" y="86"/>
                </a:lnTo>
                <a:lnTo>
                  <a:pt x="128" y="84"/>
                </a:lnTo>
                <a:lnTo>
                  <a:pt x="128" y="84"/>
                </a:lnTo>
                <a:lnTo>
                  <a:pt x="130" y="81"/>
                </a:lnTo>
                <a:lnTo>
                  <a:pt x="133" y="79"/>
                </a:lnTo>
                <a:lnTo>
                  <a:pt x="136" y="79"/>
                </a:lnTo>
                <a:lnTo>
                  <a:pt x="138" y="78"/>
                </a:lnTo>
                <a:lnTo>
                  <a:pt x="138" y="78"/>
                </a:lnTo>
                <a:lnTo>
                  <a:pt x="143" y="69"/>
                </a:lnTo>
                <a:lnTo>
                  <a:pt x="143" y="69"/>
                </a:lnTo>
                <a:lnTo>
                  <a:pt x="143" y="69"/>
                </a:lnTo>
                <a:lnTo>
                  <a:pt x="143" y="69"/>
                </a:lnTo>
                <a:lnTo>
                  <a:pt x="143" y="68"/>
                </a:lnTo>
                <a:lnTo>
                  <a:pt x="141" y="65"/>
                </a:lnTo>
                <a:lnTo>
                  <a:pt x="138" y="64"/>
                </a:lnTo>
                <a:lnTo>
                  <a:pt x="131" y="64"/>
                </a:lnTo>
                <a:lnTo>
                  <a:pt x="131" y="6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6" name="Freeform 193">
            <a:extLst>
              <a:ext uri="{FF2B5EF4-FFF2-40B4-BE49-F238E27FC236}">
                <a16:creationId xmlns:a16="http://schemas.microsoft.com/office/drawing/2014/main" id="{7A79D843-971C-832D-F7A1-69720C277BED}"/>
              </a:ext>
            </a:extLst>
          </p:cNvPr>
          <p:cNvSpPr>
            <a:spLocks/>
          </p:cNvSpPr>
          <p:nvPr userDrawn="1"/>
        </p:nvSpPr>
        <p:spPr bwMode="gray">
          <a:xfrm>
            <a:off x="4977758" y="3898666"/>
            <a:ext cx="28611" cy="35114"/>
          </a:xfrm>
          <a:custGeom>
            <a:avLst/>
            <a:gdLst/>
            <a:ahLst/>
            <a:cxnLst>
              <a:cxn ang="0">
                <a:pos x="12" y="0"/>
              </a:cxn>
              <a:cxn ang="0">
                <a:pos x="12" y="0"/>
              </a:cxn>
              <a:cxn ang="0">
                <a:pos x="9" y="3"/>
              </a:cxn>
              <a:cxn ang="0">
                <a:pos x="5" y="6"/>
              </a:cxn>
              <a:cxn ang="0">
                <a:pos x="0" y="13"/>
              </a:cxn>
              <a:cxn ang="0">
                <a:pos x="0" y="13"/>
              </a:cxn>
              <a:cxn ang="0">
                <a:pos x="3" y="20"/>
              </a:cxn>
              <a:cxn ang="0">
                <a:pos x="7" y="26"/>
              </a:cxn>
              <a:cxn ang="0">
                <a:pos x="10" y="27"/>
              </a:cxn>
              <a:cxn ang="0">
                <a:pos x="10" y="27"/>
              </a:cxn>
              <a:cxn ang="0">
                <a:pos x="17" y="27"/>
              </a:cxn>
              <a:cxn ang="0">
                <a:pos x="19" y="26"/>
              </a:cxn>
              <a:cxn ang="0">
                <a:pos x="20" y="23"/>
              </a:cxn>
              <a:cxn ang="0">
                <a:pos x="20" y="23"/>
              </a:cxn>
              <a:cxn ang="0">
                <a:pos x="20" y="22"/>
              </a:cxn>
              <a:cxn ang="0">
                <a:pos x="22" y="19"/>
              </a:cxn>
              <a:cxn ang="0">
                <a:pos x="22" y="19"/>
              </a:cxn>
              <a:cxn ang="0">
                <a:pos x="20" y="6"/>
              </a:cxn>
              <a:cxn ang="0">
                <a:pos x="20" y="6"/>
              </a:cxn>
              <a:cxn ang="0">
                <a:pos x="16" y="3"/>
              </a:cxn>
              <a:cxn ang="0">
                <a:pos x="12" y="0"/>
              </a:cxn>
              <a:cxn ang="0">
                <a:pos x="12" y="0"/>
              </a:cxn>
            </a:cxnLst>
            <a:rect l="0" t="0" r="r" b="b"/>
            <a:pathLst>
              <a:path w="22" h="27">
                <a:moveTo>
                  <a:pt x="12" y="0"/>
                </a:moveTo>
                <a:lnTo>
                  <a:pt x="12" y="0"/>
                </a:lnTo>
                <a:lnTo>
                  <a:pt x="9" y="3"/>
                </a:lnTo>
                <a:lnTo>
                  <a:pt x="5" y="6"/>
                </a:lnTo>
                <a:lnTo>
                  <a:pt x="0" y="13"/>
                </a:lnTo>
                <a:lnTo>
                  <a:pt x="0" y="13"/>
                </a:lnTo>
                <a:lnTo>
                  <a:pt x="3" y="20"/>
                </a:lnTo>
                <a:lnTo>
                  <a:pt x="7" y="26"/>
                </a:lnTo>
                <a:lnTo>
                  <a:pt x="10" y="27"/>
                </a:lnTo>
                <a:lnTo>
                  <a:pt x="10" y="27"/>
                </a:lnTo>
                <a:lnTo>
                  <a:pt x="17" y="27"/>
                </a:lnTo>
                <a:lnTo>
                  <a:pt x="19" y="26"/>
                </a:lnTo>
                <a:lnTo>
                  <a:pt x="20" y="23"/>
                </a:lnTo>
                <a:lnTo>
                  <a:pt x="20" y="23"/>
                </a:lnTo>
                <a:lnTo>
                  <a:pt x="20" y="22"/>
                </a:lnTo>
                <a:lnTo>
                  <a:pt x="22" y="19"/>
                </a:lnTo>
                <a:lnTo>
                  <a:pt x="22" y="19"/>
                </a:lnTo>
                <a:lnTo>
                  <a:pt x="20" y="6"/>
                </a:lnTo>
                <a:lnTo>
                  <a:pt x="20" y="6"/>
                </a:lnTo>
                <a:lnTo>
                  <a:pt x="16" y="3"/>
                </a:lnTo>
                <a:lnTo>
                  <a:pt x="12" y="0"/>
                </a:lnTo>
                <a:lnTo>
                  <a:pt x="12" y="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7" name="Freeform 194">
            <a:extLst>
              <a:ext uri="{FF2B5EF4-FFF2-40B4-BE49-F238E27FC236}">
                <a16:creationId xmlns:a16="http://schemas.microsoft.com/office/drawing/2014/main" id="{F4A72250-3A23-DABE-9F73-CD69115583E2}"/>
              </a:ext>
            </a:extLst>
          </p:cNvPr>
          <p:cNvSpPr>
            <a:spLocks/>
          </p:cNvSpPr>
          <p:nvPr userDrawn="1"/>
        </p:nvSpPr>
        <p:spPr bwMode="gray">
          <a:xfrm>
            <a:off x="4903629" y="3962390"/>
            <a:ext cx="46819" cy="48119"/>
          </a:xfrm>
          <a:custGeom>
            <a:avLst/>
            <a:gdLst/>
            <a:ahLst/>
            <a:cxnLst>
              <a:cxn ang="0">
                <a:pos x="26" y="1"/>
              </a:cxn>
              <a:cxn ang="0">
                <a:pos x="26" y="1"/>
              </a:cxn>
              <a:cxn ang="0">
                <a:pos x="25" y="1"/>
              </a:cxn>
              <a:cxn ang="0">
                <a:pos x="22" y="0"/>
              </a:cxn>
              <a:cxn ang="0">
                <a:pos x="17" y="3"/>
              </a:cxn>
              <a:cxn ang="0">
                <a:pos x="12" y="5"/>
              </a:cxn>
              <a:cxn ang="0">
                <a:pos x="9" y="8"/>
              </a:cxn>
              <a:cxn ang="0">
                <a:pos x="9" y="8"/>
              </a:cxn>
              <a:cxn ang="0">
                <a:pos x="0" y="22"/>
              </a:cxn>
              <a:cxn ang="0">
                <a:pos x="9" y="35"/>
              </a:cxn>
              <a:cxn ang="0">
                <a:pos x="16" y="37"/>
              </a:cxn>
              <a:cxn ang="0">
                <a:pos x="16" y="37"/>
              </a:cxn>
              <a:cxn ang="0">
                <a:pos x="20" y="28"/>
              </a:cxn>
              <a:cxn ang="0">
                <a:pos x="20" y="28"/>
              </a:cxn>
              <a:cxn ang="0">
                <a:pos x="22" y="27"/>
              </a:cxn>
              <a:cxn ang="0">
                <a:pos x="26" y="27"/>
              </a:cxn>
              <a:cxn ang="0">
                <a:pos x="29" y="27"/>
              </a:cxn>
              <a:cxn ang="0">
                <a:pos x="30" y="27"/>
              </a:cxn>
              <a:cxn ang="0">
                <a:pos x="30" y="25"/>
              </a:cxn>
              <a:cxn ang="0">
                <a:pos x="30" y="25"/>
              </a:cxn>
              <a:cxn ang="0">
                <a:pos x="30" y="22"/>
              </a:cxn>
              <a:cxn ang="0">
                <a:pos x="33" y="20"/>
              </a:cxn>
              <a:cxn ang="0">
                <a:pos x="34" y="17"/>
              </a:cxn>
              <a:cxn ang="0">
                <a:pos x="36" y="14"/>
              </a:cxn>
              <a:cxn ang="0">
                <a:pos x="36" y="14"/>
              </a:cxn>
              <a:cxn ang="0">
                <a:pos x="34" y="11"/>
              </a:cxn>
              <a:cxn ang="0">
                <a:pos x="32" y="8"/>
              </a:cxn>
              <a:cxn ang="0">
                <a:pos x="27" y="4"/>
              </a:cxn>
              <a:cxn ang="0">
                <a:pos x="26" y="1"/>
              </a:cxn>
              <a:cxn ang="0">
                <a:pos x="26" y="1"/>
              </a:cxn>
            </a:cxnLst>
            <a:rect l="0" t="0" r="r" b="b"/>
            <a:pathLst>
              <a:path w="36" h="37">
                <a:moveTo>
                  <a:pt x="26" y="1"/>
                </a:moveTo>
                <a:lnTo>
                  <a:pt x="26" y="1"/>
                </a:lnTo>
                <a:lnTo>
                  <a:pt x="25" y="1"/>
                </a:lnTo>
                <a:lnTo>
                  <a:pt x="22" y="0"/>
                </a:lnTo>
                <a:lnTo>
                  <a:pt x="17" y="3"/>
                </a:lnTo>
                <a:lnTo>
                  <a:pt x="12" y="5"/>
                </a:lnTo>
                <a:lnTo>
                  <a:pt x="9" y="8"/>
                </a:lnTo>
                <a:lnTo>
                  <a:pt x="9" y="8"/>
                </a:lnTo>
                <a:lnTo>
                  <a:pt x="0" y="22"/>
                </a:lnTo>
                <a:lnTo>
                  <a:pt x="9" y="35"/>
                </a:lnTo>
                <a:lnTo>
                  <a:pt x="16" y="37"/>
                </a:lnTo>
                <a:lnTo>
                  <a:pt x="16" y="37"/>
                </a:lnTo>
                <a:lnTo>
                  <a:pt x="20" y="28"/>
                </a:lnTo>
                <a:lnTo>
                  <a:pt x="20" y="28"/>
                </a:lnTo>
                <a:lnTo>
                  <a:pt x="22" y="27"/>
                </a:lnTo>
                <a:lnTo>
                  <a:pt x="26" y="27"/>
                </a:lnTo>
                <a:lnTo>
                  <a:pt x="29" y="27"/>
                </a:lnTo>
                <a:lnTo>
                  <a:pt x="30" y="27"/>
                </a:lnTo>
                <a:lnTo>
                  <a:pt x="30" y="25"/>
                </a:lnTo>
                <a:lnTo>
                  <a:pt x="30" y="25"/>
                </a:lnTo>
                <a:lnTo>
                  <a:pt x="30" y="22"/>
                </a:lnTo>
                <a:lnTo>
                  <a:pt x="33" y="20"/>
                </a:lnTo>
                <a:lnTo>
                  <a:pt x="34" y="17"/>
                </a:lnTo>
                <a:lnTo>
                  <a:pt x="36" y="14"/>
                </a:lnTo>
                <a:lnTo>
                  <a:pt x="36" y="14"/>
                </a:lnTo>
                <a:lnTo>
                  <a:pt x="34" y="11"/>
                </a:lnTo>
                <a:lnTo>
                  <a:pt x="32" y="8"/>
                </a:lnTo>
                <a:lnTo>
                  <a:pt x="27" y="4"/>
                </a:lnTo>
                <a:lnTo>
                  <a:pt x="26" y="1"/>
                </a:lnTo>
                <a:lnTo>
                  <a:pt x="26" y="1"/>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8" name="Freeform 195">
            <a:extLst>
              <a:ext uri="{FF2B5EF4-FFF2-40B4-BE49-F238E27FC236}">
                <a16:creationId xmlns:a16="http://schemas.microsoft.com/office/drawing/2014/main" id="{6280F699-65A8-FAF6-C448-3AF2F93A323D}"/>
              </a:ext>
            </a:extLst>
          </p:cNvPr>
          <p:cNvSpPr>
            <a:spLocks noEditPoints="1"/>
          </p:cNvSpPr>
          <p:nvPr userDrawn="1"/>
        </p:nvSpPr>
        <p:spPr bwMode="gray">
          <a:xfrm>
            <a:off x="4687744" y="3815433"/>
            <a:ext cx="334231" cy="293915"/>
          </a:xfrm>
          <a:custGeom>
            <a:avLst/>
            <a:gdLst/>
            <a:ahLst/>
            <a:cxnLst>
              <a:cxn ang="0">
                <a:pos x="245" y="83"/>
              </a:cxn>
              <a:cxn ang="0">
                <a:pos x="242" y="90"/>
              </a:cxn>
              <a:cxn ang="0">
                <a:pos x="230" y="90"/>
              </a:cxn>
              <a:cxn ang="0">
                <a:pos x="228" y="70"/>
              </a:cxn>
              <a:cxn ang="0">
                <a:pos x="239" y="67"/>
              </a:cxn>
              <a:cxn ang="0">
                <a:pos x="243" y="67"/>
              </a:cxn>
              <a:cxn ang="0">
                <a:pos x="242" y="37"/>
              </a:cxn>
              <a:cxn ang="0">
                <a:pos x="236" y="23"/>
              </a:cxn>
              <a:cxn ang="0">
                <a:pos x="223" y="6"/>
              </a:cxn>
              <a:cxn ang="0">
                <a:pos x="210" y="3"/>
              </a:cxn>
              <a:cxn ang="0">
                <a:pos x="198" y="0"/>
              </a:cxn>
              <a:cxn ang="0">
                <a:pos x="188" y="10"/>
              </a:cxn>
              <a:cxn ang="0">
                <a:pos x="181" y="17"/>
              </a:cxn>
              <a:cxn ang="0">
                <a:pos x="171" y="24"/>
              </a:cxn>
              <a:cxn ang="0">
                <a:pos x="164" y="34"/>
              </a:cxn>
              <a:cxn ang="0">
                <a:pos x="155" y="44"/>
              </a:cxn>
              <a:cxn ang="0">
                <a:pos x="145" y="49"/>
              </a:cxn>
              <a:cxn ang="0">
                <a:pos x="139" y="63"/>
              </a:cxn>
              <a:cxn ang="0">
                <a:pos x="122" y="63"/>
              </a:cxn>
              <a:cxn ang="0">
                <a:pos x="107" y="56"/>
              </a:cxn>
              <a:cxn ang="0">
                <a:pos x="99" y="63"/>
              </a:cxn>
              <a:cxn ang="0">
                <a:pos x="92" y="74"/>
              </a:cxn>
              <a:cxn ang="0">
                <a:pos x="77" y="84"/>
              </a:cxn>
              <a:cxn ang="0">
                <a:pos x="64" y="81"/>
              </a:cxn>
              <a:cxn ang="0">
                <a:pos x="65" y="74"/>
              </a:cxn>
              <a:cxn ang="0">
                <a:pos x="68" y="70"/>
              </a:cxn>
              <a:cxn ang="0">
                <a:pos x="60" y="52"/>
              </a:cxn>
              <a:cxn ang="0">
                <a:pos x="55" y="108"/>
              </a:cxn>
              <a:cxn ang="0">
                <a:pos x="45" y="118"/>
              </a:cxn>
              <a:cxn ang="0">
                <a:pos x="24" y="120"/>
              </a:cxn>
              <a:cxn ang="0">
                <a:pos x="17" y="111"/>
              </a:cxn>
              <a:cxn ang="0">
                <a:pos x="13" y="106"/>
              </a:cxn>
              <a:cxn ang="0">
                <a:pos x="7" y="113"/>
              </a:cxn>
              <a:cxn ang="0">
                <a:pos x="0" y="114"/>
              </a:cxn>
              <a:cxn ang="0">
                <a:pos x="16" y="150"/>
              </a:cxn>
              <a:cxn ang="0">
                <a:pos x="27" y="171"/>
              </a:cxn>
              <a:cxn ang="0">
                <a:pos x="27" y="187"/>
              </a:cxn>
              <a:cxn ang="0">
                <a:pos x="28" y="199"/>
              </a:cxn>
              <a:cxn ang="0">
                <a:pos x="31" y="212"/>
              </a:cxn>
              <a:cxn ang="0">
                <a:pos x="37" y="215"/>
              </a:cxn>
              <a:cxn ang="0">
                <a:pos x="43" y="218"/>
              </a:cxn>
              <a:cxn ang="0">
                <a:pos x="50" y="226"/>
              </a:cxn>
              <a:cxn ang="0">
                <a:pos x="58" y="224"/>
              </a:cxn>
              <a:cxn ang="0">
                <a:pos x="78" y="218"/>
              </a:cxn>
              <a:cxn ang="0">
                <a:pos x="92" y="212"/>
              </a:cxn>
              <a:cxn ang="0">
                <a:pos x="111" y="211"/>
              </a:cxn>
              <a:cxn ang="0">
                <a:pos x="127" y="214"/>
              </a:cxn>
              <a:cxn ang="0">
                <a:pos x="138" y="211"/>
              </a:cxn>
              <a:cxn ang="0">
                <a:pos x="142" y="208"/>
              </a:cxn>
              <a:cxn ang="0">
                <a:pos x="156" y="204"/>
              </a:cxn>
              <a:cxn ang="0">
                <a:pos x="189" y="182"/>
              </a:cxn>
              <a:cxn ang="0">
                <a:pos x="220" y="147"/>
              </a:cxn>
              <a:cxn ang="0">
                <a:pos x="239" y="121"/>
              </a:cxn>
              <a:cxn ang="0">
                <a:pos x="255" y="100"/>
              </a:cxn>
              <a:cxn ang="0">
                <a:pos x="246" y="86"/>
              </a:cxn>
              <a:cxn ang="0">
                <a:pos x="195" y="140"/>
              </a:cxn>
              <a:cxn ang="0">
                <a:pos x="186" y="141"/>
              </a:cxn>
              <a:cxn ang="0">
                <a:pos x="166" y="135"/>
              </a:cxn>
              <a:cxn ang="0">
                <a:pos x="183" y="116"/>
              </a:cxn>
              <a:cxn ang="0">
                <a:pos x="192" y="114"/>
              </a:cxn>
              <a:cxn ang="0">
                <a:pos x="202" y="127"/>
              </a:cxn>
              <a:cxn ang="0">
                <a:pos x="196" y="135"/>
              </a:cxn>
            </a:cxnLst>
            <a:rect l="0" t="0" r="r" b="b"/>
            <a:pathLst>
              <a:path w="257" h="226">
                <a:moveTo>
                  <a:pt x="246" y="86"/>
                </a:moveTo>
                <a:lnTo>
                  <a:pt x="246" y="86"/>
                </a:lnTo>
                <a:lnTo>
                  <a:pt x="245" y="83"/>
                </a:lnTo>
                <a:lnTo>
                  <a:pt x="245" y="83"/>
                </a:lnTo>
                <a:lnTo>
                  <a:pt x="243" y="86"/>
                </a:lnTo>
                <a:lnTo>
                  <a:pt x="243" y="87"/>
                </a:lnTo>
                <a:lnTo>
                  <a:pt x="243" y="87"/>
                </a:lnTo>
                <a:lnTo>
                  <a:pt x="242" y="90"/>
                </a:lnTo>
                <a:lnTo>
                  <a:pt x="240" y="91"/>
                </a:lnTo>
                <a:lnTo>
                  <a:pt x="233" y="91"/>
                </a:lnTo>
                <a:lnTo>
                  <a:pt x="233" y="91"/>
                </a:lnTo>
                <a:lnTo>
                  <a:pt x="230" y="90"/>
                </a:lnTo>
                <a:lnTo>
                  <a:pt x="226" y="84"/>
                </a:lnTo>
                <a:lnTo>
                  <a:pt x="223" y="77"/>
                </a:lnTo>
                <a:lnTo>
                  <a:pt x="223" y="77"/>
                </a:lnTo>
                <a:lnTo>
                  <a:pt x="228" y="70"/>
                </a:lnTo>
                <a:lnTo>
                  <a:pt x="232" y="67"/>
                </a:lnTo>
                <a:lnTo>
                  <a:pt x="235" y="64"/>
                </a:lnTo>
                <a:lnTo>
                  <a:pt x="235" y="64"/>
                </a:lnTo>
                <a:lnTo>
                  <a:pt x="239" y="67"/>
                </a:lnTo>
                <a:lnTo>
                  <a:pt x="243" y="70"/>
                </a:lnTo>
                <a:lnTo>
                  <a:pt x="243" y="70"/>
                </a:lnTo>
                <a:lnTo>
                  <a:pt x="243" y="67"/>
                </a:lnTo>
                <a:lnTo>
                  <a:pt x="243" y="67"/>
                </a:lnTo>
                <a:lnTo>
                  <a:pt x="245" y="53"/>
                </a:lnTo>
                <a:lnTo>
                  <a:pt x="245" y="43"/>
                </a:lnTo>
                <a:lnTo>
                  <a:pt x="243" y="39"/>
                </a:lnTo>
                <a:lnTo>
                  <a:pt x="242" y="37"/>
                </a:lnTo>
                <a:lnTo>
                  <a:pt x="242" y="37"/>
                </a:lnTo>
                <a:lnTo>
                  <a:pt x="240" y="36"/>
                </a:lnTo>
                <a:lnTo>
                  <a:pt x="239" y="32"/>
                </a:lnTo>
                <a:lnTo>
                  <a:pt x="236" y="23"/>
                </a:lnTo>
                <a:lnTo>
                  <a:pt x="232" y="7"/>
                </a:lnTo>
                <a:lnTo>
                  <a:pt x="232" y="7"/>
                </a:lnTo>
                <a:lnTo>
                  <a:pt x="229" y="6"/>
                </a:lnTo>
                <a:lnTo>
                  <a:pt x="223" y="6"/>
                </a:lnTo>
                <a:lnTo>
                  <a:pt x="218" y="5"/>
                </a:lnTo>
                <a:lnTo>
                  <a:pt x="213" y="3"/>
                </a:lnTo>
                <a:lnTo>
                  <a:pt x="213" y="3"/>
                </a:lnTo>
                <a:lnTo>
                  <a:pt x="210" y="3"/>
                </a:lnTo>
                <a:lnTo>
                  <a:pt x="205" y="2"/>
                </a:lnTo>
                <a:lnTo>
                  <a:pt x="200" y="2"/>
                </a:lnTo>
                <a:lnTo>
                  <a:pt x="198" y="0"/>
                </a:lnTo>
                <a:lnTo>
                  <a:pt x="198" y="0"/>
                </a:lnTo>
                <a:lnTo>
                  <a:pt x="193" y="9"/>
                </a:lnTo>
                <a:lnTo>
                  <a:pt x="193" y="9"/>
                </a:lnTo>
                <a:lnTo>
                  <a:pt x="191" y="10"/>
                </a:lnTo>
                <a:lnTo>
                  <a:pt x="188" y="10"/>
                </a:lnTo>
                <a:lnTo>
                  <a:pt x="185" y="12"/>
                </a:lnTo>
                <a:lnTo>
                  <a:pt x="183" y="15"/>
                </a:lnTo>
                <a:lnTo>
                  <a:pt x="183" y="15"/>
                </a:lnTo>
                <a:lnTo>
                  <a:pt x="181" y="17"/>
                </a:lnTo>
                <a:lnTo>
                  <a:pt x="178" y="22"/>
                </a:lnTo>
                <a:lnTo>
                  <a:pt x="173" y="23"/>
                </a:lnTo>
                <a:lnTo>
                  <a:pt x="171" y="24"/>
                </a:lnTo>
                <a:lnTo>
                  <a:pt x="171" y="24"/>
                </a:lnTo>
                <a:lnTo>
                  <a:pt x="168" y="24"/>
                </a:lnTo>
                <a:lnTo>
                  <a:pt x="165" y="27"/>
                </a:lnTo>
                <a:lnTo>
                  <a:pt x="164" y="32"/>
                </a:lnTo>
                <a:lnTo>
                  <a:pt x="164" y="34"/>
                </a:lnTo>
                <a:lnTo>
                  <a:pt x="164" y="34"/>
                </a:lnTo>
                <a:lnTo>
                  <a:pt x="162" y="39"/>
                </a:lnTo>
                <a:lnTo>
                  <a:pt x="159" y="42"/>
                </a:lnTo>
                <a:lnTo>
                  <a:pt x="155" y="44"/>
                </a:lnTo>
                <a:lnTo>
                  <a:pt x="149" y="44"/>
                </a:lnTo>
                <a:lnTo>
                  <a:pt x="149" y="44"/>
                </a:lnTo>
                <a:lnTo>
                  <a:pt x="146" y="46"/>
                </a:lnTo>
                <a:lnTo>
                  <a:pt x="145" y="49"/>
                </a:lnTo>
                <a:lnTo>
                  <a:pt x="144" y="57"/>
                </a:lnTo>
                <a:lnTo>
                  <a:pt x="144" y="57"/>
                </a:lnTo>
                <a:lnTo>
                  <a:pt x="142" y="60"/>
                </a:lnTo>
                <a:lnTo>
                  <a:pt x="139" y="63"/>
                </a:lnTo>
                <a:lnTo>
                  <a:pt x="135" y="63"/>
                </a:lnTo>
                <a:lnTo>
                  <a:pt x="128" y="64"/>
                </a:lnTo>
                <a:lnTo>
                  <a:pt x="128" y="64"/>
                </a:lnTo>
                <a:lnTo>
                  <a:pt x="122" y="63"/>
                </a:lnTo>
                <a:lnTo>
                  <a:pt x="118" y="63"/>
                </a:lnTo>
                <a:lnTo>
                  <a:pt x="109" y="57"/>
                </a:lnTo>
                <a:lnTo>
                  <a:pt x="109" y="57"/>
                </a:lnTo>
                <a:lnTo>
                  <a:pt x="107" y="56"/>
                </a:lnTo>
                <a:lnTo>
                  <a:pt x="104" y="56"/>
                </a:lnTo>
                <a:lnTo>
                  <a:pt x="102" y="57"/>
                </a:lnTo>
                <a:lnTo>
                  <a:pt x="101" y="59"/>
                </a:lnTo>
                <a:lnTo>
                  <a:pt x="99" y="63"/>
                </a:lnTo>
                <a:lnTo>
                  <a:pt x="98" y="66"/>
                </a:lnTo>
                <a:lnTo>
                  <a:pt x="98" y="66"/>
                </a:lnTo>
                <a:lnTo>
                  <a:pt x="97" y="70"/>
                </a:lnTo>
                <a:lnTo>
                  <a:pt x="92" y="74"/>
                </a:lnTo>
                <a:lnTo>
                  <a:pt x="84" y="83"/>
                </a:lnTo>
                <a:lnTo>
                  <a:pt x="84" y="83"/>
                </a:lnTo>
                <a:lnTo>
                  <a:pt x="81" y="84"/>
                </a:lnTo>
                <a:lnTo>
                  <a:pt x="77" y="84"/>
                </a:lnTo>
                <a:lnTo>
                  <a:pt x="68" y="84"/>
                </a:lnTo>
                <a:lnTo>
                  <a:pt x="68" y="84"/>
                </a:lnTo>
                <a:lnTo>
                  <a:pt x="65" y="83"/>
                </a:lnTo>
                <a:lnTo>
                  <a:pt x="64" y="81"/>
                </a:lnTo>
                <a:lnTo>
                  <a:pt x="65" y="77"/>
                </a:lnTo>
                <a:lnTo>
                  <a:pt x="65" y="77"/>
                </a:lnTo>
                <a:lnTo>
                  <a:pt x="65" y="76"/>
                </a:lnTo>
                <a:lnTo>
                  <a:pt x="65" y="74"/>
                </a:lnTo>
                <a:lnTo>
                  <a:pt x="67" y="74"/>
                </a:lnTo>
                <a:lnTo>
                  <a:pt x="68" y="73"/>
                </a:lnTo>
                <a:lnTo>
                  <a:pt x="68" y="73"/>
                </a:lnTo>
                <a:lnTo>
                  <a:pt x="68" y="70"/>
                </a:lnTo>
                <a:lnTo>
                  <a:pt x="67" y="64"/>
                </a:lnTo>
                <a:lnTo>
                  <a:pt x="63" y="54"/>
                </a:lnTo>
                <a:lnTo>
                  <a:pt x="63" y="54"/>
                </a:lnTo>
                <a:lnTo>
                  <a:pt x="60" y="52"/>
                </a:lnTo>
                <a:lnTo>
                  <a:pt x="55" y="50"/>
                </a:lnTo>
                <a:lnTo>
                  <a:pt x="55" y="50"/>
                </a:lnTo>
                <a:lnTo>
                  <a:pt x="55" y="108"/>
                </a:lnTo>
                <a:lnTo>
                  <a:pt x="55" y="108"/>
                </a:lnTo>
                <a:lnTo>
                  <a:pt x="54" y="111"/>
                </a:lnTo>
                <a:lnTo>
                  <a:pt x="51" y="114"/>
                </a:lnTo>
                <a:lnTo>
                  <a:pt x="47" y="117"/>
                </a:lnTo>
                <a:lnTo>
                  <a:pt x="45" y="118"/>
                </a:lnTo>
                <a:lnTo>
                  <a:pt x="45" y="118"/>
                </a:lnTo>
                <a:lnTo>
                  <a:pt x="41" y="120"/>
                </a:lnTo>
                <a:lnTo>
                  <a:pt x="37" y="120"/>
                </a:lnTo>
                <a:lnTo>
                  <a:pt x="24" y="120"/>
                </a:lnTo>
                <a:lnTo>
                  <a:pt x="24" y="120"/>
                </a:lnTo>
                <a:lnTo>
                  <a:pt x="21" y="118"/>
                </a:lnTo>
                <a:lnTo>
                  <a:pt x="18" y="116"/>
                </a:lnTo>
                <a:lnTo>
                  <a:pt x="17" y="111"/>
                </a:lnTo>
                <a:lnTo>
                  <a:pt x="16" y="108"/>
                </a:lnTo>
                <a:lnTo>
                  <a:pt x="16" y="108"/>
                </a:lnTo>
                <a:lnTo>
                  <a:pt x="14" y="107"/>
                </a:lnTo>
                <a:lnTo>
                  <a:pt x="13" y="106"/>
                </a:lnTo>
                <a:lnTo>
                  <a:pt x="10" y="107"/>
                </a:lnTo>
                <a:lnTo>
                  <a:pt x="8" y="110"/>
                </a:lnTo>
                <a:lnTo>
                  <a:pt x="7" y="113"/>
                </a:lnTo>
                <a:lnTo>
                  <a:pt x="7" y="113"/>
                </a:lnTo>
                <a:lnTo>
                  <a:pt x="6" y="114"/>
                </a:lnTo>
                <a:lnTo>
                  <a:pt x="4" y="114"/>
                </a:lnTo>
                <a:lnTo>
                  <a:pt x="0" y="114"/>
                </a:lnTo>
                <a:lnTo>
                  <a:pt x="0" y="114"/>
                </a:lnTo>
                <a:lnTo>
                  <a:pt x="7" y="127"/>
                </a:lnTo>
                <a:lnTo>
                  <a:pt x="13" y="140"/>
                </a:lnTo>
                <a:lnTo>
                  <a:pt x="13" y="140"/>
                </a:lnTo>
                <a:lnTo>
                  <a:pt x="16" y="150"/>
                </a:lnTo>
                <a:lnTo>
                  <a:pt x="20" y="158"/>
                </a:lnTo>
                <a:lnTo>
                  <a:pt x="24" y="165"/>
                </a:lnTo>
                <a:lnTo>
                  <a:pt x="27" y="171"/>
                </a:lnTo>
                <a:lnTo>
                  <a:pt x="27" y="171"/>
                </a:lnTo>
                <a:lnTo>
                  <a:pt x="30" y="181"/>
                </a:lnTo>
                <a:lnTo>
                  <a:pt x="30" y="185"/>
                </a:lnTo>
                <a:lnTo>
                  <a:pt x="27" y="187"/>
                </a:lnTo>
                <a:lnTo>
                  <a:pt x="27" y="187"/>
                </a:lnTo>
                <a:lnTo>
                  <a:pt x="24" y="188"/>
                </a:lnTo>
                <a:lnTo>
                  <a:pt x="24" y="191"/>
                </a:lnTo>
                <a:lnTo>
                  <a:pt x="24" y="194"/>
                </a:lnTo>
                <a:lnTo>
                  <a:pt x="28" y="199"/>
                </a:lnTo>
                <a:lnTo>
                  <a:pt x="28" y="199"/>
                </a:lnTo>
                <a:lnTo>
                  <a:pt x="30" y="205"/>
                </a:lnTo>
                <a:lnTo>
                  <a:pt x="31" y="209"/>
                </a:lnTo>
                <a:lnTo>
                  <a:pt x="31" y="212"/>
                </a:lnTo>
                <a:lnTo>
                  <a:pt x="33" y="214"/>
                </a:lnTo>
                <a:lnTo>
                  <a:pt x="33" y="214"/>
                </a:lnTo>
                <a:lnTo>
                  <a:pt x="35" y="214"/>
                </a:lnTo>
                <a:lnTo>
                  <a:pt x="37" y="215"/>
                </a:lnTo>
                <a:lnTo>
                  <a:pt x="38" y="217"/>
                </a:lnTo>
                <a:lnTo>
                  <a:pt x="40" y="218"/>
                </a:lnTo>
                <a:lnTo>
                  <a:pt x="40" y="218"/>
                </a:lnTo>
                <a:lnTo>
                  <a:pt x="43" y="218"/>
                </a:lnTo>
                <a:lnTo>
                  <a:pt x="44" y="219"/>
                </a:lnTo>
                <a:lnTo>
                  <a:pt x="48" y="224"/>
                </a:lnTo>
                <a:lnTo>
                  <a:pt x="48" y="224"/>
                </a:lnTo>
                <a:lnTo>
                  <a:pt x="50" y="226"/>
                </a:lnTo>
                <a:lnTo>
                  <a:pt x="53" y="226"/>
                </a:lnTo>
                <a:lnTo>
                  <a:pt x="55" y="225"/>
                </a:lnTo>
                <a:lnTo>
                  <a:pt x="58" y="224"/>
                </a:lnTo>
                <a:lnTo>
                  <a:pt x="58" y="224"/>
                </a:lnTo>
                <a:lnTo>
                  <a:pt x="61" y="221"/>
                </a:lnTo>
                <a:lnTo>
                  <a:pt x="65" y="219"/>
                </a:lnTo>
                <a:lnTo>
                  <a:pt x="78" y="218"/>
                </a:lnTo>
                <a:lnTo>
                  <a:pt x="78" y="218"/>
                </a:lnTo>
                <a:lnTo>
                  <a:pt x="82" y="218"/>
                </a:lnTo>
                <a:lnTo>
                  <a:pt x="85" y="217"/>
                </a:lnTo>
                <a:lnTo>
                  <a:pt x="88" y="215"/>
                </a:lnTo>
                <a:lnTo>
                  <a:pt x="92" y="212"/>
                </a:lnTo>
                <a:lnTo>
                  <a:pt x="92" y="212"/>
                </a:lnTo>
                <a:lnTo>
                  <a:pt x="98" y="211"/>
                </a:lnTo>
                <a:lnTo>
                  <a:pt x="105" y="211"/>
                </a:lnTo>
                <a:lnTo>
                  <a:pt x="111" y="211"/>
                </a:lnTo>
                <a:lnTo>
                  <a:pt x="117" y="212"/>
                </a:lnTo>
                <a:lnTo>
                  <a:pt x="117" y="212"/>
                </a:lnTo>
                <a:lnTo>
                  <a:pt x="122" y="214"/>
                </a:lnTo>
                <a:lnTo>
                  <a:pt x="127" y="214"/>
                </a:lnTo>
                <a:lnTo>
                  <a:pt x="132" y="211"/>
                </a:lnTo>
                <a:lnTo>
                  <a:pt x="132" y="211"/>
                </a:lnTo>
                <a:lnTo>
                  <a:pt x="135" y="209"/>
                </a:lnTo>
                <a:lnTo>
                  <a:pt x="138" y="211"/>
                </a:lnTo>
                <a:lnTo>
                  <a:pt x="141" y="211"/>
                </a:lnTo>
                <a:lnTo>
                  <a:pt x="142" y="209"/>
                </a:lnTo>
                <a:lnTo>
                  <a:pt x="142" y="208"/>
                </a:lnTo>
                <a:lnTo>
                  <a:pt x="142" y="208"/>
                </a:lnTo>
                <a:lnTo>
                  <a:pt x="144" y="205"/>
                </a:lnTo>
                <a:lnTo>
                  <a:pt x="146" y="204"/>
                </a:lnTo>
                <a:lnTo>
                  <a:pt x="156" y="204"/>
                </a:lnTo>
                <a:lnTo>
                  <a:pt x="156" y="204"/>
                </a:lnTo>
                <a:lnTo>
                  <a:pt x="162" y="202"/>
                </a:lnTo>
                <a:lnTo>
                  <a:pt x="171" y="198"/>
                </a:lnTo>
                <a:lnTo>
                  <a:pt x="179" y="191"/>
                </a:lnTo>
                <a:lnTo>
                  <a:pt x="189" y="182"/>
                </a:lnTo>
                <a:lnTo>
                  <a:pt x="189" y="182"/>
                </a:lnTo>
                <a:lnTo>
                  <a:pt x="199" y="172"/>
                </a:lnTo>
                <a:lnTo>
                  <a:pt x="209" y="160"/>
                </a:lnTo>
                <a:lnTo>
                  <a:pt x="220" y="147"/>
                </a:lnTo>
                <a:lnTo>
                  <a:pt x="228" y="137"/>
                </a:lnTo>
                <a:lnTo>
                  <a:pt x="228" y="137"/>
                </a:lnTo>
                <a:lnTo>
                  <a:pt x="232" y="128"/>
                </a:lnTo>
                <a:lnTo>
                  <a:pt x="239" y="121"/>
                </a:lnTo>
                <a:lnTo>
                  <a:pt x="250" y="111"/>
                </a:lnTo>
                <a:lnTo>
                  <a:pt x="250" y="111"/>
                </a:lnTo>
                <a:lnTo>
                  <a:pt x="253" y="107"/>
                </a:lnTo>
                <a:lnTo>
                  <a:pt x="255" y="100"/>
                </a:lnTo>
                <a:lnTo>
                  <a:pt x="257" y="84"/>
                </a:lnTo>
                <a:lnTo>
                  <a:pt x="257" y="84"/>
                </a:lnTo>
                <a:lnTo>
                  <a:pt x="246" y="86"/>
                </a:lnTo>
                <a:lnTo>
                  <a:pt x="246" y="86"/>
                </a:lnTo>
                <a:close/>
                <a:moveTo>
                  <a:pt x="196" y="138"/>
                </a:moveTo>
                <a:lnTo>
                  <a:pt x="196" y="138"/>
                </a:lnTo>
                <a:lnTo>
                  <a:pt x="196" y="140"/>
                </a:lnTo>
                <a:lnTo>
                  <a:pt x="195" y="140"/>
                </a:lnTo>
                <a:lnTo>
                  <a:pt x="192" y="140"/>
                </a:lnTo>
                <a:lnTo>
                  <a:pt x="188" y="140"/>
                </a:lnTo>
                <a:lnTo>
                  <a:pt x="186" y="141"/>
                </a:lnTo>
                <a:lnTo>
                  <a:pt x="186" y="141"/>
                </a:lnTo>
                <a:lnTo>
                  <a:pt x="182" y="150"/>
                </a:lnTo>
                <a:lnTo>
                  <a:pt x="175" y="148"/>
                </a:lnTo>
                <a:lnTo>
                  <a:pt x="166" y="135"/>
                </a:lnTo>
                <a:lnTo>
                  <a:pt x="166" y="135"/>
                </a:lnTo>
                <a:lnTo>
                  <a:pt x="175" y="121"/>
                </a:lnTo>
                <a:lnTo>
                  <a:pt x="175" y="121"/>
                </a:lnTo>
                <a:lnTo>
                  <a:pt x="178" y="118"/>
                </a:lnTo>
                <a:lnTo>
                  <a:pt x="183" y="116"/>
                </a:lnTo>
                <a:lnTo>
                  <a:pt x="188" y="113"/>
                </a:lnTo>
                <a:lnTo>
                  <a:pt x="191" y="114"/>
                </a:lnTo>
                <a:lnTo>
                  <a:pt x="192" y="114"/>
                </a:lnTo>
                <a:lnTo>
                  <a:pt x="192" y="114"/>
                </a:lnTo>
                <a:lnTo>
                  <a:pt x="193" y="117"/>
                </a:lnTo>
                <a:lnTo>
                  <a:pt x="198" y="121"/>
                </a:lnTo>
                <a:lnTo>
                  <a:pt x="200" y="124"/>
                </a:lnTo>
                <a:lnTo>
                  <a:pt x="202" y="127"/>
                </a:lnTo>
                <a:lnTo>
                  <a:pt x="202" y="127"/>
                </a:lnTo>
                <a:lnTo>
                  <a:pt x="200" y="130"/>
                </a:lnTo>
                <a:lnTo>
                  <a:pt x="199" y="133"/>
                </a:lnTo>
                <a:lnTo>
                  <a:pt x="196" y="135"/>
                </a:lnTo>
                <a:lnTo>
                  <a:pt x="196" y="138"/>
                </a:lnTo>
                <a:lnTo>
                  <a:pt x="196" y="138"/>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9" name="Freeform 196">
            <a:extLst>
              <a:ext uri="{FF2B5EF4-FFF2-40B4-BE49-F238E27FC236}">
                <a16:creationId xmlns:a16="http://schemas.microsoft.com/office/drawing/2014/main" id="{2D7D82B8-C229-FF7E-688B-62FC5FE1C824}"/>
              </a:ext>
            </a:extLst>
          </p:cNvPr>
          <p:cNvSpPr>
            <a:spLocks/>
          </p:cNvSpPr>
          <p:nvPr userDrawn="1"/>
        </p:nvSpPr>
        <p:spPr bwMode="gray">
          <a:xfrm>
            <a:off x="4599310" y="3472099"/>
            <a:ext cx="243196" cy="254899"/>
          </a:xfrm>
          <a:custGeom>
            <a:avLst/>
            <a:gdLst/>
            <a:ahLst/>
            <a:cxnLst>
              <a:cxn ang="0">
                <a:pos x="12" y="183"/>
              </a:cxn>
              <a:cxn ang="0">
                <a:pos x="18" y="185"/>
              </a:cxn>
              <a:cxn ang="0">
                <a:pos x="25" y="183"/>
              </a:cxn>
              <a:cxn ang="0">
                <a:pos x="32" y="186"/>
              </a:cxn>
              <a:cxn ang="0">
                <a:pos x="47" y="190"/>
              </a:cxn>
              <a:cxn ang="0">
                <a:pos x="108" y="196"/>
              </a:cxn>
              <a:cxn ang="0">
                <a:pos x="143" y="196"/>
              </a:cxn>
              <a:cxn ang="0">
                <a:pos x="156" y="196"/>
              </a:cxn>
              <a:cxn ang="0">
                <a:pos x="173" y="193"/>
              </a:cxn>
              <a:cxn ang="0">
                <a:pos x="180" y="115"/>
              </a:cxn>
              <a:cxn ang="0">
                <a:pos x="187" y="79"/>
              </a:cxn>
              <a:cxn ang="0">
                <a:pos x="183" y="79"/>
              </a:cxn>
              <a:cxn ang="0">
                <a:pos x="169" y="81"/>
              </a:cxn>
              <a:cxn ang="0">
                <a:pos x="162" y="85"/>
              </a:cxn>
              <a:cxn ang="0">
                <a:pos x="159" y="84"/>
              </a:cxn>
              <a:cxn ang="0">
                <a:pos x="160" y="72"/>
              </a:cxn>
              <a:cxn ang="0">
                <a:pos x="152" y="59"/>
              </a:cxn>
              <a:cxn ang="0">
                <a:pos x="152" y="55"/>
              </a:cxn>
              <a:cxn ang="0">
                <a:pos x="155" y="37"/>
              </a:cxn>
              <a:cxn ang="0">
                <a:pos x="152" y="31"/>
              </a:cxn>
              <a:cxn ang="0">
                <a:pos x="150" y="21"/>
              </a:cxn>
              <a:cxn ang="0">
                <a:pos x="140" y="21"/>
              </a:cxn>
              <a:cxn ang="0">
                <a:pos x="133" y="18"/>
              </a:cxn>
              <a:cxn ang="0">
                <a:pos x="125" y="17"/>
              </a:cxn>
              <a:cxn ang="0">
                <a:pos x="118" y="21"/>
              </a:cxn>
              <a:cxn ang="0">
                <a:pos x="115" y="32"/>
              </a:cxn>
              <a:cxn ang="0">
                <a:pos x="106" y="32"/>
              </a:cxn>
              <a:cxn ang="0">
                <a:pos x="91" y="35"/>
              </a:cxn>
              <a:cxn ang="0">
                <a:pos x="82" y="25"/>
              </a:cxn>
              <a:cxn ang="0">
                <a:pos x="76" y="18"/>
              </a:cxn>
              <a:cxn ang="0">
                <a:pos x="75" y="13"/>
              </a:cxn>
              <a:cxn ang="0">
                <a:pos x="72" y="0"/>
              </a:cxn>
              <a:cxn ang="0">
                <a:pos x="21" y="0"/>
              </a:cxn>
              <a:cxn ang="0">
                <a:pos x="11" y="4"/>
              </a:cxn>
              <a:cxn ang="0">
                <a:pos x="20" y="24"/>
              </a:cxn>
              <a:cxn ang="0">
                <a:pos x="27" y="41"/>
              </a:cxn>
              <a:cxn ang="0">
                <a:pos x="24" y="55"/>
              </a:cxn>
              <a:cxn ang="0">
                <a:pos x="28" y="71"/>
              </a:cxn>
              <a:cxn ang="0">
                <a:pos x="34" y="88"/>
              </a:cxn>
              <a:cxn ang="0">
                <a:pos x="22" y="112"/>
              </a:cxn>
              <a:cxn ang="0">
                <a:pos x="14" y="126"/>
              </a:cxn>
              <a:cxn ang="0">
                <a:pos x="10" y="142"/>
              </a:cxn>
              <a:cxn ang="0">
                <a:pos x="2" y="160"/>
              </a:cxn>
              <a:cxn ang="0">
                <a:pos x="1" y="176"/>
              </a:cxn>
              <a:cxn ang="0">
                <a:pos x="0" y="187"/>
              </a:cxn>
              <a:cxn ang="0">
                <a:pos x="5" y="185"/>
              </a:cxn>
              <a:cxn ang="0">
                <a:pos x="10" y="182"/>
              </a:cxn>
            </a:cxnLst>
            <a:rect l="0" t="0" r="r" b="b"/>
            <a:pathLst>
              <a:path w="187" h="196">
                <a:moveTo>
                  <a:pt x="10" y="182"/>
                </a:moveTo>
                <a:lnTo>
                  <a:pt x="10" y="182"/>
                </a:lnTo>
                <a:lnTo>
                  <a:pt x="12" y="183"/>
                </a:lnTo>
                <a:lnTo>
                  <a:pt x="14" y="185"/>
                </a:lnTo>
                <a:lnTo>
                  <a:pt x="14" y="186"/>
                </a:lnTo>
                <a:lnTo>
                  <a:pt x="18" y="185"/>
                </a:lnTo>
                <a:lnTo>
                  <a:pt x="18" y="185"/>
                </a:lnTo>
                <a:lnTo>
                  <a:pt x="21" y="183"/>
                </a:lnTo>
                <a:lnTo>
                  <a:pt x="25" y="183"/>
                </a:lnTo>
                <a:lnTo>
                  <a:pt x="30" y="185"/>
                </a:lnTo>
                <a:lnTo>
                  <a:pt x="32" y="186"/>
                </a:lnTo>
                <a:lnTo>
                  <a:pt x="32" y="186"/>
                </a:lnTo>
                <a:lnTo>
                  <a:pt x="39" y="189"/>
                </a:lnTo>
                <a:lnTo>
                  <a:pt x="47" y="190"/>
                </a:lnTo>
                <a:lnTo>
                  <a:pt x="47" y="190"/>
                </a:lnTo>
                <a:lnTo>
                  <a:pt x="102" y="190"/>
                </a:lnTo>
                <a:lnTo>
                  <a:pt x="108" y="196"/>
                </a:lnTo>
                <a:lnTo>
                  <a:pt x="108" y="196"/>
                </a:lnTo>
                <a:lnTo>
                  <a:pt x="123" y="195"/>
                </a:lnTo>
                <a:lnTo>
                  <a:pt x="136" y="195"/>
                </a:lnTo>
                <a:lnTo>
                  <a:pt x="143" y="196"/>
                </a:lnTo>
                <a:lnTo>
                  <a:pt x="143" y="196"/>
                </a:lnTo>
                <a:lnTo>
                  <a:pt x="149" y="196"/>
                </a:lnTo>
                <a:lnTo>
                  <a:pt x="156" y="196"/>
                </a:lnTo>
                <a:lnTo>
                  <a:pt x="169" y="195"/>
                </a:lnTo>
                <a:lnTo>
                  <a:pt x="169" y="195"/>
                </a:lnTo>
                <a:lnTo>
                  <a:pt x="173" y="193"/>
                </a:lnTo>
                <a:lnTo>
                  <a:pt x="155" y="168"/>
                </a:lnTo>
                <a:lnTo>
                  <a:pt x="156" y="115"/>
                </a:lnTo>
                <a:lnTo>
                  <a:pt x="180" y="115"/>
                </a:lnTo>
                <a:lnTo>
                  <a:pt x="185" y="111"/>
                </a:lnTo>
                <a:lnTo>
                  <a:pt x="187" y="79"/>
                </a:lnTo>
                <a:lnTo>
                  <a:pt x="187" y="79"/>
                </a:lnTo>
                <a:lnTo>
                  <a:pt x="185" y="79"/>
                </a:lnTo>
                <a:lnTo>
                  <a:pt x="183" y="79"/>
                </a:lnTo>
                <a:lnTo>
                  <a:pt x="183" y="79"/>
                </a:lnTo>
                <a:lnTo>
                  <a:pt x="176" y="81"/>
                </a:lnTo>
                <a:lnTo>
                  <a:pt x="169" y="81"/>
                </a:lnTo>
                <a:lnTo>
                  <a:pt x="169" y="81"/>
                </a:lnTo>
                <a:lnTo>
                  <a:pt x="166" y="81"/>
                </a:lnTo>
                <a:lnTo>
                  <a:pt x="163" y="84"/>
                </a:lnTo>
                <a:lnTo>
                  <a:pt x="162" y="85"/>
                </a:lnTo>
                <a:lnTo>
                  <a:pt x="160" y="85"/>
                </a:lnTo>
                <a:lnTo>
                  <a:pt x="160" y="85"/>
                </a:lnTo>
                <a:lnTo>
                  <a:pt x="159" y="84"/>
                </a:lnTo>
                <a:lnTo>
                  <a:pt x="159" y="79"/>
                </a:lnTo>
                <a:lnTo>
                  <a:pt x="160" y="72"/>
                </a:lnTo>
                <a:lnTo>
                  <a:pt x="160" y="72"/>
                </a:lnTo>
                <a:lnTo>
                  <a:pt x="160" y="69"/>
                </a:lnTo>
                <a:lnTo>
                  <a:pt x="158" y="65"/>
                </a:lnTo>
                <a:lnTo>
                  <a:pt x="152" y="59"/>
                </a:lnTo>
                <a:lnTo>
                  <a:pt x="152" y="59"/>
                </a:lnTo>
                <a:lnTo>
                  <a:pt x="152" y="58"/>
                </a:lnTo>
                <a:lnTo>
                  <a:pt x="152" y="55"/>
                </a:lnTo>
                <a:lnTo>
                  <a:pt x="153" y="48"/>
                </a:lnTo>
                <a:lnTo>
                  <a:pt x="155" y="41"/>
                </a:lnTo>
                <a:lnTo>
                  <a:pt x="155" y="37"/>
                </a:lnTo>
                <a:lnTo>
                  <a:pt x="155" y="37"/>
                </a:lnTo>
                <a:lnTo>
                  <a:pt x="153" y="34"/>
                </a:lnTo>
                <a:lnTo>
                  <a:pt x="152" y="31"/>
                </a:lnTo>
                <a:lnTo>
                  <a:pt x="152" y="24"/>
                </a:lnTo>
                <a:lnTo>
                  <a:pt x="152" y="24"/>
                </a:lnTo>
                <a:lnTo>
                  <a:pt x="150" y="21"/>
                </a:lnTo>
                <a:lnTo>
                  <a:pt x="149" y="21"/>
                </a:lnTo>
                <a:lnTo>
                  <a:pt x="140" y="21"/>
                </a:lnTo>
                <a:lnTo>
                  <a:pt x="140" y="21"/>
                </a:lnTo>
                <a:lnTo>
                  <a:pt x="136" y="21"/>
                </a:lnTo>
                <a:lnTo>
                  <a:pt x="135" y="20"/>
                </a:lnTo>
                <a:lnTo>
                  <a:pt x="133" y="18"/>
                </a:lnTo>
                <a:lnTo>
                  <a:pt x="133" y="18"/>
                </a:lnTo>
                <a:lnTo>
                  <a:pt x="128" y="17"/>
                </a:lnTo>
                <a:lnTo>
                  <a:pt x="125" y="17"/>
                </a:lnTo>
                <a:lnTo>
                  <a:pt x="121" y="18"/>
                </a:lnTo>
                <a:lnTo>
                  <a:pt x="121" y="18"/>
                </a:lnTo>
                <a:lnTo>
                  <a:pt x="118" y="21"/>
                </a:lnTo>
                <a:lnTo>
                  <a:pt x="116" y="27"/>
                </a:lnTo>
                <a:lnTo>
                  <a:pt x="115" y="31"/>
                </a:lnTo>
                <a:lnTo>
                  <a:pt x="115" y="32"/>
                </a:lnTo>
                <a:lnTo>
                  <a:pt x="113" y="32"/>
                </a:lnTo>
                <a:lnTo>
                  <a:pt x="113" y="32"/>
                </a:lnTo>
                <a:lnTo>
                  <a:pt x="106" y="32"/>
                </a:lnTo>
                <a:lnTo>
                  <a:pt x="95" y="35"/>
                </a:lnTo>
                <a:lnTo>
                  <a:pt x="95" y="35"/>
                </a:lnTo>
                <a:lnTo>
                  <a:pt x="91" y="35"/>
                </a:lnTo>
                <a:lnTo>
                  <a:pt x="88" y="34"/>
                </a:lnTo>
                <a:lnTo>
                  <a:pt x="85" y="31"/>
                </a:lnTo>
                <a:lnTo>
                  <a:pt x="82" y="25"/>
                </a:lnTo>
                <a:lnTo>
                  <a:pt x="82" y="25"/>
                </a:lnTo>
                <a:lnTo>
                  <a:pt x="79" y="21"/>
                </a:lnTo>
                <a:lnTo>
                  <a:pt x="76" y="18"/>
                </a:lnTo>
                <a:lnTo>
                  <a:pt x="75" y="17"/>
                </a:lnTo>
                <a:lnTo>
                  <a:pt x="75" y="13"/>
                </a:lnTo>
                <a:lnTo>
                  <a:pt x="75" y="13"/>
                </a:lnTo>
                <a:lnTo>
                  <a:pt x="75" y="8"/>
                </a:lnTo>
                <a:lnTo>
                  <a:pt x="75" y="4"/>
                </a:lnTo>
                <a:lnTo>
                  <a:pt x="72" y="0"/>
                </a:lnTo>
                <a:lnTo>
                  <a:pt x="72" y="0"/>
                </a:lnTo>
                <a:lnTo>
                  <a:pt x="48" y="0"/>
                </a:lnTo>
                <a:lnTo>
                  <a:pt x="21" y="0"/>
                </a:lnTo>
                <a:lnTo>
                  <a:pt x="21" y="0"/>
                </a:lnTo>
                <a:lnTo>
                  <a:pt x="17" y="1"/>
                </a:lnTo>
                <a:lnTo>
                  <a:pt x="11" y="4"/>
                </a:lnTo>
                <a:lnTo>
                  <a:pt x="11" y="4"/>
                </a:lnTo>
                <a:lnTo>
                  <a:pt x="15" y="14"/>
                </a:lnTo>
                <a:lnTo>
                  <a:pt x="20" y="24"/>
                </a:lnTo>
                <a:lnTo>
                  <a:pt x="25" y="38"/>
                </a:lnTo>
                <a:lnTo>
                  <a:pt x="25" y="38"/>
                </a:lnTo>
                <a:lnTo>
                  <a:pt x="27" y="41"/>
                </a:lnTo>
                <a:lnTo>
                  <a:pt x="25" y="45"/>
                </a:lnTo>
                <a:lnTo>
                  <a:pt x="24" y="49"/>
                </a:lnTo>
                <a:lnTo>
                  <a:pt x="24" y="55"/>
                </a:lnTo>
                <a:lnTo>
                  <a:pt x="24" y="55"/>
                </a:lnTo>
                <a:lnTo>
                  <a:pt x="25" y="62"/>
                </a:lnTo>
                <a:lnTo>
                  <a:pt x="28" y="71"/>
                </a:lnTo>
                <a:lnTo>
                  <a:pt x="31" y="81"/>
                </a:lnTo>
                <a:lnTo>
                  <a:pt x="34" y="88"/>
                </a:lnTo>
                <a:lnTo>
                  <a:pt x="34" y="88"/>
                </a:lnTo>
                <a:lnTo>
                  <a:pt x="32" y="95"/>
                </a:lnTo>
                <a:lnTo>
                  <a:pt x="30" y="102"/>
                </a:lnTo>
                <a:lnTo>
                  <a:pt x="22" y="112"/>
                </a:lnTo>
                <a:lnTo>
                  <a:pt x="22" y="112"/>
                </a:lnTo>
                <a:lnTo>
                  <a:pt x="18" y="118"/>
                </a:lnTo>
                <a:lnTo>
                  <a:pt x="14" y="126"/>
                </a:lnTo>
                <a:lnTo>
                  <a:pt x="11" y="135"/>
                </a:lnTo>
                <a:lnTo>
                  <a:pt x="10" y="142"/>
                </a:lnTo>
                <a:lnTo>
                  <a:pt x="10" y="142"/>
                </a:lnTo>
                <a:lnTo>
                  <a:pt x="8" y="149"/>
                </a:lnTo>
                <a:lnTo>
                  <a:pt x="5" y="156"/>
                </a:lnTo>
                <a:lnTo>
                  <a:pt x="2" y="160"/>
                </a:lnTo>
                <a:lnTo>
                  <a:pt x="2" y="165"/>
                </a:lnTo>
                <a:lnTo>
                  <a:pt x="2" y="165"/>
                </a:lnTo>
                <a:lnTo>
                  <a:pt x="1" y="176"/>
                </a:lnTo>
                <a:lnTo>
                  <a:pt x="0" y="186"/>
                </a:lnTo>
                <a:lnTo>
                  <a:pt x="0" y="186"/>
                </a:lnTo>
                <a:lnTo>
                  <a:pt x="0" y="187"/>
                </a:lnTo>
                <a:lnTo>
                  <a:pt x="5" y="186"/>
                </a:lnTo>
                <a:lnTo>
                  <a:pt x="5" y="186"/>
                </a:lnTo>
                <a:lnTo>
                  <a:pt x="5" y="185"/>
                </a:lnTo>
                <a:lnTo>
                  <a:pt x="8" y="183"/>
                </a:lnTo>
                <a:lnTo>
                  <a:pt x="10" y="182"/>
                </a:lnTo>
                <a:lnTo>
                  <a:pt x="10" y="182"/>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0" name="Freeform 197">
            <a:extLst>
              <a:ext uri="{FF2B5EF4-FFF2-40B4-BE49-F238E27FC236}">
                <a16:creationId xmlns:a16="http://schemas.microsoft.com/office/drawing/2014/main" id="{2EAD0814-65B2-4CD5-4489-06D393FCE0BE}"/>
              </a:ext>
            </a:extLst>
          </p:cNvPr>
          <p:cNvSpPr>
            <a:spLocks/>
          </p:cNvSpPr>
          <p:nvPr userDrawn="1"/>
        </p:nvSpPr>
        <p:spPr bwMode="gray">
          <a:xfrm>
            <a:off x="4800889" y="3520217"/>
            <a:ext cx="240595" cy="208082"/>
          </a:xfrm>
          <a:custGeom>
            <a:avLst/>
            <a:gdLst/>
            <a:ahLst/>
            <a:cxnLst>
              <a:cxn ang="0">
                <a:pos x="136" y="4"/>
              </a:cxn>
              <a:cxn ang="0">
                <a:pos x="126" y="1"/>
              </a:cxn>
              <a:cxn ang="0">
                <a:pos x="111" y="3"/>
              </a:cxn>
              <a:cxn ang="0">
                <a:pos x="108" y="7"/>
              </a:cxn>
              <a:cxn ang="0">
                <a:pos x="106" y="12"/>
              </a:cxn>
              <a:cxn ang="0">
                <a:pos x="102" y="20"/>
              </a:cxn>
              <a:cxn ang="0">
                <a:pos x="105" y="24"/>
              </a:cxn>
              <a:cxn ang="0">
                <a:pos x="104" y="40"/>
              </a:cxn>
              <a:cxn ang="0">
                <a:pos x="99" y="52"/>
              </a:cxn>
              <a:cxn ang="0">
                <a:pos x="104" y="61"/>
              </a:cxn>
              <a:cxn ang="0">
                <a:pos x="111" y="67"/>
              </a:cxn>
              <a:cxn ang="0">
                <a:pos x="121" y="64"/>
              </a:cxn>
              <a:cxn ang="0">
                <a:pos x="123" y="68"/>
              </a:cxn>
              <a:cxn ang="0">
                <a:pos x="123" y="78"/>
              </a:cxn>
              <a:cxn ang="0">
                <a:pos x="121" y="82"/>
              </a:cxn>
              <a:cxn ang="0">
                <a:pos x="109" y="82"/>
              </a:cxn>
              <a:cxn ang="0">
                <a:pos x="105" y="75"/>
              </a:cxn>
              <a:cxn ang="0">
                <a:pos x="101" y="67"/>
              </a:cxn>
              <a:cxn ang="0">
                <a:pos x="91" y="65"/>
              </a:cxn>
              <a:cxn ang="0">
                <a:pos x="82" y="57"/>
              </a:cxn>
              <a:cxn ang="0">
                <a:pos x="78" y="57"/>
              </a:cxn>
              <a:cxn ang="0">
                <a:pos x="77" y="59"/>
              </a:cxn>
              <a:cxn ang="0">
                <a:pos x="69" y="61"/>
              </a:cxn>
              <a:cxn ang="0">
                <a:pos x="62" y="59"/>
              </a:cxn>
              <a:cxn ang="0">
                <a:pos x="55" y="57"/>
              </a:cxn>
              <a:cxn ang="0">
                <a:pos x="51" y="52"/>
              </a:cxn>
              <a:cxn ang="0">
                <a:pos x="49" y="48"/>
              </a:cxn>
              <a:cxn ang="0">
                <a:pos x="41" y="49"/>
              </a:cxn>
              <a:cxn ang="0">
                <a:pos x="37" y="47"/>
              </a:cxn>
              <a:cxn ang="0">
                <a:pos x="32" y="42"/>
              </a:cxn>
              <a:cxn ang="0">
                <a:pos x="1" y="78"/>
              </a:cxn>
              <a:cxn ang="0">
                <a:pos x="18" y="156"/>
              </a:cxn>
              <a:cxn ang="0">
                <a:pos x="47" y="153"/>
              </a:cxn>
              <a:cxn ang="0">
                <a:pos x="48" y="158"/>
              </a:cxn>
              <a:cxn ang="0">
                <a:pos x="57" y="158"/>
              </a:cxn>
              <a:cxn ang="0">
                <a:pos x="77" y="160"/>
              </a:cxn>
              <a:cxn ang="0">
                <a:pos x="84" y="152"/>
              </a:cxn>
              <a:cxn ang="0">
                <a:pos x="94" y="142"/>
              </a:cxn>
              <a:cxn ang="0">
                <a:pos x="106" y="133"/>
              </a:cxn>
              <a:cxn ang="0">
                <a:pos x="108" y="129"/>
              </a:cxn>
              <a:cxn ang="0">
                <a:pos x="118" y="123"/>
              </a:cxn>
              <a:cxn ang="0">
                <a:pos x="129" y="111"/>
              </a:cxn>
              <a:cxn ang="0">
                <a:pos x="173" y="95"/>
              </a:cxn>
              <a:cxn ang="0">
                <a:pos x="170" y="88"/>
              </a:cxn>
              <a:cxn ang="0">
                <a:pos x="172" y="72"/>
              </a:cxn>
              <a:cxn ang="0">
                <a:pos x="178" y="69"/>
              </a:cxn>
              <a:cxn ang="0">
                <a:pos x="179" y="68"/>
              </a:cxn>
              <a:cxn ang="0">
                <a:pos x="178" y="55"/>
              </a:cxn>
              <a:cxn ang="0">
                <a:pos x="179" y="41"/>
              </a:cxn>
              <a:cxn ang="0">
                <a:pos x="183" y="40"/>
              </a:cxn>
              <a:cxn ang="0">
                <a:pos x="182" y="30"/>
              </a:cxn>
              <a:cxn ang="0">
                <a:pos x="173" y="18"/>
              </a:cxn>
              <a:cxn ang="0">
                <a:pos x="156" y="12"/>
              </a:cxn>
              <a:cxn ang="0">
                <a:pos x="142" y="7"/>
              </a:cxn>
            </a:cxnLst>
            <a:rect l="0" t="0" r="r" b="b"/>
            <a:pathLst>
              <a:path w="185" h="160">
                <a:moveTo>
                  <a:pt x="142" y="7"/>
                </a:moveTo>
                <a:lnTo>
                  <a:pt x="142" y="7"/>
                </a:lnTo>
                <a:lnTo>
                  <a:pt x="136" y="4"/>
                </a:lnTo>
                <a:lnTo>
                  <a:pt x="129" y="0"/>
                </a:lnTo>
                <a:lnTo>
                  <a:pt x="129" y="0"/>
                </a:lnTo>
                <a:lnTo>
                  <a:pt x="126" y="1"/>
                </a:lnTo>
                <a:lnTo>
                  <a:pt x="121" y="3"/>
                </a:lnTo>
                <a:lnTo>
                  <a:pt x="111" y="3"/>
                </a:lnTo>
                <a:lnTo>
                  <a:pt x="111" y="3"/>
                </a:lnTo>
                <a:lnTo>
                  <a:pt x="109" y="3"/>
                </a:lnTo>
                <a:lnTo>
                  <a:pt x="108" y="4"/>
                </a:lnTo>
                <a:lnTo>
                  <a:pt x="108" y="7"/>
                </a:lnTo>
                <a:lnTo>
                  <a:pt x="108" y="10"/>
                </a:lnTo>
                <a:lnTo>
                  <a:pt x="106" y="12"/>
                </a:lnTo>
                <a:lnTo>
                  <a:pt x="106" y="12"/>
                </a:lnTo>
                <a:lnTo>
                  <a:pt x="104" y="15"/>
                </a:lnTo>
                <a:lnTo>
                  <a:pt x="102" y="18"/>
                </a:lnTo>
                <a:lnTo>
                  <a:pt x="102" y="20"/>
                </a:lnTo>
                <a:lnTo>
                  <a:pt x="104" y="21"/>
                </a:lnTo>
                <a:lnTo>
                  <a:pt x="104" y="21"/>
                </a:lnTo>
                <a:lnTo>
                  <a:pt x="105" y="24"/>
                </a:lnTo>
                <a:lnTo>
                  <a:pt x="105" y="30"/>
                </a:lnTo>
                <a:lnTo>
                  <a:pt x="104" y="40"/>
                </a:lnTo>
                <a:lnTo>
                  <a:pt x="104" y="40"/>
                </a:lnTo>
                <a:lnTo>
                  <a:pt x="102" y="44"/>
                </a:lnTo>
                <a:lnTo>
                  <a:pt x="101" y="48"/>
                </a:lnTo>
                <a:lnTo>
                  <a:pt x="99" y="52"/>
                </a:lnTo>
                <a:lnTo>
                  <a:pt x="99" y="54"/>
                </a:lnTo>
                <a:lnTo>
                  <a:pt x="99" y="54"/>
                </a:lnTo>
                <a:lnTo>
                  <a:pt x="104" y="61"/>
                </a:lnTo>
                <a:lnTo>
                  <a:pt x="106" y="65"/>
                </a:lnTo>
                <a:lnTo>
                  <a:pt x="111" y="67"/>
                </a:lnTo>
                <a:lnTo>
                  <a:pt x="111" y="67"/>
                </a:lnTo>
                <a:lnTo>
                  <a:pt x="113" y="67"/>
                </a:lnTo>
                <a:lnTo>
                  <a:pt x="116" y="67"/>
                </a:lnTo>
                <a:lnTo>
                  <a:pt x="121" y="64"/>
                </a:lnTo>
                <a:lnTo>
                  <a:pt x="121" y="64"/>
                </a:lnTo>
                <a:lnTo>
                  <a:pt x="122" y="65"/>
                </a:lnTo>
                <a:lnTo>
                  <a:pt x="123" y="68"/>
                </a:lnTo>
                <a:lnTo>
                  <a:pt x="123" y="75"/>
                </a:lnTo>
                <a:lnTo>
                  <a:pt x="123" y="75"/>
                </a:lnTo>
                <a:lnTo>
                  <a:pt x="123" y="78"/>
                </a:lnTo>
                <a:lnTo>
                  <a:pt x="122" y="81"/>
                </a:lnTo>
                <a:lnTo>
                  <a:pt x="121" y="82"/>
                </a:lnTo>
                <a:lnTo>
                  <a:pt x="121" y="82"/>
                </a:lnTo>
                <a:lnTo>
                  <a:pt x="116" y="84"/>
                </a:lnTo>
                <a:lnTo>
                  <a:pt x="112" y="84"/>
                </a:lnTo>
                <a:lnTo>
                  <a:pt x="109" y="82"/>
                </a:lnTo>
                <a:lnTo>
                  <a:pt x="109" y="82"/>
                </a:lnTo>
                <a:lnTo>
                  <a:pt x="106" y="79"/>
                </a:lnTo>
                <a:lnTo>
                  <a:pt x="105" y="75"/>
                </a:lnTo>
                <a:lnTo>
                  <a:pt x="102" y="68"/>
                </a:lnTo>
                <a:lnTo>
                  <a:pt x="102" y="68"/>
                </a:lnTo>
                <a:lnTo>
                  <a:pt x="101" y="67"/>
                </a:lnTo>
                <a:lnTo>
                  <a:pt x="98" y="67"/>
                </a:lnTo>
                <a:lnTo>
                  <a:pt x="91" y="65"/>
                </a:lnTo>
                <a:lnTo>
                  <a:pt x="91" y="65"/>
                </a:lnTo>
                <a:lnTo>
                  <a:pt x="88" y="65"/>
                </a:lnTo>
                <a:lnTo>
                  <a:pt x="85" y="62"/>
                </a:lnTo>
                <a:lnTo>
                  <a:pt x="82" y="57"/>
                </a:lnTo>
                <a:lnTo>
                  <a:pt x="82" y="57"/>
                </a:lnTo>
                <a:lnTo>
                  <a:pt x="81" y="55"/>
                </a:lnTo>
                <a:lnTo>
                  <a:pt x="78" y="57"/>
                </a:lnTo>
                <a:lnTo>
                  <a:pt x="77" y="58"/>
                </a:lnTo>
                <a:lnTo>
                  <a:pt x="77" y="59"/>
                </a:lnTo>
                <a:lnTo>
                  <a:pt x="77" y="59"/>
                </a:lnTo>
                <a:lnTo>
                  <a:pt x="75" y="61"/>
                </a:lnTo>
                <a:lnTo>
                  <a:pt x="74" y="61"/>
                </a:lnTo>
                <a:lnTo>
                  <a:pt x="69" y="61"/>
                </a:lnTo>
                <a:lnTo>
                  <a:pt x="69" y="61"/>
                </a:lnTo>
                <a:lnTo>
                  <a:pt x="67" y="61"/>
                </a:lnTo>
                <a:lnTo>
                  <a:pt x="62" y="59"/>
                </a:lnTo>
                <a:lnTo>
                  <a:pt x="58" y="57"/>
                </a:lnTo>
                <a:lnTo>
                  <a:pt x="55" y="57"/>
                </a:lnTo>
                <a:lnTo>
                  <a:pt x="55" y="57"/>
                </a:lnTo>
                <a:lnTo>
                  <a:pt x="54" y="57"/>
                </a:lnTo>
                <a:lnTo>
                  <a:pt x="52" y="55"/>
                </a:lnTo>
                <a:lnTo>
                  <a:pt x="51" y="52"/>
                </a:lnTo>
                <a:lnTo>
                  <a:pt x="51" y="49"/>
                </a:lnTo>
                <a:lnTo>
                  <a:pt x="51" y="49"/>
                </a:lnTo>
                <a:lnTo>
                  <a:pt x="49" y="48"/>
                </a:lnTo>
                <a:lnTo>
                  <a:pt x="47" y="48"/>
                </a:lnTo>
                <a:lnTo>
                  <a:pt x="41" y="49"/>
                </a:lnTo>
                <a:lnTo>
                  <a:pt x="41" y="49"/>
                </a:lnTo>
                <a:lnTo>
                  <a:pt x="40" y="49"/>
                </a:lnTo>
                <a:lnTo>
                  <a:pt x="38" y="49"/>
                </a:lnTo>
                <a:lnTo>
                  <a:pt x="37" y="47"/>
                </a:lnTo>
                <a:lnTo>
                  <a:pt x="37" y="47"/>
                </a:lnTo>
                <a:lnTo>
                  <a:pt x="35" y="45"/>
                </a:lnTo>
                <a:lnTo>
                  <a:pt x="32" y="42"/>
                </a:lnTo>
                <a:lnTo>
                  <a:pt x="30" y="74"/>
                </a:lnTo>
                <a:lnTo>
                  <a:pt x="25" y="78"/>
                </a:lnTo>
                <a:lnTo>
                  <a:pt x="1" y="78"/>
                </a:lnTo>
                <a:lnTo>
                  <a:pt x="0" y="131"/>
                </a:lnTo>
                <a:lnTo>
                  <a:pt x="18" y="156"/>
                </a:lnTo>
                <a:lnTo>
                  <a:pt x="18" y="156"/>
                </a:lnTo>
                <a:lnTo>
                  <a:pt x="35" y="153"/>
                </a:lnTo>
                <a:lnTo>
                  <a:pt x="44" y="153"/>
                </a:lnTo>
                <a:lnTo>
                  <a:pt x="47" y="153"/>
                </a:lnTo>
                <a:lnTo>
                  <a:pt x="47" y="155"/>
                </a:lnTo>
                <a:lnTo>
                  <a:pt x="47" y="155"/>
                </a:lnTo>
                <a:lnTo>
                  <a:pt x="48" y="158"/>
                </a:lnTo>
                <a:lnTo>
                  <a:pt x="48" y="158"/>
                </a:lnTo>
                <a:lnTo>
                  <a:pt x="57" y="158"/>
                </a:lnTo>
                <a:lnTo>
                  <a:pt x="57" y="158"/>
                </a:lnTo>
                <a:lnTo>
                  <a:pt x="67" y="159"/>
                </a:lnTo>
                <a:lnTo>
                  <a:pt x="72" y="160"/>
                </a:lnTo>
                <a:lnTo>
                  <a:pt x="77" y="160"/>
                </a:lnTo>
                <a:lnTo>
                  <a:pt x="77" y="160"/>
                </a:lnTo>
                <a:lnTo>
                  <a:pt x="81" y="158"/>
                </a:lnTo>
                <a:lnTo>
                  <a:pt x="84" y="152"/>
                </a:lnTo>
                <a:lnTo>
                  <a:pt x="89" y="146"/>
                </a:lnTo>
                <a:lnTo>
                  <a:pt x="94" y="142"/>
                </a:lnTo>
                <a:lnTo>
                  <a:pt x="94" y="142"/>
                </a:lnTo>
                <a:lnTo>
                  <a:pt x="98" y="141"/>
                </a:lnTo>
                <a:lnTo>
                  <a:pt x="104" y="136"/>
                </a:lnTo>
                <a:lnTo>
                  <a:pt x="106" y="133"/>
                </a:lnTo>
                <a:lnTo>
                  <a:pt x="108" y="131"/>
                </a:lnTo>
                <a:lnTo>
                  <a:pt x="108" y="131"/>
                </a:lnTo>
                <a:lnTo>
                  <a:pt x="108" y="129"/>
                </a:lnTo>
                <a:lnTo>
                  <a:pt x="109" y="126"/>
                </a:lnTo>
                <a:lnTo>
                  <a:pt x="112" y="125"/>
                </a:lnTo>
                <a:lnTo>
                  <a:pt x="118" y="123"/>
                </a:lnTo>
                <a:lnTo>
                  <a:pt x="131" y="122"/>
                </a:lnTo>
                <a:lnTo>
                  <a:pt x="132" y="122"/>
                </a:lnTo>
                <a:lnTo>
                  <a:pt x="129" y="111"/>
                </a:lnTo>
                <a:lnTo>
                  <a:pt x="129" y="111"/>
                </a:lnTo>
                <a:lnTo>
                  <a:pt x="173" y="95"/>
                </a:lnTo>
                <a:lnTo>
                  <a:pt x="173" y="95"/>
                </a:lnTo>
                <a:lnTo>
                  <a:pt x="170" y="89"/>
                </a:lnTo>
                <a:lnTo>
                  <a:pt x="170" y="88"/>
                </a:lnTo>
                <a:lnTo>
                  <a:pt x="170" y="88"/>
                </a:lnTo>
                <a:lnTo>
                  <a:pt x="172" y="85"/>
                </a:lnTo>
                <a:lnTo>
                  <a:pt x="172" y="81"/>
                </a:lnTo>
                <a:lnTo>
                  <a:pt x="172" y="72"/>
                </a:lnTo>
                <a:lnTo>
                  <a:pt x="172" y="72"/>
                </a:lnTo>
                <a:lnTo>
                  <a:pt x="175" y="71"/>
                </a:lnTo>
                <a:lnTo>
                  <a:pt x="178" y="69"/>
                </a:lnTo>
                <a:lnTo>
                  <a:pt x="179" y="69"/>
                </a:lnTo>
                <a:lnTo>
                  <a:pt x="180" y="68"/>
                </a:lnTo>
                <a:lnTo>
                  <a:pt x="179" y="68"/>
                </a:lnTo>
                <a:lnTo>
                  <a:pt x="179" y="68"/>
                </a:lnTo>
                <a:lnTo>
                  <a:pt x="178" y="62"/>
                </a:lnTo>
                <a:lnTo>
                  <a:pt x="178" y="55"/>
                </a:lnTo>
                <a:lnTo>
                  <a:pt x="178" y="47"/>
                </a:lnTo>
                <a:lnTo>
                  <a:pt x="179" y="41"/>
                </a:lnTo>
                <a:lnTo>
                  <a:pt x="179" y="41"/>
                </a:lnTo>
                <a:lnTo>
                  <a:pt x="180" y="40"/>
                </a:lnTo>
                <a:lnTo>
                  <a:pt x="182" y="40"/>
                </a:lnTo>
                <a:lnTo>
                  <a:pt x="183" y="40"/>
                </a:lnTo>
                <a:lnTo>
                  <a:pt x="185" y="38"/>
                </a:lnTo>
                <a:lnTo>
                  <a:pt x="185" y="38"/>
                </a:lnTo>
                <a:lnTo>
                  <a:pt x="182" y="30"/>
                </a:lnTo>
                <a:lnTo>
                  <a:pt x="176" y="21"/>
                </a:lnTo>
                <a:lnTo>
                  <a:pt x="176" y="21"/>
                </a:lnTo>
                <a:lnTo>
                  <a:pt x="173" y="18"/>
                </a:lnTo>
                <a:lnTo>
                  <a:pt x="168" y="15"/>
                </a:lnTo>
                <a:lnTo>
                  <a:pt x="156" y="12"/>
                </a:lnTo>
                <a:lnTo>
                  <a:pt x="156" y="12"/>
                </a:lnTo>
                <a:lnTo>
                  <a:pt x="149" y="8"/>
                </a:lnTo>
                <a:lnTo>
                  <a:pt x="145" y="7"/>
                </a:lnTo>
                <a:lnTo>
                  <a:pt x="142" y="7"/>
                </a:lnTo>
                <a:lnTo>
                  <a:pt x="142" y="7"/>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1" name="Freeform 198">
            <a:extLst>
              <a:ext uri="{FF2B5EF4-FFF2-40B4-BE49-F238E27FC236}">
                <a16:creationId xmlns:a16="http://schemas.microsoft.com/office/drawing/2014/main" id="{89E0D96F-D9D0-CF8B-ED25-EE8D36959B3B}"/>
              </a:ext>
            </a:extLst>
          </p:cNvPr>
          <p:cNvSpPr>
            <a:spLocks/>
          </p:cNvSpPr>
          <p:nvPr userDrawn="1"/>
        </p:nvSpPr>
        <p:spPr bwMode="gray">
          <a:xfrm>
            <a:off x="4942645" y="3369358"/>
            <a:ext cx="39015" cy="33813"/>
          </a:xfrm>
          <a:custGeom>
            <a:avLst/>
            <a:gdLst/>
            <a:ahLst/>
            <a:cxnLst>
              <a:cxn ang="0">
                <a:pos x="26" y="0"/>
              </a:cxn>
              <a:cxn ang="0">
                <a:pos x="26" y="0"/>
              </a:cxn>
              <a:cxn ang="0">
                <a:pos x="17" y="3"/>
              </a:cxn>
              <a:cxn ang="0">
                <a:pos x="17" y="3"/>
              </a:cxn>
              <a:cxn ang="0">
                <a:pos x="13" y="5"/>
              </a:cxn>
              <a:cxn ang="0">
                <a:pos x="9" y="5"/>
              </a:cxn>
              <a:cxn ang="0">
                <a:pos x="9" y="5"/>
              </a:cxn>
              <a:cxn ang="0">
                <a:pos x="7" y="6"/>
              </a:cxn>
              <a:cxn ang="0">
                <a:pos x="7" y="6"/>
              </a:cxn>
              <a:cxn ang="0">
                <a:pos x="4" y="8"/>
              </a:cxn>
              <a:cxn ang="0">
                <a:pos x="3" y="12"/>
              </a:cxn>
              <a:cxn ang="0">
                <a:pos x="3" y="16"/>
              </a:cxn>
              <a:cxn ang="0">
                <a:pos x="3" y="16"/>
              </a:cxn>
              <a:cxn ang="0">
                <a:pos x="2" y="18"/>
              </a:cxn>
              <a:cxn ang="0">
                <a:pos x="0" y="19"/>
              </a:cxn>
              <a:cxn ang="0">
                <a:pos x="0" y="20"/>
              </a:cxn>
              <a:cxn ang="0">
                <a:pos x="0" y="20"/>
              </a:cxn>
              <a:cxn ang="0">
                <a:pos x="2" y="25"/>
              </a:cxn>
              <a:cxn ang="0">
                <a:pos x="3" y="26"/>
              </a:cxn>
              <a:cxn ang="0">
                <a:pos x="3" y="26"/>
              </a:cxn>
              <a:cxn ang="0">
                <a:pos x="9" y="26"/>
              </a:cxn>
              <a:cxn ang="0">
                <a:pos x="9" y="26"/>
              </a:cxn>
              <a:cxn ang="0">
                <a:pos x="13" y="26"/>
              </a:cxn>
              <a:cxn ang="0">
                <a:pos x="16" y="25"/>
              </a:cxn>
              <a:cxn ang="0">
                <a:pos x="17" y="22"/>
              </a:cxn>
              <a:cxn ang="0">
                <a:pos x="17" y="22"/>
              </a:cxn>
              <a:cxn ang="0">
                <a:pos x="17" y="22"/>
              </a:cxn>
              <a:cxn ang="0">
                <a:pos x="23" y="20"/>
              </a:cxn>
              <a:cxn ang="0">
                <a:pos x="29" y="20"/>
              </a:cxn>
              <a:cxn ang="0">
                <a:pos x="30" y="19"/>
              </a:cxn>
              <a:cxn ang="0">
                <a:pos x="30" y="18"/>
              </a:cxn>
              <a:cxn ang="0">
                <a:pos x="30" y="18"/>
              </a:cxn>
              <a:cxn ang="0">
                <a:pos x="30" y="15"/>
              </a:cxn>
              <a:cxn ang="0">
                <a:pos x="30" y="10"/>
              </a:cxn>
              <a:cxn ang="0">
                <a:pos x="29" y="8"/>
              </a:cxn>
              <a:cxn ang="0">
                <a:pos x="26" y="0"/>
              </a:cxn>
            </a:cxnLst>
            <a:rect l="0" t="0" r="r" b="b"/>
            <a:pathLst>
              <a:path w="30" h="26">
                <a:moveTo>
                  <a:pt x="26" y="0"/>
                </a:moveTo>
                <a:lnTo>
                  <a:pt x="26" y="0"/>
                </a:lnTo>
                <a:lnTo>
                  <a:pt x="17" y="3"/>
                </a:lnTo>
                <a:lnTo>
                  <a:pt x="17" y="3"/>
                </a:lnTo>
                <a:lnTo>
                  <a:pt x="13" y="5"/>
                </a:lnTo>
                <a:lnTo>
                  <a:pt x="9" y="5"/>
                </a:lnTo>
                <a:lnTo>
                  <a:pt x="9" y="5"/>
                </a:lnTo>
                <a:lnTo>
                  <a:pt x="7" y="6"/>
                </a:lnTo>
                <a:lnTo>
                  <a:pt x="7" y="6"/>
                </a:lnTo>
                <a:lnTo>
                  <a:pt x="4" y="8"/>
                </a:lnTo>
                <a:lnTo>
                  <a:pt x="3" y="12"/>
                </a:lnTo>
                <a:lnTo>
                  <a:pt x="3" y="16"/>
                </a:lnTo>
                <a:lnTo>
                  <a:pt x="3" y="16"/>
                </a:lnTo>
                <a:lnTo>
                  <a:pt x="2" y="18"/>
                </a:lnTo>
                <a:lnTo>
                  <a:pt x="0" y="19"/>
                </a:lnTo>
                <a:lnTo>
                  <a:pt x="0" y="20"/>
                </a:lnTo>
                <a:lnTo>
                  <a:pt x="0" y="20"/>
                </a:lnTo>
                <a:lnTo>
                  <a:pt x="2" y="25"/>
                </a:lnTo>
                <a:lnTo>
                  <a:pt x="3" y="26"/>
                </a:lnTo>
                <a:lnTo>
                  <a:pt x="3" y="26"/>
                </a:lnTo>
                <a:lnTo>
                  <a:pt x="9" y="26"/>
                </a:lnTo>
                <a:lnTo>
                  <a:pt x="9" y="26"/>
                </a:lnTo>
                <a:lnTo>
                  <a:pt x="13" y="26"/>
                </a:lnTo>
                <a:lnTo>
                  <a:pt x="16" y="25"/>
                </a:lnTo>
                <a:lnTo>
                  <a:pt x="17" y="22"/>
                </a:lnTo>
                <a:lnTo>
                  <a:pt x="17" y="22"/>
                </a:lnTo>
                <a:lnTo>
                  <a:pt x="17" y="22"/>
                </a:lnTo>
                <a:lnTo>
                  <a:pt x="23" y="20"/>
                </a:lnTo>
                <a:lnTo>
                  <a:pt x="29" y="20"/>
                </a:lnTo>
                <a:lnTo>
                  <a:pt x="30" y="19"/>
                </a:lnTo>
                <a:lnTo>
                  <a:pt x="30" y="18"/>
                </a:lnTo>
                <a:lnTo>
                  <a:pt x="30" y="18"/>
                </a:lnTo>
                <a:lnTo>
                  <a:pt x="30" y="15"/>
                </a:lnTo>
                <a:lnTo>
                  <a:pt x="30" y="10"/>
                </a:lnTo>
                <a:lnTo>
                  <a:pt x="29" y="8"/>
                </a:lnTo>
                <a:lnTo>
                  <a:pt x="26" y="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2" name="Freeform 199">
            <a:extLst>
              <a:ext uri="{FF2B5EF4-FFF2-40B4-BE49-F238E27FC236}">
                <a16:creationId xmlns:a16="http://schemas.microsoft.com/office/drawing/2014/main" id="{A31FAE57-BF6E-B9DF-CA32-936FCA59C8D9}"/>
              </a:ext>
            </a:extLst>
          </p:cNvPr>
          <p:cNvSpPr>
            <a:spLocks/>
          </p:cNvSpPr>
          <p:nvPr userDrawn="1"/>
        </p:nvSpPr>
        <p:spPr bwMode="gray">
          <a:xfrm>
            <a:off x="5194943" y="3092351"/>
            <a:ext cx="214584" cy="288713"/>
          </a:xfrm>
          <a:custGeom>
            <a:avLst/>
            <a:gdLst/>
            <a:ahLst/>
            <a:cxnLst>
              <a:cxn ang="0">
                <a:pos x="38" y="40"/>
              </a:cxn>
              <a:cxn ang="0">
                <a:pos x="47" y="48"/>
              </a:cxn>
              <a:cxn ang="0">
                <a:pos x="48" y="50"/>
              </a:cxn>
              <a:cxn ang="0">
                <a:pos x="81" y="61"/>
              </a:cxn>
              <a:cxn ang="0">
                <a:pos x="95" y="66"/>
              </a:cxn>
              <a:cxn ang="0">
                <a:pos x="104" y="66"/>
              </a:cxn>
              <a:cxn ang="0">
                <a:pos x="109" y="68"/>
              </a:cxn>
              <a:cxn ang="0">
                <a:pos x="109" y="70"/>
              </a:cxn>
              <a:cxn ang="0">
                <a:pos x="67" y="112"/>
              </a:cxn>
              <a:cxn ang="0">
                <a:pos x="59" y="115"/>
              </a:cxn>
              <a:cxn ang="0">
                <a:pos x="48" y="115"/>
              </a:cxn>
              <a:cxn ang="0">
                <a:pos x="41" y="117"/>
              </a:cxn>
              <a:cxn ang="0">
                <a:pos x="30" y="125"/>
              </a:cxn>
              <a:cxn ang="0">
                <a:pos x="27" y="127"/>
              </a:cxn>
              <a:cxn ang="0">
                <a:pos x="7" y="139"/>
              </a:cxn>
              <a:cxn ang="0">
                <a:pos x="0" y="209"/>
              </a:cxn>
              <a:cxn ang="0">
                <a:pos x="8" y="222"/>
              </a:cxn>
              <a:cxn ang="0">
                <a:pos x="44" y="184"/>
              </a:cxn>
              <a:cxn ang="0">
                <a:pos x="52" y="175"/>
              </a:cxn>
              <a:cxn ang="0">
                <a:pos x="72" y="162"/>
              </a:cxn>
              <a:cxn ang="0">
                <a:pos x="79" y="157"/>
              </a:cxn>
              <a:cxn ang="0">
                <a:pos x="101" y="135"/>
              </a:cxn>
              <a:cxn ang="0">
                <a:pos x="112" y="124"/>
              </a:cxn>
              <a:cxn ang="0">
                <a:pos x="128" y="100"/>
              </a:cxn>
              <a:cxn ang="0">
                <a:pos x="131" y="94"/>
              </a:cxn>
              <a:cxn ang="0">
                <a:pos x="135" y="81"/>
              </a:cxn>
              <a:cxn ang="0">
                <a:pos x="145" y="68"/>
              </a:cxn>
              <a:cxn ang="0">
                <a:pos x="153" y="53"/>
              </a:cxn>
              <a:cxn ang="0">
                <a:pos x="159" y="37"/>
              </a:cxn>
              <a:cxn ang="0">
                <a:pos x="160" y="31"/>
              </a:cxn>
              <a:cxn ang="0">
                <a:pos x="163" y="17"/>
              </a:cxn>
              <a:cxn ang="0">
                <a:pos x="165" y="9"/>
              </a:cxn>
              <a:cxn ang="0">
                <a:pos x="163" y="3"/>
              </a:cxn>
              <a:cxn ang="0">
                <a:pos x="158" y="0"/>
              </a:cxn>
              <a:cxn ang="0">
                <a:pos x="155" y="3"/>
              </a:cxn>
              <a:cxn ang="0">
                <a:pos x="149" y="7"/>
              </a:cxn>
              <a:cxn ang="0">
                <a:pos x="129" y="13"/>
              </a:cxn>
              <a:cxn ang="0">
                <a:pos x="118" y="13"/>
              </a:cxn>
              <a:cxn ang="0">
                <a:pos x="96" y="16"/>
              </a:cxn>
              <a:cxn ang="0">
                <a:pos x="92" y="19"/>
              </a:cxn>
              <a:cxn ang="0">
                <a:pos x="88" y="21"/>
              </a:cxn>
              <a:cxn ang="0">
                <a:pos x="77" y="21"/>
              </a:cxn>
              <a:cxn ang="0">
                <a:pos x="72" y="23"/>
              </a:cxn>
              <a:cxn ang="0">
                <a:pos x="67" y="26"/>
              </a:cxn>
              <a:cxn ang="0">
                <a:pos x="55" y="27"/>
              </a:cxn>
              <a:cxn ang="0">
                <a:pos x="48" y="24"/>
              </a:cxn>
              <a:cxn ang="0">
                <a:pos x="45" y="21"/>
              </a:cxn>
              <a:cxn ang="0">
                <a:pos x="37" y="11"/>
              </a:cxn>
              <a:cxn ang="0">
                <a:pos x="31" y="20"/>
              </a:cxn>
              <a:cxn ang="0">
                <a:pos x="28" y="26"/>
              </a:cxn>
              <a:cxn ang="0">
                <a:pos x="32" y="34"/>
              </a:cxn>
              <a:cxn ang="0">
                <a:pos x="38" y="40"/>
              </a:cxn>
            </a:cxnLst>
            <a:rect l="0" t="0" r="r" b="b"/>
            <a:pathLst>
              <a:path w="165" h="222">
                <a:moveTo>
                  <a:pt x="38" y="40"/>
                </a:moveTo>
                <a:lnTo>
                  <a:pt x="38" y="40"/>
                </a:lnTo>
                <a:lnTo>
                  <a:pt x="44" y="46"/>
                </a:lnTo>
                <a:lnTo>
                  <a:pt x="47" y="48"/>
                </a:lnTo>
                <a:lnTo>
                  <a:pt x="48" y="50"/>
                </a:lnTo>
                <a:lnTo>
                  <a:pt x="48" y="50"/>
                </a:lnTo>
                <a:lnTo>
                  <a:pt x="62" y="54"/>
                </a:lnTo>
                <a:lnTo>
                  <a:pt x="81" y="61"/>
                </a:lnTo>
                <a:lnTo>
                  <a:pt x="81" y="61"/>
                </a:lnTo>
                <a:lnTo>
                  <a:pt x="95" y="66"/>
                </a:lnTo>
                <a:lnTo>
                  <a:pt x="104" y="66"/>
                </a:lnTo>
                <a:lnTo>
                  <a:pt x="104" y="66"/>
                </a:lnTo>
                <a:lnTo>
                  <a:pt x="108" y="67"/>
                </a:lnTo>
                <a:lnTo>
                  <a:pt x="109" y="68"/>
                </a:lnTo>
                <a:lnTo>
                  <a:pt x="109" y="70"/>
                </a:lnTo>
                <a:lnTo>
                  <a:pt x="109" y="70"/>
                </a:lnTo>
                <a:lnTo>
                  <a:pt x="67" y="112"/>
                </a:lnTo>
                <a:lnTo>
                  <a:pt x="67" y="112"/>
                </a:lnTo>
                <a:lnTo>
                  <a:pt x="62" y="115"/>
                </a:lnTo>
                <a:lnTo>
                  <a:pt x="59" y="115"/>
                </a:lnTo>
                <a:lnTo>
                  <a:pt x="48" y="115"/>
                </a:lnTo>
                <a:lnTo>
                  <a:pt x="48" y="115"/>
                </a:lnTo>
                <a:lnTo>
                  <a:pt x="44" y="117"/>
                </a:lnTo>
                <a:lnTo>
                  <a:pt x="41" y="117"/>
                </a:lnTo>
                <a:lnTo>
                  <a:pt x="35" y="121"/>
                </a:lnTo>
                <a:lnTo>
                  <a:pt x="30" y="125"/>
                </a:lnTo>
                <a:lnTo>
                  <a:pt x="27" y="127"/>
                </a:lnTo>
                <a:lnTo>
                  <a:pt x="27" y="127"/>
                </a:lnTo>
                <a:lnTo>
                  <a:pt x="14" y="128"/>
                </a:lnTo>
                <a:lnTo>
                  <a:pt x="7" y="139"/>
                </a:lnTo>
                <a:lnTo>
                  <a:pt x="0" y="151"/>
                </a:lnTo>
                <a:lnTo>
                  <a:pt x="0" y="209"/>
                </a:lnTo>
                <a:lnTo>
                  <a:pt x="8" y="222"/>
                </a:lnTo>
                <a:lnTo>
                  <a:pt x="8" y="222"/>
                </a:lnTo>
                <a:lnTo>
                  <a:pt x="24" y="205"/>
                </a:lnTo>
                <a:lnTo>
                  <a:pt x="44" y="184"/>
                </a:lnTo>
                <a:lnTo>
                  <a:pt x="44" y="184"/>
                </a:lnTo>
                <a:lnTo>
                  <a:pt x="52" y="175"/>
                </a:lnTo>
                <a:lnTo>
                  <a:pt x="59" y="169"/>
                </a:lnTo>
                <a:lnTo>
                  <a:pt x="72" y="162"/>
                </a:lnTo>
                <a:lnTo>
                  <a:pt x="72" y="162"/>
                </a:lnTo>
                <a:lnTo>
                  <a:pt x="79" y="157"/>
                </a:lnTo>
                <a:lnTo>
                  <a:pt x="89" y="148"/>
                </a:lnTo>
                <a:lnTo>
                  <a:pt x="101" y="135"/>
                </a:lnTo>
                <a:lnTo>
                  <a:pt x="112" y="124"/>
                </a:lnTo>
                <a:lnTo>
                  <a:pt x="112" y="124"/>
                </a:lnTo>
                <a:lnTo>
                  <a:pt x="123" y="107"/>
                </a:lnTo>
                <a:lnTo>
                  <a:pt x="128" y="100"/>
                </a:lnTo>
                <a:lnTo>
                  <a:pt x="131" y="94"/>
                </a:lnTo>
                <a:lnTo>
                  <a:pt x="131" y="94"/>
                </a:lnTo>
                <a:lnTo>
                  <a:pt x="132" y="87"/>
                </a:lnTo>
                <a:lnTo>
                  <a:pt x="135" y="81"/>
                </a:lnTo>
                <a:lnTo>
                  <a:pt x="145" y="68"/>
                </a:lnTo>
                <a:lnTo>
                  <a:pt x="145" y="68"/>
                </a:lnTo>
                <a:lnTo>
                  <a:pt x="149" y="61"/>
                </a:lnTo>
                <a:lnTo>
                  <a:pt x="153" y="53"/>
                </a:lnTo>
                <a:lnTo>
                  <a:pt x="158" y="43"/>
                </a:lnTo>
                <a:lnTo>
                  <a:pt x="159" y="37"/>
                </a:lnTo>
                <a:lnTo>
                  <a:pt x="159" y="37"/>
                </a:lnTo>
                <a:lnTo>
                  <a:pt x="160" y="31"/>
                </a:lnTo>
                <a:lnTo>
                  <a:pt x="162" y="24"/>
                </a:lnTo>
                <a:lnTo>
                  <a:pt x="163" y="17"/>
                </a:lnTo>
                <a:lnTo>
                  <a:pt x="165" y="9"/>
                </a:lnTo>
                <a:lnTo>
                  <a:pt x="165" y="9"/>
                </a:lnTo>
                <a:lnTo>
                  <a:pt x="165" y="6"/>
                </a:lnTo>
                <a:lnTo>
                  <a:pt x="163" y="3"/>
                </a:lnTo>
                <a:lnTo>
                  <a:pt x="160" y="0"/>
                </a:lnTo>
                <a:lnTo>
                  <a:pt x="158" y="0"/>
                </a:lnTo>
                <a:lnTo>
                  <a:pt x="155" y="3"/>
                </a:lnTo>
                <a:lnTo>
                  <a:pt x="155" y="3"/>
                </a:lnTo>
                <a:lnTo>
                  <a:pt x="152" y="6"/>
                </a:lnTo>
                <a:lnTo>
                  <a:pt x="149" y="7"/>
                </a:lnTo>
                <a:lnTo>
                  <a:pt x="141" y="10"/>
                </a:lnTo>
                <a:lnTo>
                  <a:pt x="129" y="13"/>
                </a:lnTo>
                <a:lnTo>
                  <a:pt x="118" y="13"/>
                </a:lnTo>
                <a:lnTo>
                  <a:pt x="118" y="13"/>
                </a:lnTo>
                <a:lnTo>
                  <a:pt x="102" y="14"/>
                </a:lnTo>
                <a:lnTo>
                  <a:pt x="96" y="16"/>
                </a:lnTo>
                <a:lnTo>
                  <a:pt x="92" y="19"/>
                </a:lnTo>
                <a:lnTo>
                  <a:pt x="92" y="19"/>
                </a:lnTo>
                <a:lnTo>
                  <a:pt x="91" y="20"/>
                </a:lnTo>
                <a:lnTo>
                  <a:pt x="88" y="21"/>
                </a:lnTo>
                <a:lnTo>
                  <a:pt x="82" y="21"/>
                </a:lnTo>
                <a:lnTo>
                  <a:pt x="77" y="21"/>
                </a:lnTo>
                <a:lnTo>
                  <a:pt x="74" y="21"/>
                </a:lnTo>
                <a:lnTo>
                  <a:pt x="72" y="23"/>
                </a:lnTo>
                <a:lnTo>
                  <a:pt x="72" y="23"/>
                </a:lnTo>
                <a:lnTo>
                  <a:pt x="67" y="26"/>
                </a:lnTo>
                <a:lnTo>
                  <a:pt x="59" y="29"/>
                </a:lnTo>
                <a:lnTo>
                  <a:pt x="55" y="27"/>
                </a:lnTo>
                <a:lnTo>
                  <a:pt x="51" y="27"/>
                </a:lnTo>
                <a:lnTo>
                  <a:pt x="48" y="24"/>
                </a:lnTo>
                <a:lnTo>
                  <a:pt x="45" y="21"/>
                </a:lnTo>
                <a:lnTo>
                  <a:pt x="45" y="21"/>
                </a:lnTo>
                <a:lnTo>
                  <a:pt x="41" y="16"/>
                </a:lnTo>
                <a:lnTo>
                  <a:pt x="37" y="11"/>
                </a:lnTo>
                <a:lnTo>
                  <a:pt x="37" y="11"/>
                </a:lnTo>
                <a:lnTo>
                  <a:pt x="31" y="20"/>
                </a:lnTo>
                <a:lnTo>
                  <a:pt x="28" y="23"/>
                </a:lnTo>
                <a:lnTo>
                  <a:pt x="28" y="26"/>
                </a:lnTo>
                <a:lnTo>
                  <a:pt x="28" y="26"/>
                </a:lnTo>
                <a:lnTo>
                  <a:pt x="32" y="34"/>
                </a:lnTo>
                <a:lnTo>
                  <a:pt x="35" y="37"/>
                </a:lnTo>
                <a:lnTo>
                  <a:pt x="38" y="40"/>
                </a:lnTo>
                <a:lnTo>
                  <a:pt x="38" y="4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3" name="Freeform 200">
            <a:extLst>
              <a:ext uri="{FF2B5EF4-FFF2-40B4-BE49-F238E27FC236}">
                <a16:creationId xmlns:a16="http://schemas.microsoft.com/office/drawing/2014/main" id="{30A9B69F-1BBD-F0EB-1707-DD3F7E6AB38D}"/>
              </a:ext>
            </a:extLst>
          </p:cNvPr>
          <p:cNvSpPr>
            <a:spLocks/>
          </p:cNvSpPr>
          <p:nvPr userDrawn="1"/>
        </p:nvSpPr>
        <p:spPr bwMode="gray">
          <a:xfrm>
            <a:off x="4079107" y="2559142"/>
            <a:ext cx="250999" cy="200278"/>
          </a:xfrm>
          <a:custGeom>
            <a:avLst/>
            <a:gdLst/>
            <a:ahLst/>
            <a:cxnLst>
              <a:cxn ang="0">
                <a:pos x="71" y="131"/>
              </a:cxn>
              <a:cxn ang="0">
                <a:pos x="82" y="123"/>
              </a:cxn>
              <a:cxn ang="0">
                <a:pos x="99" y="114"/>
              </a:cxn>
              <a:cxn ang="0">
                <a:pos x="107" y="111"/>
              </a:cxn>
              <a:cxn ang="0">
                <a:pos x="108" y="110"/>
              </a:cxn>
              <a:cxn ang="0">
                <a:pos x="121" y="108"/>
              </a:cxn>
              <a:cxn ang="0">
                <a:pos x="129" y="103"/>
              </a:cxn>
              <a:cxn ang="0">
                <a:pos x="131" y="97"/>
              </a:cxn>
              <a:cxn ang="0">
                <a:pos x="142" y="94"/>
              </a:cxn>
              <a:cxn ang="0">
                <a:pos x="148" y="91"/>
              </a:cxn>
              <a:cxn ang="0">
                <a:pos x="151" y="90"/>
              </a:cxn>
              <a:cxn ang="0">
                <a:pos x="151" y="80"/>
              </a:cxn>
              <a:cxn ang="0">
                <a:pos x="156" y="76"/>
              </a:cxn>
              <a:cxn ang="0">
                <a:pos x="165" y="73"/>
              </a:cxn>
              <a:cxn ang="0">
                <a:pos x="166" y="70"/>
              </a:cxn>
              <a:cxn ang="0">
                <a:pos x="189" y="69"/>
              </a:cxn>
              <a:cxn ang="0">
                <a:pos x="192" y="67"/>
              </a:cxn>
              <a:cxn ang="0">
                <a:pos x="191" y="57"/>
              </a:cxn>
              <a:cxn ang="0">
                <a:pos x="186" y="52"/>
              </a:cxn>
              <a:cxn ang="0">
                <a:pos x="186" y="37"/>
              </a:cxn>
              <a:cxn ang="0">
                <a:pos x="183" y="25"/>
              </a:cxn>
              <a:cxn ang="0">
                <a:pos x="178" y="16"/>
              </a:cxn>
              <a:cxn ang="0">
                <a:pos x="169" y="13"/>
              </a:cxn>
              <a:cxn ang="0">
                <a:pos x="159" y="12"/>
              </a:cxn>
              <a:cxn ang="0">
                <a:pos x="135" y="10"/>
              </a:cxn>
              <a:cxn ang="0">
                <a:pos x="128" y="5"/>
              </a:cxn>
              <a:cxn ang="0">
                <a:pos x="118" y="2"/>
              </a:cxn>
              <a:cxn ang="0">
                <a:pos x="109" y="16"/>
              </a:cxn>
              <a:cxn ang="0">
                <a:pos x="99" y="35"/>
              </a:cxn>
              <a:cxn ang="0">
                <a:pos x="81" y="44"/>
              </a:cxn>
              <a:cxn ang="0">
                <a:pos x="74" y="46"/>
              </a:cxn>
              <a:cxn ang="0">
                <a:pos x="67" y="56"/>
              </a:cxn>
              <a:cxn ang="0">
                <a:pos x="61" y="63"/>
              </a:cxn>
              <a:cxn ang="0">
                <a:pos x="54" y="74"/>
              </a:cxn>
              <a:cxn ang="0">
                <a:pos x="51" y="80"/>
              </a:cxn>
              <a:cxn ang="0">
                <a:pos x="54" y="100"/>
              </a:cxn>
              <a:cxn ang="0">
                <a:pos x="54" y="106"/>
              </a:cxn>
              <a:cxn ang="0">
                <a:pos x="35" y="126"/>
              </a:cxn>
              <a:cxn ang="0">
                <a:pos x="25" y="134"/>
              </a:cxn>
              <a:cxn ang="0">
                <a:pos x="13" y="141"/>
              </a:cxn>
              <a:cxn ang="0">
                <a:pos x="0" y="147"/>
              </a:cxn>
              <a:cxn ang="0">
                <a:pos x="67" y="148"/>
              </a:cxn>
              <a:cxn ang="0">
                <a:pos x="71" y="154"/>
              </a:cxn>
            </a:cxnLst>
            <a:rect l="0" t="0" r="r" b="b"/>
            <a:pathLst>
              <a:path w="193" h="154">
                <a:moveTo>
                  <a:pt x="71" y="154"/>
                </a:moveTo>
                <a:lnTo>
                  <a:pt x="71" y="154"/>
                </a:lnTo>
                <a:lnTo>
                  <a:pt x="71" y="131"/>
                </a:lnTo>
                <a:lnTo>
                  <a:pt x="71" y="131"/>
                </a:lnTo>
                <a:lnTo>
                  <a:pt x="75" y="128"/>
                </a:lnTo>
                <a:lnTo>
                  <a:pt x="82" y="123"/>
                </a:lnTo>
                <a:lnTo>
                  <a:pt x="97" y="114"/>
                </a:lnTo>
                <a:lnTo>
                  <a:pt x="97" y="114"/>
                </a:lnTo>
                <a:lnTo>
                  <a:pt x="99" y="114"/>
                </a:lnTo>
                <a:lnTo>
                  <a:pt x="104" y="114"/>
                </a:lnTo>
                <a:lnTo>
                  <a:pt x="107" y="114"/>
                </a:lnTo>
                <a:lnTo>
                  <a:pt x="107" y="111"/>
                </a:lnTo>
                <a:lnTo>
                  <a:pt x="107" y="111"/>
                </a:lnTo>
                <a:lnTo>
                  <a:pt x="108" y="110"/>
                </a:lnTo>
                <a:lnTo>
                  <a:pt x="108" y="110"/>
                </a:lnTo>
                <a:lnTo>
                  <a:pt x="112" y="108"/>
                </a:lnTo>
                <a:lnTo>
                  <a:pt x="121" y="108"/>
                </a:lnTo>
                <a:lnTo>
                  <a:pt x="121" y="108"/>
                </a:lnTo>
                <a:lnTo>
                  <a:pt x="125" y="107"/>
                </a:lnTo>
                <a:lnTo>
                  <a:pt x="128" y="106"/>
                </a:lnTo>
                <a:lnTo>
                  <a:pt x="129" y="103"/>
                </a:lnTo>
                <a:lnTo>
                  <a:pt x="129" y="99"/>
                </a:lnTo>
                <a:lnTo>
                  <a:pt x="129" y="99"/>
                </a:lnTo>
                <a:lnTo>
                  <a:pt x="131" y="97"/>
                </a:lnTo>
                <a:lnTo>
                  <a:pt x="134" y="96"/>
                </a:lnTo>
                <a:lnTo>
                  <a:pt x="142" y="94"/>
                </a:lnTo>
                <a:lnTo>
                  <a:pt x="142" y="94"/>
                </a:lnTo>
                <a:lnTo>
                  <a:pt x="145" y="94"/>
                </a:lnTo>
                <a:lnTo>
                  <a:pt x="146" y="93"/>
                </a:lnTo>
                <a:lnTo>
                  <a:pt x="148" y="91"/>
                </a:lnTo>
                <a:lnTo>
                  <a:pt x="149" y="90"/>
                </a:lnTo>
                <a:lnTo>
                  <a:pt x="149" y="90"/>
                </a:lnTo>
                <a:lnTo>
                  <a:pt x="151" y="90"/>
                </a:lnTo>
                <a:lnTo>
                  <a:pt x="151" y="87"/>
                </a:lnTo>
                <a:lnTo>
                  <a:pt x="151" y="80"/>
                </a:lnTo>
                <a:lnTo>
                  <a:pt x="151" y="80"/>
                </a:lnTo>
                <a:lnTo>
                  <a:pt x="152" y="76"/>
                </a:lnTo>
                <a:lnTo>
                  <a:pt x="156" y="76"/>
                </a:lnTo>
                <a:lnTo>
                  <a:pt x="156" y="76"/>
                </a:lnTo>
                <a:lnTo>
                  <a:pt x="159" y="76"/>
                </a:lnTo>
                <a:lnTo>
                  <a:pt x="163" y="74"/>
                </a:lnTo>
                <a:lnTo>
                  <a:pt x="165" y="73"/>
                </a:lnTo>
                <a:lnTo>
                  <a:pt x="166" y="70"/>
                </a:lnTo>
                <a:lnTo>
                  <a:pt x="166" y="70"/>
                </a:lnTo>
                <a:lnTo>
                  <a:pt x="166" y="70"/>
                </a:lnTo>
                <a:lnTo>
                  <a:pt x="169" y="69"/>
                </a:lnTo>
                <a:lnTo>
                  <a:pt x="176" y="69"/>
                </a:lnTo>
                <a:lnTo>
                  <a:pt x="189" y="69"/>
                </a:lnTo>
                <a:lnTo>
                  <a:pt x="189" y="69"/>
                </a:lnTo>
                <a:lnTo>
                  <a:pt x="192" y="69"/>
                </a:lnTo>
                <a:lnTo>
                  <a:pt x="192" y="67"/>
                </a:lnTo>
                <a:lnTo>
                  <a:pt x="193" y="63"/>
                </a:lnTo>
                <a:lnTo>
                  <a:pt x="193" y="63"/>
                </a:lnTo>
                <a:lnTo>
                  <a:pt x="191" y="57"/>
                </a:lnTo>
                <a:lnTo>
                  <a:pt x="189" y="53"/>
                </a:lnTo>
                <a:lnTo>
                  <a:pt x="186" y="52"/>
                </a:lnTo>
                <a:lnTo>
                  <a:pt x="186" y="52"/>
                </a:lnTo>
                <a:lnTo>
                  <a:pt x="185" y="50"/>
                </a:lnTo>
                <a:lnTo>
                  <a:pt x="185" y="47"/>
                </a:lnTo>
                <a:lnTo>
                  <a:pt x="186" y="37"/>
                </a:lnTo>
                <a:lnTo>
                  <a:pt x="186" y="37"/>
                </a:lnTo>
                <a:lnTo>
                  <a:pt x="185" y="29"/>
                </a:lnTo>
                <a:lnTo>
                  <a:pt x="183" y="25"/>
                </a:lnTo>
                <a:lnTo>
                  <a:pt x="181" y="20"/>
                </a:lnTo>
                <a:lnTo>
                  <a:pt x="181" y="20"/>
                </a:lnTo>
                <a:lnTo>
                  <a:pt x="178" y="16"/>
                </a:lnTo>
                <a:lnTo>
                  <a:pt x="178" y="16"/>
                </a:lnTo>
                <a:lnTo>
                  <a:pt x="173" y="15"/>
                </a:lnTo>
                <a:lnTo>
                  <a:pt x="169" y="13"/>
                </a:lnTo>
                <a:lnTo>
                  <a:pt x="165" y="12"/>
                </a:lnTo>
                <a:lnTo>
                  <a:pt x="159" y="12"/>
                </a:lnTo>
                <a:lnTo>
                  <a:pt x="159" y="12"/>
                </a:lnTo>
                <a:lnTo>
                  <a:pt x="145" y="13"/>
                </a:lnTo>
                <a:lnTo>
                  <a:pt x="138" y="12"/>
                </a:lnTo>
                <a:lnTo>
                  <a:pt x="135" y="10"/>
                </a:lnTo>
                <a:lnTo>
                  <a:pt x="132" y="9"/>
                </a:lnTo>
                <a:lnTo>
                  <a:pt x="132" y="9"/>
                </a:lnTo>
                <a:lnTo>
                  <a:pt x="128" y="5"/>
                </a:lnTo>
                <a:lnTo>
                  <a:pt x="124" y="2"/>
                </a:lnTo>
                <a:lnTo>
                  <a:pt x="121" y="0"/>
                </a:lnTo>
                <a:lnTo>
                  <a:pt x="118" y="2"/>
                </a:lnTo>
                <a:lnTo>
                  <a:pt x="118" y="2"/>
                </a:lnTo>
                <a:lnTo>
                  <a:pt x="114" y="6"/>
                </a:lnTo>
                <a:lnTo>
                  <a:pt x="109" y="16"/>
                </a:lnTo>
                <a:lnTo>
                  <a:pt x="104" y="26"/>
                </a:lnTo>
                <a:lnTo>
                  <a:pt x="99" y="35"/>
                </a:lnTo>
                <a:lnTo>
                  <a:pt x="99" y="35"/>
                </a:lnTo>
                <a:lnTo>
                  <a:pt x="95" y="39"/>
                </a:lnTo>
                <a:lnTo>
                  <a:pt x="88" y="43"/>
                </a:lnTo>
                <a:lnTo>
                  <a:pt x="81" y="44"/>
                </a:lnTo>
                <a:lnTo>
                  <a:pt x="75" y="46"/>
                </a:lnTo>
                <a:lnTo>
                  <a:pt x="75" y="46"/>
                </a:lnTo>
                <a:lnTo>
                  <a:pt x="74" y="46"/>
                </a:lnTo>
                <a:lnTo>
                  <a:pt x="71" y="47"/>
                </a:lnTo>
                <a:lnTo>
                  <a:pt x="70" y="52"/>
                </a:lnTo>
                <a:lnTo>
                  <a:pt x="67" y="56"/>
                </a:lnTo>
                <a:lnTo>
                  <a:pt x="64" y="60"/>
                </a:lnTo>
                <a:lnTo>
                  <a:pt x="64" y="60"/>
                </a:lnTo>
                <a:lnTo>
                  <a:pt x="61" y="63"/>
                </a:lnTo>
                <a:lnTo>
                  <a:pt x="60" y="67"/>
                </a:lnTo>
                <a:lnTo>
                  <a:pt x="58" y="72"/>
                </a:lnTo>
                <a:lnTo>
                  <a:pt x="54" y="74"/>
                </a:lnTo>
                <a:lnTo>
                  <a:pt x="54" y="74"/>
                </a:lnTo>
                <a:lnTo>
                  <a:pt x="53" y="77"/>
                </a:lnTo>
                <a:lnTo>
                  <a:pt x="51" y="80"/>
                </a:lnTo>
                <a:lnTo>
                  <a:pt x="51" y="87"/>
                </a:lnTo>
                <a:lnTo>
                  <a:pt x="53" y="94"/>
                </a:lnTo>
                <a:lnTo>
                  <a:pt x="54" y="100"/>
                </a:lnTo>
                <a:lnTo>
                  <a:pt x="54" y="100"/>
                </a:lnTo>
                <a:lnTo>
                  <a:pt x="55" y="101"/>
                </a:lnTo>
                <a:lnTo>
                  <a:pt x="54" y="106"/>
                </a:lnTo>
                <a:lnTo>
                  <a:pt x="50" y="113"/>
                </a:lnTo>
                <a:lnTo>
                  <a:pt x="43" y="120"/>
                </a:lnTo>
                <a:lnTo>
                  <a:pt x="35" y="126"/>
                </a:lnTo>
                <a:lnTo>
                  <a:pt x="35" y="126"/>
                </a:lnTo>
                <a:lnTo>
                  <a:pt x="30" y="130"/>
                </a:lnTo>
                <a:lnTo>
                  <a:pt x="25" y="134"/>
                </a:lnTo>
                <a:lnTo>
                  <a:pt x="20" y="138"/>
                </a:lnTo>
                <a:lnTo>
                  <a:pt x="13" y="141"/>
                </a:lnTo>
                <a:lnTo>
                  <a:pt x="13" y="141"/>
                </a:lnTo>
                <a:lnTo>
                  <a:pt x="6" y="144"/>
                </a:lnTo>
                <a:lnTo>
                  <a:pt x="0" y="147"/>
                </a:lnTo>
                <a:lnTo>
                  <a:pt x="0" y="147"/>
                </a:lnTo>
                <a:lnTo>
                  <a:pt x="60" y="147"/>
                </a:lnTo>
                <a:lnTo>
                  <a:pt x="60" y="147"/>
                </a:lnTo>
                <a:lnTo>
                  <a:pt x="67" y="148"/>
                </a:lnTo>
                <a:lnTo>
                  <a:pt x="70" y="150"/>
                </a:lnTo>
                <a:lnTo>
                  <a:pt x="71" y="154"/>
                </a:lnTo>
                <a:lnTo>
                  <a:pt x="71" y="15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4" name="Freeform 201">
            <a:extLst>
              <a:ext uri="{FF2B5EF4-FFF2-40B4-BE49-F238E27FC236}">
                <a16:creationId xmlns:a16="http://schemas.microsoft.com/office/drawing/2014/main" id="{11B97E25-B5D8-C7F5-75E3-0D62DB2DE037}"/>
              </a:ext>
            </a:extLst>
          </p:cNvPr>
          <p:cNvSpPr>
            <a:spLocks/>
          </p:cNvSpPr>
          <p:nvPr userDrawn="1"/>
        </p:nvSpPr>
        <p:spPr bwMode="gray">
          <a:xfrm>
            <a:off x="4509575" y="2524027"/>
            <a:ext cx="87135" cy="169066"/>
          </a:xfrm>
          <a:custGeom>
            <a:avLst/>
            <a:gdLst/>
            <a:ahLst/>
            <a:cxnLst>
              <a:cxn ang="0">
                <a:pos x="17" y="32"/>
              </a:cxn>
              <a:cxn ang="0">
                <a:pos x="17" y="42"/>
              </a:cxn>
              <a:cxn ang="0">
                <a:pos x="13" y="49"/>
              </a:cxn>
              <a:cxn ang="0">
                <a:pos x="10" y="52"/>
              </a:cxn>
              <a:cxn ang="0">
                <a:pos x="5" y="59"/>
              </a:cxn>
              <a:cxn ang="0">
                <a:pos x="2" y="60"/>
              </a:cxn>
              <a:cxn ang="0">
                <a:pos x="0" y="62"/>
              </a:cxn>
              <a:cxn ang="0">
                <a:pos x="5" y="73"/>
              </a:cxn>
              <a:cxn ang="0">
                <a:pos x="9" y="77"/>
              </a:cxn>
              <a:cxn ang="0">
                <a:pos x="15" y="81"/>
              </a:cxn>
              <a:cxn ang="0">
                <a:pos x="16" y="87"/>
              </a:cxn>
              <a:cxn ang="0">
                <a:pos x="20" y="91"/>
              </a:cxn>
              <a:cxn ang="0">
                <a:pos x="27" y="97"/>
              </a:cxn>
              <a:cxn ang="0">
                <a:pos x="30" y="101"/>
              </a:cxn>
              <a:cxn ang="0">
                <a:pos x="34" y="118"/>
              </a:cxn>
              <a:cxn ang="0">
                <a:pos x="36" y="126"/>
              </a:cxn>
              <a:cxn ang="0">
                <a:pos x="37" y="130"/>
              </a:cxn>
              <a:cxn ang="0">
                <a:pos x="43" y="123"/>
              </a:cxn>
              <a:cxn ang="0">
                <a:pos x="46" y="116"/>
              </a:cxn>
              <a:cxn ang="0">
                <a:pos x="46" y="110"/>
              </a:cxn>
              <a:cxn ang="0">
                <a:pos x="47" y="103"/>
              </a:cxn>
              <a:cxn ang="0">
                <a:pos x="54" y="97"/>
              </a:cxn>
              <a:cxn ang="0">
                <a:pos x="60" y="91"/>
              </a:cxn>
              <a:cxn ang="0">
                <a:pos x="66" y="90"/>
              </a:cxn>
              <a:cxn ang="0">
                <a:pos x="67" y="87"/>
              </a:cxn>
              <a:cxn ang="0">
                <a:pos x="67" y="79"/>
              </a:cxn>
              <a:cxn ang="0">
                <a:pos x="62" y="71"/>
              </a:cxn>
              <a:cxn ang="0">
                <a:pos x="60" y="69"/>
              </a:cxn>
              <a:cxn ang="0">
                <a:pos x="56" y="66"/>
              </a:cxn>
              <a:cxn ang="0">
                <a:pos x="54" y="66"/>
              </a:cxn>
              <a:cxn ang="0">
                <a:pos x="47" y="67"/>
              </a:cxn>
              <a:cxn ang="0">
                <a:pos x="42" y="60"/>
              </a:cxn>
              <a:cxn ang="0">
                <a:pos x="43" y="57"/>
              </a:cxn>
              <a:cxn ang="0">
                <a:pos x="50" y="53"/>
              </a:cxn>
              <a:cxn ang="0">
                <a:pos x="54" y="50"/>
              </a:cxn>
              <a:cxn ang="0">
                <a:pos x="60" y="39"/>
              </a:cxn>
              <a:cxn ang="0">
                <a:pos x="54" y="27"/>
              </a:cxn>
              <a:cxn ang="0">
                <a:pos x="52" y="25"/>
              </a:cxn>
              <a:cxn ang="0">
                <a:pos x="54" y="17"/>
              </a:cxn>
              <a:cxn ang="0">
                <a:pos x="57" y="15"/>
              </a:cxn>
              <a:cxn ang="0">
                <a:pos x="60" y="9"/>
              </a:cxn>
              <a:cxn ang="0">
                <a:pos x="56" y="9"/>
              </a:cxn>
              <a:cxn ang="0">
                <a:pos x="53" y="10"/>
              </a:cxn>
              <a:cxn ang="0">
                <a:pos x="49" y="9"/>
              </a:cxn>
              <a:cxn ang="0">
                <a:pos x="49" y="6"/>
              </a:cxn>
              <a:cxn ang="0">
                <a:pos x="44" y="2"/>
              </a:cxn>
              <a:cxn ang="0">
                <a:pos x="32" y="2"/>
              </a:cxn>
              <a:cxn ang="0">
                <a:pos x="26" y="5"/>
              </a:cxn>
              <a:cxn ang="0">
                <a:pos x="17" y="7"/>
              </a:cxn>
              <a:cxn ang="0">
                <a:pos x="16" y="22"/>
              </a:cxn>
              <a:cxn ang="0">
                <a:pos x="17" y="32"/>
              </a:cxn>
            </a:cxnLst>
            <a:rect l="0" t="0" r="r" b="b"/>
            <a:pathLst>
              <a:path w="67" h="130">
                <a:moveTo>
                  <a:pt x="17" y="32"/>
                </a:moveTo>
                <a:lnTo>
                  <a:pt x="17" y="32"/>
                </a:lnTo>
                <a:lnTo>
                  <a:pt x="19" y="37"/>
                </a:lnTo>
                <a:lnTo>
                  <a:pt x="17" y="42"/>
                </a:lnTo>
                <a:lnTo>
                  <a:pt x="16" y="46"/>
                </a:lnTo>
                <a:lnTo>
                  <a:pt x="13" y="49"/>
                </a:lnTo>
                <a:lnTo>
                  <a:pt x="13" y="49"/>
                </a:lnTo>
                <a:lnTo>
                  <a:pt x="10" y="52"/>
                </a:lnTo>
                <a:lnTo>
                  <a:pt x="7" y="54"/>
                </a:lnTo>
                <a:lnTo>
                  <a:pt x="5" y="59"/>
                </a:lnTo>
                <a:lnTo>
                  <a:pt x="2" y="60"/>
                </a:lnTo>
                <a:lnTo>
                  <a:pt x="2" y="60"/>
                </a:lnTo>
                <a:lnTo>
                  <a:pt x="0" y="60"/>
                </a:lnTo>
                <a:lnTo>
                  <a:pt x="0" y="62"/>
                </a:lnTo>
                <a:lnTo>
                  <a:pt x="2" y="67"/>
                </a:lnTo>
                <a:lnTo>
                  <a:pt x="5" y="73"/>
                </a:lnTo>
                <a:lnTo>
                  <a:pt x="9" y="77"/>
                </a:lnTo>
                <a:lnTo>
                  <a:pt x="9" y="77"/>
                </a:lnTo>
                <a:lnTo>
                  <a:pt x="13" y="79"/>
                </a:lnTo>
                <a:lnTo>
                  <a:pt x="15" y="81"/>
                </a:lnTo>
                <a:lnTo>
                  <a:pt x="16" y="87"/>
                </a:lnTo>
                <a:lnTo>
                  <a:pt x="16" y="87"/>
                </a:lnTo>
                <a:lnTo>
                  <a:pt x="17" y="89"/>
                </a:lnTo>
                <a:lnTo>
                  <a:pt x="20" y="91"/>
                </a:lnTo>
                <a:lnTo>
                  <a:pt x="25" y="94"/>
                </a:lnTo>
                <a:lnTo>
                  <a:pt x="27" y="97"/>
                </a:lnTo>
                <a:lnTo>
                  <a:pt x="27" y="97"/>
                </a:lnTo>
                <a:lnTo>
                  <a:pt x="30" y="101"/>
                </a:lnTo>
                <a:lnTo>
                  <a:pt x="33" y="110"/>
                </a:lnTo>
                <a:lnTo>
                  <a:pt x="34" y="118"/>
                </a:lnTo>
                <a:lnTo>
                  <a:pt x="36" y="126"/>
                </a:lnTo>
                <a:lnTo>
                  <a:pt x="36" y="126"/>
                </a:lnTo>
                <a:lnTo>
                  <a:pt x="37" y="130"/>
                </a:lnTo>
                <a:lnTo>
                  <a:pt x="37" y="130"/>
                </a:lnTo>
                <a:lnTo>
                  <a:pt x="40" y="127"/>
                </a:lnTo>
                <a:lnTo>
                  <a:pt x="43" y="123"/>
                </a:lnTo>
                <a:lnTo>
                  <a:pt x="43" y="123"/>
                </a:lnTo>
                <a:lnTo>
                  <a:pt x="46" y="116"/>
                </a:lnTo>
                <a:lnTo>
                  <a:pt x="46" y="110"/>
                </a:lnTo>
                <a:lnTo>
                  <a:pt x="46" y="110"/>
                </a:lnTo>
                <a:lnTo>
                  <a:pt x="46" y="107"/>
                </a:lnTo>
                <a:lnTo>
                  <a:pt x="47" y="103"/>
                </a:lnTo>
                <a:lnTo>
                  <a:pt x="47" y="103"/>
                </a:lnTo>
                <a:lnTo>
                  <a:pt x="54" y="97"/>
                </a:lnTo>
                <a:lnTo>
                  <a:pt x="60" y="91"/>
                </a:lnTo>
                <a:lnTo>
                  <a:pt x="60" y="91"/>
                </a:lnTo>
                <a:lnTo>
                  <a:pt x="64" y="91"/>
                </a:lnTo>
                <a:lnTo>
                  <a:pt x="66" y="90"/>
                </a:lnTo>
                <a:lnTo>
                  <a:pt x="67" y="87"/>
                </a:lnTo>
                <a:lnTo>
                  <a:pt x="67" y="87"/>
                </a:lnTo>
                <a:lnTo>
                  <a:pt x="67" y="79"/>
                </a:lnTo>
                <a:lnTo>
                  <a:pt x="67" y="79"/>
                </a:lnTo>
                <a:lnTo>
                  <a:pt x="63" y="74"/>
                </a:lnTo>
                <a:lnTo>
                  <a:pt x="62" y="71"/>
                </a:lnTo>
                <a:lnTo>
                  <a:pt x="62" y="71"/>
                </a:lnTo>
                <a:lnTo>
                  <a:pt x="60" y="69"/>
                </a:lnTo>
                <a:lnTo>
                  <a:pt x="59" y="67"/>
                </a:lnTo>
                <a:lnTo>
                  <a:pt x="56" y="66"/>
                </a:lnTo>
                <a:lnTo>
                  <a:pt x="54" y="66"/>
                </a:lnTo>
                <a:lnTo>
                  <a:pt x="54" y="66"/>
                </a:lnTo>
                <a:lnTo>
                  <a:pt x="52" y="67"/>
                </a:lnTo>
                <a:lnTo>
                  <a:pt x="47" y="67"/>
                </a:lnTo>
                <a:lnTo>
                  <a:pt x="44" y="64"/>
                </a:lnTo>
                <a:lnTo>
                  <a:pt x="42" y="60"/>
                </a:lnTo>
                <a:lnTo>
                  <a:pt x="42" y="60"/>
                </a:lnTo>
                <a:lnTo>
                  <a:pt x="43" y="57"/>
                </a:lnTo>
                <a:lnTo>
                  <a:pt x="46" y="54"/>
                </a:lnTo>
                <a:lnTo>
                  <a:pt x="50" y="53"/>
                </a:lnTo>
                <a:lnTo>
                  <a:pt x="54" y="50"/>
                </a:lnTo>
                <a:lnTo>
                  <a:pt x="54" y="50"/>
                </a:lnTo>
                <a:lnTo>
                  <a:pt x="59" y="44"/>
                </a:lnTo>
                <a:lnTo>
                  <a:pt x="60" y="39"/>
                </a:lnTo>
                <a:lnTo>
                  <a:pt x="59" y="33"/>
                </a:lnTo>
                <a:lnTo>
                  <a:pt x="54" y="27"/>
                </a:lnTo>
                <a:lnTo>
                  <a:pt x="54" y="27"/>
                </a:lnTo>
                <a:lnTo>
                  <a:pt x="52" y="25"/>
                </a:lnTo>
                <a:lnTo>
                  <a:pt x="52" y="20"/>
                </a:lnTo>
                <a:lnTo>
                  <a:pt x="54" y="17"/>
                </a:lnTo>
                <a:lnTo>
                  <a:pt x="57" y="15"/>
                </a:lnTo>
                <a:lnTo>
                  <a:pt x="57" y="15"/>
                </a:lnTo>
                <a:lnTo>
                  <a:pt x="60" y="10"/>
                </a:lnTo>
                <a:lnTo>
                  <a:pt x="60" y="9"/>
                </a:lnTo>
                <a:lnTo>
                  <a:pt x="57" y="7"/>
                </a:lnTo>
                <a:lnTo>
                  <a:pt x="56" y="9"/>
                </a:lnTo>
                <a:lnTo>
                  <a:pt x="56" y="9"/>
                </a:lnTo>
                <a:lnTo>
                  <a:pt x="53" y="10"/>
                </a:lnTo>
                <a:lnTo>
                  <a:pt x="52" y="10"/>
                </a:lnTo>
                <a:lnTo>
                  <a:pt x="49" y="9"/>
                </a:lnTo>
                <a:lnTo>
                  <a:pt x="49" y="6"/>
                </a:lnTo>
                <a:lnTo>
                  <a:pt x="49" y="6"/>
                </a:lnTo>
                <a:lnTo>
                  <a:pt x="47" y="3"/>
                </a:lnTo>
                <a:lnTo>
                  <a:pt x="44" y="2"/>
                </a:lnTo>
                <a:lnTo>
                  <a:pt x="39" y="0"/>
                </a:lnTo>
                <a:lnTo>
                  <a:pt x="32" y="2"/>
                </a:lnTo>
                <a:lnTo>
                  <a:pt x="26" y="5"/>
                </a:lnTo>
                <a:lnTo>
                  <a:pt x="26" y="5"/>
                </a:lnTo>
                <a:lnTo>
                  <a:pt x="22" y="6"/>
                </a:lnTo>
                <a:lnTo>
                  <a:pt x="17" y="7"/>
                </a:lnTo>
                <a:lnTo>
                  <a:pt x="17" y="7"/>
                </a:lnTo>
                <a:lnTo>
                  <a:pt x="16" y="22"/>
                </a:lnTo>
                <a:lnTo>
                  <a:pt x="16" y="27"/>
                </a:lnTo>
                <a:lnTo>
                  <a:pt x="17" y="32"/>
                </a:lnTo>
                <a:lnTo>
                  <a:pt x="17" y="32"/>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5" name="Freeform 202">
            <a:extLst>
              <a:ext uri="{FF2B5EF4-FFF2-40B4-BE49-F238E27FC236}">
                <a16:creationId xmlns:a16="http://schemas.microsoft.com/office/drawing/2014/main" id="{59F68A00-DDBA-32FD-D6D9-573929B84C05}"/>
              </a:ext>
            </a:extLst>
          </p:cNvPr>
          <p:cNvSpPr>
            <a:spLocks/>
          </p:cNvSpPr>
          <p:nvPr userDrawn="1"/>
        </p:nvSpPr>
        <p:spPr bwMode="gray">
          <a:xfrm>
            <a:off x="4171442" y="2530531"/>
            <a:ext cx="434370" cy="416163"/>
          </a:xfrm>
          <a:custGeom>
            <a:avLst/>
            <a:gdLst/>
            <a:ahLst/>
            <a:cxnLst>
              <a:cxn ang="0">
                <a:pos x="114" y="72"/>
              </a:cxn>
              <a:cxn ang="0">
                <a:pos x="120" y="79"/>
              </a:cxn>
              <a:cxn ang="0">
                <a:pos x="121" y="91"/>
              </a:cxn>
              <a:cxn ang="0">
                <a:pos x="98" y="91"/>
              </a:cxn>
              <a:cxn ang="0">
                <a:pos x="94" y="95"/>
              </a:cxn>
              <a:cxn ang="0">
                <a:pos x="85" y="98"/>
              </a:cxn>
              <a:cxn ang="0">
                <a:pos x="80" y="109"/>
              </a:cxn>
              <a:cxn ang="0">
                <a:pos x="77" y="113"/>
              </a:cxn>
              <a:cxn ang="0">
                <a:pos x="71" y="116"/>
              </a:cxn>
              <a:cxn ang="0">
                <a:pos x="58" y="121"/>
              </a:cxn>
              <a:cxn ang="0">
                <a:pos x="50" y="130"/>
              </a:cxn>
              <a:cxn ang="0">
                <a:pos x="37" y="132"/>
              </a:cxn>
              <a:cxn ang="0">
                <a:pos x="33" y="136"/>
              </a:cxn>
              <a:cxn ang="0">
                <a:pos x="11" y="145"/>
              </a:cxn>
              <a:cxn ang="0">
                <a:pos x="0" y="176"/>
              </a:cxn>
              <a:cxn ang="0">
                <a:pos x="83" y="230"/>
              </a:cxn>
              <a:cxn ang="0">
                <a:pos x="166" y="291"/>
              </a:cxn>
              <a:cxn ang="0">
                <a:pos x="181" y="300"/>
              </a:cxn>
              <a:cxn ang="0">
                <a:pos x="192" y="307"/>
              </a:cxn>
              <a:cxn ang="0">
                <a:pos x="211" y="315"/>
              </a:cxn>
              <a:cxn ang="0">
                <a:pos x="265" y="284"/>
              </a:cxn>
              <a:cxn ang="0">
                <a:pos x="334" y="241"/>
              </a:cxn>
              <a:cxn ang="0">
                <a:pos x="326" y="227"/>
              </a:cxn>
              <a:cxn ang="0">
                <a:pos x="314" y="224"/>
              </a:cxn>
              <a:cxn ang="0">
                <a:pos x="304" y="220"/>
              </a:cxn>
              <a:cxn ang="0">
                <a:pos x="303" y="209"/>
              </a:cxn>
              <a:cxn ang="0">
                <a:pos x="294" y="197"/>
              </a:cxn>
              <a:cxn ang="0">
                <a:pos x="297" y="190"/>
              </a:cxn>
              <a:cxn ang="0">
                <a:pos x="300" y="185"/>
              </a:cxn>
              <a:cxn ang="0">
                <a:pos x="297" y="172"/>
              </a:cxn>
              <a:cxn ang="0">
                <a:pos x="302" y="163"/>
              </a:cxn>
              <a:cxn ang="0">
                <a:pos x="300" y="152"/>
              </a:cxn>
              <a:cxn ang="0">
                <a:pos x="296" y="133"/>
              </a:cxn>
              <a:cxn ang="0">
                <a:pos x="294" y="126"/>
              </a:cxn>
              <a:cxn ang="0">
                <a:pos x="296" y="121"/>
              </a:cxn>
              <a:cxn ang="0">
                <a:pos x="287" y="92"/>
              </a:cxn>
              <a:cxn ang="0">
                <a:pos x="277" y="84"/>
              </a:cxn>
              <a:cxn ang="0">
                <a:pos x="273" y="74"/>
              </a:cxn>
              <a:cxn ang="0">
                <a:pos x="262" y="62"/>
              </a:cxn>
              <a:cxn ang="0">
                <a:pos x="262" y="55"/>
              </a:cxn>
              <a:cxn ang="0">
                <a:pos x="273" y="44"/>
              </a:cxn>
              <a:cxn ang="0">
                <a:pos x="279" y="32"/>
              </a:cxn>
              <a:cxn ang="0">
                <a:pos x="276" y="17"/>
              </a:cxn>
              <a:cxn ang="0">
                <a:pos x="262" y="0"/>
              </a:cxn>
              <a:cxn ang="0">
                <a:pos x="246" y="1"/>
              </a:cxn>
              <a:cxn ang="0">
                <a:pos x="226" y="7"/>
              </a:cxn>
              <a:cxn ang="0">
                <a:pos x="215" y="4"/>
              </a:cxn>
              <a:cxn ang="0">
                <a:pos x="159" y="10"/>
              </a:cxn>
              <a:cxn ang="0">
                <a:pos x="141" y="21"/>
              </a:cxn>
              <a:cxn ang="0">
                <a:pos x="125" y="27"/>
              </a:cxn>
              <a:cxn ang="0">
                <a:pos x="111" y="37"/>
              </a:cxn>
              <a:cxn ang="0">
                <a:pos x="110" y="42"/>
              </a:cxn>
              <a:cxn ang="0">
                <a:pos x="115" y="59"/>
              </a:cxn>
            </a:cxnLst>
            <a:rect l="0" t="0" r="r" b="b"/>
            <a:pathLst>
              <a:path w="334" h="320">
                <a:moveTo>
                  <a:pt x="115" y="59"/>
                </a:moveTo>
                <a:lnTo>
                  <a:pt x="115" y="59"/>
                </a:lnTo>
                <a:lnTo>
                  <a:pt x="114" y="69"/>
                </a:lnTo>
                <a:lnTo>
                  <a:pt x="114" y="72"/>
                </a:lnTo>
                <a:lnTo>
                  <a:pt x="115" y="74"/>
                </a:lnTo>
                <a:lnTo>
                  <a:pt x="115" y="74"/>
                </a:lnTo>
                <a:lnTo>
                  <a:pt x="118" y="75"/>
                </a:lnTo>
                <a:lnTo>
                  <a:pt x="120" y="79"/>
                </a:lnTo>
                <a:lnTo>
                  <a:pt x="122" y="85"/>
                </a:lnTo>
                <a:lnTo>
                  <a:pt x="122" y="85"/>
                </a:lnTo>
                <a:lnTo>
                  <a:pt x="121" y="89"/>
                </a:lnTo>
                <a:lnTo>
                  <a:pt x="121" y="91"/>
                </a:lnTo>
                <a:lnTo>
                  <a:pt x="118" y="91"/>
                </a:lnTo>
                <a:lnTo>
                  <a:pt x="118" y="91"/>
                </a:lnTo>
                <a:lnTo>
                  <a:pt x="105" y="91"/>
                </a:lnTo>
                <a:lnTo>
                  <a:pt x="98" y="91"/>
                </a:lnTo>
                <a:lnTo>
                  <a:pt x="95" y="92"/>
                </a:lnTo>
                <a:lnTo>
                  <a:pt x="95" y="92"/>
                </a:lnTo>
                <a:lnTo>
                  <a:pt x="95" y="92"/>
                </a:lnTo>
                <a:lnTo>
                  <a:pt x="94" y="95"/>
                </a:lnTo>
                <a:lnTo>
                  <a:pt x="92" y="96"/>
                </a:lnTo>
                <a:lnTo>
                  <a:pt x="88" y="98"/>
                </a:lnTo>
                <a:lnTo>
                  <a:pt x="85" y="98"/>
                </a:lnTo>
                <a:lnTo>
                  <a:pt x="85" y="98"/>
                </a:lnTo>
                <a:lnTo>
                  <a:pt x="81" y="98"/>
                </a:lnTo>
                <a:lnTo>
                  <a:pt x="80" y="102"/>
                </a:lnTo>
                <a:lnTo>
                  <a:pt x="80" y="102"/>
                </a:lnTo>
                <a:lnTo>
                  <a:pt x="80" y="109"/>
                </a:lnTo>
                <a:lnTo>
                  <a:pt x="80" y="112"/>
                </a:lnTo>
                <a:lnTo>
                  <a:pt x="78" y="112"/>
                </a:lnTo>
                <a:lnTo>
                  <a:pt x="78" y="112"/>
                </a:lnTo>
                <a:lnTo>
                  <a:pt x="77" y="113"/>
                </a:lnTo>
                <a:lnTo>
                  <a:pt x="75" y="115"/>
                </a:lnTo>
                <a:lnTo>
                  <a:pt x="74" y="116"/>
                </a:lnTo>
                <a:lnTo>
                  <a:pt x="71" y="116"/>
                </a:lnTo>
                <a:lnTo>
                  <a:pt x="71" y="116"/>
                </a:lnTo>
                <a:lnTo>
                  <a:pt x="63" y="118"/>
                </a:lnTo>
                <a:lnTo>
                  <a:pt x="60" y="119"/>
                </a:lnTo>
                <a:lnTo>
                  <a:pt x="58" y="121"/>
                </a:lnTo>
                <a:lnTo>
                  <a:pt x="58" y="121"/>
                </a:lnTo>
                <a:lnTo>
                  <a:pt x="58" y="125"/>
                </a:lnTo>
                <a:lnTo>
                  <a:pt x="57" y="128"/>
                </a:lnTo>
                <a:lnTo>
                  <a:pt x="54" y="129"/>
                </a:lnTo>
                <a:lnTo>
                  <a:pt x="50" y="130"/>
                </a:lnTo>
                <a:lnTo>
                  <a:pt x="50" y="130"/>
                </a:lnTo>
                <a:lnTo>
                  <a:pt x="41" y="130"/>
                </a:lnTo>
                <a:lnTo>
                  <a:pt x="37" y="132"/>
                </a:lnTo>
                <a:lnTo>
                  <a:pt x="37" y="132"/>
                </a:lnTo>
                <a:lnTo>
                  <a:pt x="36" y="133"/>
                </a:lnTo>
                <a:lnTo>
                  <a:pt x="36" y="133"/>
                </a:lnTo>
                <a:lnTo>
                  <a:pt x="36" y="136"/>
                </a:lnTo>
                <a:lnTo>
                  <a:pt x="33" y="136"/>
                </a:lnTo>
                <a:lnTo>
                  <a:pt x="28" y="136"/>
                </a:lnTo>
                <a:lnTo>
                  <a:pt x="26" y="136"/>
                </a:lnTo>
                <a:lnTo>
                  <a:pt x="26" y="136"/>
                </a:lnTo>
                <a:lnTo>
                  <a:pt x="11" y="145"/>
                </a:lnTo>
                <a:lnTo>
                  <a:pt x="4" y="150"/>
                </a:lnTo>
                <a:lnTo>
                  <a:pt x="0" y="153"/>
                </a:lnTo>
                <a:lnTo>
                  <a:pt x="0" y="153"/>
                </a:lnTo>
                <a:lnTo>
                  <a:pt x="0" y="176"/>
                </a:lnTo>
                <a:lnTo>
                  <a:pt x="0" y="176"/>
                </a:lnTo>
                <a:lnTo>
                  <a:pt x="4" y="179"/>
                </a:lnTo>
                <a:lnTo>
                  <a:pt x="4" y="179"/>
                </a:lnTo>
                <a:lnTo>
                  <a:pt x="83" y="230"/>
                </a:lnTo>
                <a:lnTo>
                  <a:pt x="134" y="264"/>
                </a:lnTo>
                <a:lnTo>
                  <a:pt x="159" y="283"/>
                </a:lnTo>
                <a:lnTo>
                  <a:pt x="159" y="283"/>
                </a:lnTo>
                <a:lnTo>
                  <a:pt x="166" y="291"/>
                </a:lnTo>
                <a:lnTo>
                  <a:pt x="169" y="297"/>
                </a:lnTo>
                <a:lnTo>
                  <a:pt x="169" y="297"/>
                </a:lnTo>
                <a:lnTo>
                  <a:pt x="175" y="298"/>
                </a:lnTo>
                <a:lnTo>
                  <a:pt x="181" y="300"/>
                </a:lnTo>
                <a:lnTo>
                  <a:pt x="188" y="303"/>
                </a:lnTo>
                <a:lnTo>
                  <a:pt x="188" y="303"/>
                </a:lnTo>
                <a:lnTo>
                  <a:pt x="191" y="304"/>
                </a:lnTo>
                <a:lnTo>
                  <a:pt x="192" y="307"/>
                </a:lnTo>
                <a:lnTo>
                  <a:pt x="195" y="313"/>
                </a:lnTo>
                <a:lnTo>
                  <a:pt x="195" y="320"/>
                </a:lnTo>
                <a:lnTo>
                  <a:pt x="195" y="320"/>
                </a:lnTo>
                <a:lnTo>
                  <a:pt x="211" y="315"/>
                </a:lnTo>
                <a:lnTo>
                  <a:pt x="211" y="315"/>
                </a:lnTo>
                <a:lnTo>
                  <a:pt x="226" y="311"/>
                </a:lnTo>
                <a:lnTo>
                  <a:pt x="236" y="308"/>
                </a:lnTo>
                <a:lnTo>
                  <a:pt x="265" y="284"/>
                </a:lnTo>
                <a:lnTo>
                  <a:pt x="334" y="241"/>
                </a:lnTo>
                <a:lnTo>
                  <a:pt x="334" y="241"/>
                </a:lnTo>
                <a:lnTo>
                  <a:pt x="334" y="241"/>
                </a:lnTo>
                <a:lnTo>
                  <a:pt x="334" y="241"/>
                </a:lnTo>
                <a:lnTo>
                  <a:pt x="330" y="231"/>
                </a:lnTo>
                <a:lnTo>
                  <a:pt x="329" y="229"/>
                </a:lnTo>
                <a:lnTo>
                  <a:pt x="326" y="227"/>
                </a:lnTo>
                <a:lnTo>
                  <a:pt x="326" y="227"/>
                </a:lnTo>
                <a:lnTo>
                  <a:pt x="323" y="227"/>
                </a:lnTo>
                <a:lnTo>
                  <a:pt x="320" y="226"/>
                </a:lnTo>
                <a:lnTo>
                  <a:pt x="317" y="224"/>
                </a:lnTo>
                <a:lnTo>
                  <a:pt x="314" y="224"/>
                </a:lnTo>
                <a:lnTo>
                  <a:pt x="314" y="224"/>
                </a:lnTo>
                <a:lnTo>
                  <a:pt x="310" y="224"/>
                </a:lnTo>
                <a:lnTo>
                  <a:pt x="307" y="223"/>
                </a:lnTo>
                <a:lnTo>
                  <a:pt x="304" y="220"/>
                </a:lnTo>
                <a:lnTo>
                  <a:pt x="303" y="217"/>
                </a:lnTo>
                <a:lnTo>
                  <a:pt x="303" y="217"/>
                </a:lnTo>
                <a:lnTo>
                  <a:pt x="303" y="212"/>
                </a:lnTo>
                <a:lnTo>
                  <a:pt x="303" y="209"/>
                </a:lnTo>
                <a:lnTo>
                  <a:pt x="302" y="206"/>
                </a:lnTo>
                <a:lnTo>
                  <a:pt x="302" y="206"/>
                </a:lnTo>
                <a:lnTo>
                  <a:pt x="296" y="199"/>
                </a:lnTo>
                <a:lnTo>
                  <a:pt x="294" y="197"/>
                </a:lnTo>
                <a:lnTo>
                  <a:pt x="294" y="195"/>
                </a:lnTo>
                <a:lnTo>
                  <a:pt x="294" y="195"/>
                </a:lnTo>
                <a:lnTo>
                  <a:pt x="294" y="193"/>
                </a:lnTo>
                <a:lnTo>
                  <a:pt x="297" y="190"/>
                </a:lnTo>
                <a:lnTo>
                  <a:pt x="302" y="187"/>
                </a:lnTo>
                <a:lnTo>
                  <a:pt x="302" y="187"/>
                </a:lnTo>
                <a:lnTo>
                  <a:pt x="302" y="186"/>
                </a:lnTo>
                <a:lnTo>
                  <a:pt x="300" y="185"/>
                </a:lnTo>
                <a:lnTo>
                  <a:pt x="299" y="180"/>
                </a:lnTo>
                <a:lnTo>
                  <a:pt x="299" y="180"/>
                </a:lnTo>
                <a:lnTo>
                  <a:pt x="297" y="175"/>
                </a:lnTo>
                <a:lnTo>
                  <a:pt x="297" y="172"/>
                </a:lnTo>
                <a:lnTo>
                  <a:pt x="299" y="170"/>
                </a:lnTo>
                <a:lnTo>
                  <a:pt x="299" y="170"/>
                </a:lnTo>
                <a:lnTo>
                  <a:pt x="302" y="166"/>
                </a:lnTo>
                <a:lnTo>
                  <a:pt x="302" y="163"/>
                </a:lnTo>
                <a:lnTo>
                  <a:pt x="300" y="159"/>
                </a:lnTo>
                <a:lnTo>
                  <a:pt x="300" y="159"/>
                </a:lnTo>
                <a:lnTo>
                  <a:pt x="299" y="155"/>
                </a:lnTo>
                <a:lnTo>
                  <a:pt x="300" y="152"/>
                </a:lnTo>
                <a:lnTo>
                  <a:pt x="302" y="148"/>
                </a:lnTo>
                <a:lnTo>
                  <a:pt x="300" y="142"/>
                </a:lnTo>
                <a:lnTo>
                  <a:pt x="300" y="142"/>
                </a:lnTo>
                <a:lnTo>
                  <a:pt x="296" y="133"/>
                </a:lnTo>
                <a:lnTo>
                  <a:pt x="293" y="130"/>
                </a:lnTo>
                <a:lnTo>
                  <a:pt x="293" y="128"/>
                </a:lnTo>
                <a:lnTo>
                  <a:pt x="293" y="128"/>
                </a:lnTo>
                <a:lnTo>
                  <a:pt x="294" y="126"/>
                </a:lnTo>
                <a:lnTo>
                  <a:pt x="297" y="125"/>
                </a:lnTo>
                <a:lnTo>
                  <a:pt x="297" y="125"/>
                </a:lnTo>
                <a:lnTo>
                  <a:pt x="296" y="121"/>
                </a:lnTo>
                <a:lnTo>
                  <a:pt x="296" y="121"/>
                </a:lnTo>
                <a:lnTo>
                  <a:pt x="294" y="113"/>
                </a:lnTo>
                <a:lnTo>
                  <a:pt x="293" y="105"/>
                </a:lnTo>
                <a:lnTo>
                  <a:pt x="290" y="96"/>
                </a:lnTo>
                <a:lnTo>
                  <a:pt x="287" y="92"/>
                </a:lnTo>
                <a:lnTo>
                  <a:pt x="287" y="92"/>
                </a:lnTo>
                <a:lnTo>
                  <a:pt x="285" y="89"/>
                </a:lnTo>
                <a:lnTo>
                  <a:pt x="280" y="86"/>
                </a:lnTo>
                <a:lnTo>
                  <a:pt x="277" y="84"/>
                </a:lnTo>
                <a:lnTo>
                  <a:pt x="276" y="82"/>
                </a:lnTo>
                <a:lnTo>
                  <a:pt x="276" y="82"/>
                </a:lnTo>
                <a:lnTo>
                  <a:pt x="275" y="76"/>
                </a:lnTo>
                <a:lnTo>
                  <a:pt x="273" y="74"/>
                </a:lnTo>
                <a:lnTo>
                  <a:pt x="269" y="72"/>
                </a:lnTo>
                <a:lnTo>
                  <a:pt x="269" y="72"/>
                </a:lnTo>
                <a:lnTo>
                  <a:pt x="265" y="68"/>
                </a:lnTo>
                <a:lnTo>
                  <a:pt x="262" y="62"/>
                </a:lnTo>
                <a:lnTo>
                  <a:pt x="260" y="57"/>
                </a:lnTo>
                <a:lnTo>
                  <a:pt x="260" y="55"/>
                </a:lnTo>
                <a:lnTo>
                  <a:pt x="262" y="55"/>
                </a:lnTo>
                <a:lnTo>
                  <a:pt x="262" y="55"/>
                </a:lnTo>
                <a:lnTo>
                  <a:pt x="265" y="54"/>
                </a:lnTo>
                <a:lnTo>
                  <a:pt x="267" y="49"/>
                </a:lnTo>
                <a:lnTo>
                  <a:pt x="270" y="47"/>
                </a:lnTo>
                <a:lnTo>
                  <a:pt x="273" y="44"/>
                </a:lnTo>
                <a:lnTo>
                  <a:pt x="273" y="44"/>
                </a:lnTo>
                <a:lnTo>
                  <a:pt x="276" y="41"/>
                </a:lnTo>
                <a:lnTo>
                  <a:pt x="277" y="37"/>
                </a:lnTo>
                <a:lnTo>
                  <a:pt x="279" y="32"/>
                </a:lnTo>
                <a:lnTo>
                  <a:pt x="277" y="27"/>
                </a:lnTo>
                <a:lnTo>
                  <a:pt x="277" y="27"/>
                </a:lnTo>
                <a:lnTo>
                  <a:pt x="276" y="22"/>
                </a:lnTo>
                <a:lnTo>
                  <a:pt x="276" y="17"/>
                </a:lnTo>
                <a:lnTo>
                  <a:pt x="277" y="2"/>
                </a:lnTo>
                <a:lnTo>
                  <a:pt x="277" y="2"/>
                </a:lnTo>
                <a:lnTo>
                  <a:pt x="267" y="1"/>
                </a:lnTo>
                <a:lnTo>
                  <a:pt x="262" y="0"/>
                </a:lnTo>
                <a:lnTo>
                  <a:pt x="262" y="0"/>
                </a:lnTo>
                <a:lnTo>
                  <a:pt x="255" y="0"/>
                </a:lnTo>
                <a:lnTo>
                  <a:pt x="246" y="1"/>
                </a:lnTo>
                <a:lnTo>
                  <a:pt x="246" y="1"/>
                </a:lnTo>
                <a:lnTo>
                  <a:pt x="240" y="2"/>
                </a:lnTo>
                <a:lnTo>
                  <a:pt x="235" y="4"/>
                </a:lnTo>
                <a:lnTo>
                  <a:pt x="228" y="7"/>
                </a:lnTo>
                <a:lnTo>
                  <a:pt x="226" y="7"/>
                </a:lnTo>
                <a:lnTo>
                  <a:pt x="223" y="5"/>
                </a:lnTo>
                <a:lnTo>
                  <a:pt x="223" y="5"/>
                </a:lnTo>
                <a:lnTo>
                  <a:pt x="221" y="4"/>
                </a:lnTo>
                <a:lnTo>
                  <a:pt x="215" y="4"/>
                </a:lnTo>
                <a:lnTo>
                  <a:pt x="196" y="5"/>
                </a:lnTo>
                <a:lnTo>
                  <a:pt x="164" y="8"/>
                </a:lnTo>
                <a:lnTo>
                  <a:pt x="164" y="8"/>
                </a:lnTo>
                <a:lnTo>
                  <a:pt x="159" y="10"/>
                </a:lnTo>
                <a:lnTo>
                  <a:pt x="155" y="11"/>
                </a:lnTo>
                <a:lnTo>
                  <a:pt x="149" y="15"/>
                </a:lnTo>
                <a:lnTo>
                  <a:pt x="144" y="20"/>
                </a:lnTo>
                <a:lnTo>
                  <a:pt x="141" y="21"/>
                </a:lnTo>
                <a:lnTo>
                  <a:pt x="138" y="22"/>
                </a:lnTo>
                <a:lnTo>
                  <a:pt x="138" y="22"/>
                </a:lnTo>
                <a:lnTo>
                  <a:pt x="132" y="24"/>
                </a:lnTo>
                <a:lnTo>
                  <a:pt x="125" y="27"/>
                </a:lnTo>
                <a:lnTo>
                  <a:pt x="120" y="29"/>
                </a:lnTo>
                <a:lnTo>
                  <a:pt x="114" y="35"/>
                </a:lnTo>
                <a:lnTo>
                  <a:pt x="114" y="35"/>
                </a:lnTo>
                <a:lnTo>
                  <a:pt x="111" y="37"/>
                </a:lnTo>
                <a:lnTo>
                  <a:pt x="107" y="38"/>
                </a:lnTo>
                <a:lnTo>
                  <a:pt x="107" y="38"/>
                </a:lnTo>
                <a:lnTo>
                  <a:pt x="110" y="42"/>
                </a:lnTo>
                <a:lnTo>
                  <a:pt x="110" y="42"/>
                </a:lnTo>
                <a:lnTo>
                  <a:pt x="112" y="47"/>
                </a:lnTo>
                <a:lnTo>
                  <a:pt x="114" y="51"/>
                </a:lnTo>
                <a:lnTo>
                  <a:pt x="115" y="59"/>
                </a:lnTo>
                <a:lnTo>
                  <a:pt x="115" y="59"/>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6" name="Freeform 203">
            <a:extLst>
              <a:ext uri="{FF2B5EF4-FFF2-40B4-BE49-F238E27FC236}">
                <a16:creationId xmlns:a16="http://schemas.microsoft.com/office/drawing/2014/main" id="{706CE04F-4328-11D6-9BAA-63F2A6EAE9AF}"/>
              </a:ext>
            </a:extLst>
          </p:cNvPr>
          <p:cNvSpPr>
            <a:spLocks/>
          </p:cNvSpPr>
          <p:nvPr userDrawn="1"/>
        </p:nvSpPr>
        <p:spPr bwMode="gray">
          <a:xfrm>
            <a:off x="4552492" y="2626769"/>
            <a:ext cx="316024" cy="303019"/>
          </a:xfrm>
          <a:custGeom>
            <a:avLst/>
            <a:gdLst/>
            <a:ahLst/>
            <a:cxnLst>
              <a:cxn ang="0">
                <a:pos x="21" y="18"/>
              </a:cxn>
              <a:cxn ang="0">
                <a:pos x="13" y="28"/>
              </a:cxn>
              <a:cxn ang="0">
                <a:pos x="13" y="37"/>
              </a:cxn>
              <a:cxn ang="0">
                <a:pos x="7" y="47"/>
              </a:cxn>
              <a:cxn ang="0">
                <a:pos x="0" y="54"/>
              </a:cxn>
              <a:cxn ang="0">
                <a:pos x="3" y="59"/>
              </a:cxn>
              <a:cxn ang="0">
                <a:pos x="9" y="74"/>
              </a:cxn>
              <a:cxn ang="0">
                <a:pos x="7" y="85"/>
              </a:cxn>
              <a:cxn ang="0">
                <a:pos x="9" y="92"/>
              </a:cxn>
              <a:cxn ang="0">
                <a:pos x="4" y="98"/>
              </a:cxn>
              <a:cxn ang="0">
                <a:pos x="6" y="106"/>
              </a:cxn>
              <a:cxn ang="0">
                <a:pos x="9" y="113"/>
              </a:cxn>
              <a:cxn ang="0">
                <a:pos x="1" y="119"/>
              </a:cxn>
              <a:cxn ang="0">
                <a:pos x="1" y="123"/>
              </a:cxn>
              <a:cxn ang="0">
                <a:pos x="9" y="132"/>
              </a:cxn>
              <a:cxn ang="0">
                <a:pos x="10" y="143"/>
              </a:cxn>
              <a:cxn ang="0">
                <a:pos x="14" y="149"/>
              </a:cxn>
              <a:cxn ang="0">
                <a:pos x="21" y="150"/>
              </a:cxn>
              <a:cxn ang="0">
                <a:pos x="30" y="153"/>
              </a:cxn>
              <a:cxn ang="0">
                <a:pos x="36" y="155"/>
              </a:cxn>
              <a:cxn ang="0">
                <a:pos x="41" y="167"/>
              </a:cxn>
              <a:cxn ang="0">
                <a:pos x="64" y="172"/>
              </a:cxn>
              <a:cxn ang="0">
                <a:pos x="75" y="182"/>
              </a:cxn>
              <a:cxn ang="0">
                <a:pos x="225" y="224"/>
              </a:cxn>
              <a:cxn ang="0">
                <a:pos x="239" y="68"/>
              </a:cxn>
              <a:cxn ang="0">
                <a:pos x="238" y="54"/>
              </a:cxn>
              <a:cxn ang="0">
                <a:pos x="239" y="44"/>
              </a:cxn>
              <a:cxn ang="0">
                <a:pos x="240" y="31"/>
              </a:cxn>
              <a:cxn ang="0">
                <a:pos x="243" y="20"/>
              </a:cxn>
              <a:cxn ang="0">
                <a:pos x="242" y="20"/>
              </a:cxn>
              <a:cxn ang="0">
                <a:pos x="221" y="14"/>
              </a:cxn>
              <a:cxn ang="0">
                <a:pos x="213" y="11"/>
              </a:cxn>
              <a:cxn ang="0">
                <a:pos x="201" y="2"/>
              </a:cxn>
              <a:cxn ang="0">
                <a:pos x="191" y="1"/>
              </a:cxn>
              <a:cxn ang="0">
                <a:pos x="164" y="14"/>
              </a:cxn>
              <a:cxn ang="0">
                <a:pos x="161" y="20"/>
              </a:cxn>
              <a:cxn ang="0">
                <a:pos x="164" y="35"/>
              </a:cxn>
              <a:cxn ang="0">
                <a:pos x="162" y="41"/>
              </a:cxn>
              <a:cxn ang="0">
                <a:pos x="144" y="45"/>
              </a:cxn>
              <a:cxn ang="0">
                <a:pos x="131" y="35"/>
              </a:cxn>
              <a:cxn ang="0">
                <a:pos x="108" y="29"/>
              </a:cxn>
              <a:cxn ang="0">
                <a:pos x="97" y="27"/>
              </a:cxn>
              <a:cxn ang="0">
                <a:pos x="93" y="18"/>
              </a:cxn>
              <a:cxn ang="0">
                <a:pos x="87" y="11"/>
              </a:cxn>
              <a:cxn ang="0">
                <a:pos x="75" y="7"/>
              </a:cxn>
              <a:cxn ang="0">
                <a:pos x="53" y="4"/>
              </a:cxn>
              <a:cxn ang="0">
                <a:pos x="43" y="2"/>
              </a:cxn>
              <a:cxn ang="0">
                <a:pos x="34" y="8"/>
              </a:cxn>
              <a:cxn ang="0">
                <a:pos x="31" y="12"/>
              </a:cxn>
            </a:cxnLst>
            <a:rect l="0" t="0" r="r" b="b"/>
            <a:pathLst>
              <a:path w="243" h="233">
                <a:moveTo>
                  <a:pt x="27" y="12"/>
                </a:moveTo>
                <a:lnTo>
                  <a:pt x="27" y="12"/>
                </a:lnTo>
                <a:lnTo>
                  <a:pt x="21" y="18"/>
                </a:lnTo>
                <a:lnTo>
                  <a:pt x="14" y="24"/>
                </a:lnTo>
                <a:lnTo>
                  <a:pt x="14" y="24"/>
                </a:lnTo>
                <a:lnTo>
                  <a:pt x="13" y="28"/>
                </a:lnTo>
                <a:lnTo>
                  <a:pt x="13" y="31"/>
                </a:lnTo>
                <a:lnTo>
                  <a:pt x="13" y="31"/>
                </a:lnTo>
                <a:lnTo>
                  <a:pt x="13" y="37"/>
                </a:lnTo>
                <a:lnTo>
                  <a:pt x="10" y="44"/>
                </a:lnTo>
                <a:lnTo>
                  <a:pt x="10" y="44"/>
                </a:lnTo>
                <a:lnTo>
                  <a:pt x="7" y="47"/>
                </a:lnTo>
                <a:lnTo>
                  <a:pt x="4" y="49"/>
                </a:lnTo>
                <a:lnTo>
                  <a:pt x="1" y="52"/>
                </a:lnTo>
                <a:lnTo>
                  <a:pt x="0" y="54"/>
                </a:lnTo>
                <a:lnTo>
                  <a:pt x="0" y="54"/>
                </a:lnTo>
                <a:lnTo>
                  <a:pt x="0" y="56"/>
                </a:lnTo>
                <a:lnTo>
                  <a:pt x="3" y="59"/>
                </a:lnTo>
                <a:lnTo>
                  <a:pt x="7" y="68"/>
                </a:lnTo>
                <a:lnTo>
                  <a:pt x="7" y="68"/>
                </a:lnTo>
                <a:lnTo>
                  <a:pt x="9" y="74"/>
                </a:lnTo>
                <a:lnTo>
                  <a:pt x="7" y="78"/>
                </a:lnTo>
                <a:lnTo>
                  <a:pt x="6" y="81"/>
                </a:lnTo>
                <a:lnTo>
                  <a:pt x="7" y="85"/>
                </a:lnTo>
                <a:lnTo>
                  <a:pt x="7" y="85"/>
                </a:lnTo>
                <a:lnTo>
                  <a:pt x="9" y="89"/>
                </a:lnTo>
                <a:lnTo>
                  <a:pt x="9" y="92"/>
                </a:lnTo>
                <a:lnTo>
                  <a:pt x="6" y="96"/>
                </a:lnTo>
                <a:lnTo>
                  <a:pt x="6" y="96"/>
                </a:lnTo>
                <a:lnTo>
                  <a:pt x="4" y="98"/>
                </a:lnTo>
                <a:lnTo>
                  <a:pt x="4" y="101"/>
                </a:lnTo>
                <a:lnTo>
                  <a:pt x="6" y="106"/>
                </a:lnTo>
                <a:lnTo>
                  <a:pt x="6" y="106"/>
                </a:lnTo>
                <a:lnTo>
                  <a:pt x="7" y="111"/>
                </a:lnTo>
                <a:lnTo>
                  <a:pt x="9" y="112"/>
                </a:lnTo>
                <a:lnTo>
                  <a:pt x="9" y="113"/>
                </a:lnTo>
                <a:lnTo>
                  <a:pt x="9" y="113"/>
                </a:lnTo>
                <a:lnTo>
                  <a:pt x="4" y="116"/>
                </a:lnTo>
                <a:lnTo>
                  <a:pt x="1" y="119"/>
                </a:lnTo>
                <a:lnTo>
                  <a:pt x="1" y="121"/>
                </a:lnTo>
                <a:lnTo>
                  <a:pt x="1" y="121"/>
                </a:lnTo>
                <a:lnTo>
                  <a:pt x="1" y="123"/>
                </a:lnTo>
                <a:lnTo>
                  <a:pt x="3" y="125"/>
                </a:lnTo>
                <a:lnTo>
                  <a:pt x="9" y="132"/>
                </a:lnTo>
                <a:lnTo>
                  <a:pt x="9" y="132"/>
                </a:lnTo>
                <a:lnTo>
                  <a:pt x="10" y="135"/>
                </a:lnTo>
                <a:lnTo>
                  <a:pt x="10" y="138"/>
                </a:lnTo>
                <a:lnTo>
                  <a:pt x="10" y="143"/>
                </a:lnTo>
                <a:lnTo>
                  <a:pt x="10" y="143"/>
                </a:lnTo>
                <a:lnTo>
                  <a:pt x="11" y="146"/>
                </a:lnTo>
                <a:lnTo>
                  <a:pt x="14" y="149"/>
                </a:lnTo>
                <a:lnTo>
                  <a:pt x="17" y="150"/>
                </a:lnTo>
                <a:lnTo>
                  <a:pt x="21" y="150"/>
                </a:lnTo>
                <a:lnTo>
                  <a:pt x="21" y="150"/>
                </a:lnTo>
                <a:lnTo>
                  <a:pt x="24" y="150"/>
                </a:lnTo>
                <a:lnTo>
                  <a:pt x="27" y="152"/>
                </a:lnTo>
                <a:lnTo>
                  <a:pt x="30" y="153"/>
                </a:lnTo>
                <a:lnTo>
                  <a:pt x="33" y="153"/>
                </a:lnTo>
                <a:lnTo>
                  <a:pt x="33" y="153"/>
                </a:lnTo>
                <a:lnTo>
                  <a:pt x="36" y="155"/>
                </a:lnTo>
                <a:lnTo>
                  <a:pt x="37" y="157"/>
                </a:lnTo>
                <a:lnTo>
                  <a:pt x="41" y="167"/>
                </a:lnTo>
                <a:lnTo>
                  <a:pt x="41" y="167"/>
                </a:lnTo>
                <a:lnTo>
                  <a:pt x="51" y="167"/>
                </a:lnTo>
                <a:lnTo>
                  <a:pt x="58" y="169"/>
                </a:lnTo>
                <a:lnTo>
                  <a:pt x="64" y="172"/>
                </a:lnTo>
                <a:lnTo>
                  <a:pt x="64" y="172"/>
                </a:lnTo>
                <a:lnTo>
                  <a:pt x="73" y="179"/>
                </a:lnTo>
                <a:lnTo>
                  <a:pt x="75" y="182"/>
                </a:lnTo>
                <a:lnTo>
                  <a:pt x="102" y="167"/>
                </a:lnTo>
                <a:lnTo>
                  <a:pt x="225" y="233"/>
                </a:lnTo>
                <a:lnTo>
                  <a:pt x="225" y="224"/>
                </a:lnTo>
                <a:lnTo>
                  <a:pt x="239" y="224"/>
                </a:lnTo>
                <a:lnTo>
                  <a:pt x="239" y="224"/>
                </a:lnTo>
                <a:lnTo>
                  <a:pt x="239" y="68"/>
                </a:lnTo>
                <a:lnTo>
                  <a:pt x="239" y="68"/>
                </a:lnTo>
                <a:lnTo>
                  <a:pt x="239" y="59"/>
                </a:lnTo>
                <a:lnTo>
                  <a:pt x="238" y="54"/>
                </a:lnTo>
                <a:lnTo>
                  <a:pt x="238" y="48"/>
                </a:lnTo>
                <a:lnTo>
                  <a:pt x="239" y="44"/>
                </a:lnTo>
                <a:lnTo>
                  <a:pt x="239" y="44"/>
                </a:lnTo>
                <a:lnTo>
                  <a:pt x="240" y="39"/>
                </a:lnTo>
                <a:lnTo>
                  <a:pt x="240" y="35"/>
                </a:lnTo>
                <a:lnTo>
                  <a:pt x="240" y="31"/>
                </a:lnTo>
                <a:lnTo>
                  <a:pt x="240" y="24"/>
                </a:lnTo>
                <a:lnTo>
                  <a:pt x="240" y="24"/>
                </a:lnTo>
                <a:lnTo>
                  <a:pt x="243" y="20"/>
                </a:lnTo>
                <a:lnTo>
                  <a:pt x="243" y="20"/>
                </a:lnTo>
                <a:lnTo>
                  <a:pt x="242" y="20"/>
                </a:lnTo>
                <a:lnTo>
                  <a:pt x="242" y="20"/>
                </a:lnTo>
                <a:lnTo>
                  <a:pt x="240" y="18"/>
                </a:lnTo>
                <a:lnTo>
                  <a:pt x="236" y="17"/>
                </a:lnTo>
                <a:lnTo>
                  <a:pt x="221" y="14"/>
                </a:lnTo>
                <a:lnTo>
                  <a:pt x="221" y="14"/>
                </a:lnTo>
                <a:lnTo>
                  <a:pt x="216" y="12"/>
                </a:lnTo>
                <a:lnTo>
                  <a:pt x="213" y="11"/>
                </a:lnTo>
                <a:lnTo>
                  <a:pt x="209" y="7"/>
                </a:lnTo>
                <a:lnTo>
                  <a:pt x="205" y="4"/>
                </a:lnTo>
                <a:lnTo>
                  <a:pt x="201" y="2"/>
                </a:lnTo>
                <a:lnTo>
                  <a:pt x="196" y="1"/>
                </a:lnTo>
                <a:lnTo>
                  <a:pt x="196" y="1"/>
                </a:lnTo>
                <a:lnTo>
                  <a:pt x="191" y="1"/>
                </a:lnTo>
                <a:lnTo>
                  <a:pt x="184" y="2"/>
                </a:lnTo>
                <a:lnTo>
                  <a:pt x="172" y="7"/>
                </a:lnTo>
                <a:lnTo>
                  <a:pt x="164" y="14"/>
                </a:lnTo>
                <a:lnTo>
                  <a:pt x="161" y="17"/>
                </a:lnTo>
                <a:lnTo>
                  <a:pt x="161" y="20"/>
                </a:lnTo>
                <a:lnTo>
                  <a:pt x="161" y="20"/>
                </a:lnTo>
                <a:lnTo>
                  <a:pt x="161" y="24"/>
                </a:lnTo>
                <a:lnTo>
                  <a:pt x="164" y="29"/>
                </a:lnTo>
                <a:lnTo>
                  <a:pt x="164" y="35"/>
                </a:lnTo>
                <a:lnTo>
                  <a:pt x="164" y="38"/>
                </a:lnTo>
                <a:lnTo>
                  <a:pt x="162" y="41"/>
                </a:lnTo>
                <a:lnTo>
                  <a:pt x="162" y="41"/>
                </a:lnTo>
                <a:lnTo>
                  <a:pt x="158" y="44"/>
                </a:lnTo>
                <a:lnTo>
                  <a:pt x="151" y="45"/>
                </a:lnTo>
                <a:lnTo>
                  <a:pt x="144" y="45"/>
                </a:lnTo>
                <a:lnTo>
                  <a:pt x="138" y="41"/>
                </a:lnTo>
                <a:lnTo>
                  <a:pt x="138" y="41"/>
                </a:lnTo>
                <a:lnTo>
                  <a:pt x="131" y="35"/>
                </a:lnTo>
                <a:lnTo>
                  <a:pt x="124" y="32"/>
                </a:lnTo>
                <a:lnTo>
                  <a:pt x="115" y="31"/>
                </a:lnTo>
                <a:lnTo>
                  <a:pt x="108" y="29"/>
                </a:lnTo>
                <a:lnTo>
                  <a:pt x="108" y="29"/>
                </a:lnTo>
                <a:lnTo>
                  <a:pt x="101" y="29"/>
                </a:lnTo>
                <a:lnTo>
                  <a:pt x="97" y="27"/>
                </a:lnTo>
                <a:lnTo>
                  <a:pt x="93" y="22"/>
                </a:lnTo>
                <a:lnTo>
                  <a:pt x="93" y="18"/>
                </a:lnTo>
                <a:lnTo>
                  <a:pt x="93" y="18"/>
                </a:lnTo>
                <a:lnTo>
                  <a:pt x="93" y="15"/>
                </a:lnTo>
                <a:lnTo>
                  <a:pt x="90" y="12"/>
                </a:lnTo>
                <a:lnTo>
                  <a:pt x="87" y="11"/>
                </a:lnTo>
                <a:lnTo>
                  <a:pt x="83" y="10"/>
                </a:lnTo>
                <a:lnTo>
                  <a:pt x="83" y="10"/>
                </a:lnTo>
                <a:lnTo>
                  <a:pt x="75" y="7"/>
                </a:lnTo>
                <a:lnTo>
                  <a:pt x="70" y="5"/>
                </a:lnTo>
                <a:lnTo>
                  <a:pt x="63" y="2"/>
                </a:lnTo>
                <a:lnTo>
                  <a:pt x="53" y="4"/>
                </a:lnTo>
                <a:lnTo>
                  <a:pt x="53" y="4"/>
                </a:lnTo>
                <a:lnTo>
                  <a:pt x="47" y="4"/>
                </a:lnTo>
                <a:lnTo>
                  <a:pt x="43" y="2"/>
                </a:lnTo>
                <a:lnTo>
                  <a:pt x="34" y="0"/>
                </a:lnTo>
                <a:lnTo>
                  <a:pt x="34" y="0"/>
                </a:lnTo>
                <a:lnTo>
                  <a:pt x="34" y="8"/>
                </a:lnTo>
                <a:lnTo>
                  <a:pt x="34" y="8"/>
                </a:lnTo>
                <a:lnTo>
                  <a:pt x="33" y="11"/>
                </a:lnTo>
                <a:lnTo>
                  <a:pt x="31" y="12"/>
                </a:lnTo>
                <a:lnTo>
                  <a:pt x="27" y="12"/>
                </a:lnTo>
                <a:lnTo>
                  <a:pt x="27" y="12"/>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7" name="Freeform 204">
            <a:extLst>
              <a:ext uri="{FF2B5EF4-FFF2-40B4-BE49-F238E27FC236}">
                <a16:creationId xmlns:a16="http://schemas.microsoft.com/office/drawing/2014/main" id="{AB43CA2D-FB1F-F0DB-4767-3449DAADDDBF}"/>
              </a:ext>
            </a:extLst>
          </p:cNvPr>
          <p:cNvSpPr>
            <a:spLocks/>
          </p:cNvSpPr>
          <p:nvPr userDrawn="1"/>
        </p:nvSpPr>
        <p:spPr bwMode="gray">
          <a:xfrm>
            <a:off x="4004977" y="3053335"/>
            <a:ext cx="61124" cy="18207"/>
          </a:xfrm>
          <a:custGeom>
            <a:avLst/>
            <a:gdLst/>
            <a:ahLst/>
            <a:cxnLst>
              <a:cxn ang="0">
                <a:pos x="23" y="9"/>
              </a:cxn>
              <a:cxn ang="0">
                <a:pos x="23" y="9"/>
              </a:cxn>
              <a:cxn ang="0">
                <a:pos x="26" y="7"/>
              </a:cxn>
              <a:cxn ang="0">
                <a:pos x="30" y="9"/>
              </a:cxn>
              <a:cxn ang="0">
                <a:pos x="33" y="10"/>
              </a:cxn>
              <a:cxn ang="0">
                <a:pos x="37" y="12"/>
              </a:cxn>
              <a:cxn ang="0">
                <a:pos x="37" y="12"/>
              </a:cxn>
              <a:cxn ang="0">
                <a:pos x="40" y="12"/>
              </a:cxn>
              <a:cxn ang="0">
                <a:pos x="43" y="10"/>
              </a:cxn>
              <a:cxn ang="0">
                <a:pos x="47" y="9"/>
              </a:cxn>
              <a:cxn ang="0">
                <a:pos x="47" y="9"/>
              </a:cxn>
              <a:cxn ang="0">
                <a:pos x="38" y="7"/>
              </a:cxn>
              <a:cxn ang="0">
                <a:pos x="38" y="7"/>
              </a:cxn>
              <a:cxn ang="0">
                <a:pos x="33" y="6"/>
              </a:cxn>
              <a:cxn ang="0">
                <a:pos x="30" y="3"/>
              </a:cxn>
              <a:cxn ang="0">
                <a:pos x="27" y="0"/>
              </a:cxn>
              <a:cxn ang="0">
                <a:pos x="24" y="0"/>
              </a:cxn>
              <a:cxn ang="0">
                <a:pos x="23" y="2"/>
              </a:cxn>
              <a:cxn ang="0">
                <a:pos x="23" y="2"/>
              </a:cxn>
              <a:cxn ang="0">
                <a:pos x="13" y="4"/>
              </a:cxn>
              <a:cxn ang="0">
                <a:pos x="3" y="4"/>
              </a:cxn>
              <a:cxn ang="0">
                <a:pos x="3" y="4"/>
              </a:cxn>
              <a:cxn ang="0">
                <a:pos x="0" y="14"/>
              </a:cxn>
              <a:cxn ang="0">
                <a:pos x="0" y="14"/>
              </a:cxn>
              <a:cxn ang="0">
                <a:pos x="4" y="13"/>
              </a:cxn>
              <a:cxn ang="0">
                <a:pos x="4" y="13"/>
              </a:cxn>
              <a:cxn ang="0">
                <a:pos x="14" y="12"/>
              </a:cxn>
              <a:cxn ang="0">
                <a:pos x="20" y="10"/>
              </a:cxn>
              <a:cxn ang="0">
                <a:pos x="23" y="9"/>
              </a:cxn>
              <a:cxn ang="0">
                <a:pos x="23" y="9"/>
              </a:cxn>
            </a:cxnLst>
            <a:rect l="0" t="0" r="r" b="b"/>
            <a:pathLst>
              <a:path w="47" h="14">
                <a:moveTo>
                  <a:pt x="23" y="9"/>
                </a:moveTo>
                <a:lnTo>
                  <a:pt x="23" y="9"/>
                </a:lnTo>
                <a:lnTo>
                  <a:pt x="26" y="7"/>
                </a:lnTo>
                <a:lnTo>
                  <a:pt x="30" y="9"/>
                </a:lnTo>
                <a:lnTo>
                  <a:pt x="33" y="10"/>
                </a:lnTo>
                <a:lnTo>
                  <a:pt x="37" y="12"/>
                </a:lnTo>
                <a:lnTo>
                  <a:pt x="37" y="12"/>
                </a:lnTo>
                <a:lnTo>
                  <a:pt x="40" y="12"/>
                </a:lnTo>
                <a:lnTo>
                  <a:pt x="43" y="10"/>
                </a:lnTo>
                <a:lnTo>
                  <a:pt x="47" y="9"/>
                </a:lnTo>
                <a:lnTo>
                  <a:pt x="47" y="9"/>
                </a:lnTo>
                <a:lnTo>
                  <a:pt x="38" y="7"/>
                </a:lnTo>
                <a:lnTo>
                  <a:pt x="38" y="7"/>
                </a:lnTo>
                <a:lnTo>
                  <a:pt x="33" y="6"/>
                </a:lnTo>
                <a:lnTo>
                  <a:pt x="30" y="3"/>
                </a:lnTo>
                <a:lnTo>
                  <a:pt x="27" y="0"/>
                </a:lnTo>
                <a:lnTo>
                  <a:pt x="24" y="0"/>
                </a:lnTo>
                <a:lnTo>
                  <a:pt x="23" y="2"/>
                </a:lnTo>
                <a:lnTo>
                  <a:pt x="23" y="2"/>
                </a:lnTo>
                <a:lnTo>
                  <a:pt x="13" y="4"/>
                </a:lnTo>
                <a:lnTo>
                  <a:pt x="3" y="4"/>
                </a:lnTo>
                <a:lnTo>
                  <a:pt x="3" y="4"/>
                </a:lnTo>
                <a:lnTo>
                  <a:pt x="0" y="14"/>
                </a:lnTo>
                <a:lnTo>
                  <a:pt x="0" y="14"/>
                </a:lnTo>
                <a:lnTo>
                  <a:pt x="4" y="13"/>
                </a:lnTo>
                <a:lnTo>
                  <a:pt x="4" y="13"/>
                </a:lnTo>
                <a:lnTo>
                  <a:pt x="14" y="12"/>
                </a:lnTo>
                <a:lnTo>
                  <a:pt x="20" y="10"/>
                </a:lnTo>
                <a:lnTo>
                  <a:pt x="23" y="9"/>
                </a:lnTo>
                <a:lnTo>
                  <a:pt x="23" y="9"/>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8" name="Freeform 205">
            <a:extLst>
              <a:ext uri="{FF2B5EF4-FFF2-40B4-BE49-F238E27FC236}">
                <a16:creationId xmlns:a16="http://schemas.microsoft.com/office/drawing/2014/main" id="{E7FE8501-BCCD-F405-546B-7E6AAF4831F5}"/>
              </a:ext>
            </a:extLst>
          </p:cNvPr>
          <p:cNvSpPr>
            <a:spLocks/>
          </p:cNvSpPr>
          <p:nvPr userDrawn="1"/>
        </p:nvSpPr>
        <p:spPr bwMode="gray">
          <a:xfrm>
            <a:off x="3995874" y="2996113"/>
            <a:ext cx="119647" cy="92336"/>
          </a:xfrm>
          <a:custGeom>
            <a:avLst/>
            <a:gdLst/>
            <a:ahLst/>
            <a:cxnLst>
              <a:cxn ang="0">
                <a:pos x="18" y="70"/>
              </a:cxn>
              <a:cxn ang="0">
                <a:pos x="24" y="68"/>
              </a:cxn>
              <a:cxn ang="0">
                <a:pos x="28" y="66"/>
              </a:cxn>
              <a:cxn ang="0">
                <a:pos x="51" y="64"/>
              </a:cxn>
              <a:cxn ang="0">
                <a:pos x="55" y="66"/>
              </a:cxn>
              <a:cxn ang="0">
                <a:pos x="55" y="64"/>
              </a:cxn>
              <a:cxn ang="0">
                <a:pos x="64" y="67"/>
              </a:cxn>
              <a:cxn ang="0">
                <a:pos x="67" y="68"/>
              </a:cxn>
              <a:cxn ang="0">
                <a:pos x="75" y="71"/>
              </a:cxn>
              <a:cxn ang="0">
                <a:pos x="89" y="70"/>
              </a:cxn>
              <a:cxn ang="0">
                <a:pos x="92" y="70"/>
              </a:cxn>
              <a:cxn ang="0">
                <a:pos x="92" y="60"/>
              </a:cxn>
              <a:cxn ang="0">
                <a:pos x="88" y="54"/>
              </a:cxn>
              <a:cxn ang="0">
                <a:pos x="84" y="48"/>
              </a:cxn>
              <a:cxn ang="0">
                <a:pos x="81" y="43"/>
              </a:cxn>
              <a:cxn ang="0">
                <a:pos x="78" y="34"/>
              </a:cxn>
              <a:cxn ang="0">
                <a:pos x="75" y="30"/>
              </a:cxn>
              <a:cxn ang="0">
                <a:pos x="68" y="23"/>
              </a:cxn>
              <a:cxn ang="0">
                <a:pos x="64" y="20"/>
              </a:cxn>
              <a:cxn ang="0">
                <a:pos x="58" y="9"/>
              </a:cxn>
              <a:cxn ang="0">
                <a:pos x="53" y="9"/>
              </a:cxn>
              <a:cxn ang="0">
                <a:pos x="43" y="0"/>
              </a:cxn>
              <a:cxn ang="0">
                <a:pos x="40" y="0"/>
              </a:cxn>
              <a:cxn ang="0">
                <a:pos x="30" y="2"/>
              </a:cxn>
              <a:cxn ang="0">
                <a:pos x="25" y="2"/>
              </a:cxn>
              <a:cxn ang="0">
                <a:pos x="16" y="2"/>
              </a:cxn>
              <a:cxn ang="0">
                <a:pos x="11" y="4"/>
              </a:cxn>
              <a:cxn ang="0">
                <a:pos x="7" y="10"/>
              </a:cxn>
              <a:cxn ang="0">
                <a:pos x="6" y="10"/>
              </a:cxn>
              <a:cxn ang="0">
                <a:pos x="4" y="17"/>
              </a:cxn>
              <a:cxn ang="0">
                <a:pos x="3" y="23"/>
              </a:cxn>
              <a:cxn ang="0">
                <a:pos x="0" y="29"/>
              </a:cxn>
              <a:cxn ang="0">
                <a:pos x="6" y="41"/>
              </a:cxn>
              <a:cxn ang="0">
                <a:pos x="8" y="46"/>
              </a:cxn>
              <a:cxn ang="0">
                <a:pos x="10" y="48"/>
              </a:cxn>
              <a:cxn ang="0">
                <a:pos x="30" y="46"/>
              </a:cxn>
              <a:cxn ang="0">
                <a:pos x="31" y="44"/>
              </a:cxn>
              <a:cxn ang="0">
                <a:pos x="37" y="47"/>
              </a:cxn>
              <a:cxn ang="0">
                <a:pos x="45" y="51"/>
              </a:cxn>
              <a:cxn ang="0">
                <a:pos x="54" y="53"/>
              </a:cxn>
              <a:cxn ang="0">
                <a:pos x="50" y="54"/>
              </a:cxn>
              <a:cxn ang="0">
                <a:pos x="44" y="56"/>
              </a:cxn>
              <a:cxn ang="0">
                <a:pos x="40" y="54"/>
              </a:cxn>
              <a:cxn ang="0">
                <a:pos x="33" y="51"/>
              </a:cxn>
              <a:cxn ang="0">
                <a:pos x="30" y="53"/>
              </a:cxn>
              <a:cxn ang="0">
                <a:pos x="21" y="56"/>
              </a:cxn>
              <a:cxn ang="0">
                <a:pos x="11" y="57"/>
              </a:cxn>
              <a:cxn ang="0">
                <a:pos x="7" y="58"/>
              </a:cxn>
              <a:cxn ang="0">
                <a:pos x="8" y="66"/>
              </a:cxn>
              <a:cxn ang="0">
                <a:pos x="10" y="67"/>
              </a:cxn>
              <a:cxn ang="0">
                <a:pos x="16" y="67"/>
              </a:cxn>
              <a:cxn ang="0">
                <a:pos x="17" y="68"/>
              </a:cxn>
              <a:cxn ang="0">
                <a:pos x="18" y="70"/>
              </a:cxn>
            </a:cxnLst>
            <a:rect l="0" t="0" r="r" b="b"/>
            <a:pathLst>
              <a:path w="92" h="71">
                <a:moveTo>
                  <a:pt x="18" y="70"/>
                </a:moveTo>
                <a:lnTo>
                  <a:pt x="18" y="70"/>
                </a:lnTo>
                <a:lnTo>
                  <a:pt x="21" y="70"/>
                </a:lnTo>
                <a:lnTo>
                  <a:pt x="24" y="68"/>
                </a:lnTo>
                <a:lnTo>
                  <a:pt x="28" y="66"/>
                </a:lnTo>
                <a:lnTo>
                  <a:pt x="28" y="66"/>
                </a:lnTo>
                <a:lnTo>
                  <a:pt x="51" y="64"/>
                </a:lnTo>
                <a:lnTo>
                  <a:pt x="51" y="64"/>
                </a:lnTo>
                <a:lnTo>
                  <a:pt x="55" y="66"/>
                </a:lnTo>
                <a:lnTo>
                  <a:pt x="55" y="66"/>
                </a:lnTo>
                <a:lnTo>
                  <a:pt x="55" y="64"/>
                </a:lnTo>
                <a:lnTo>
                  <a:pt x="55" y="64"/>
                </a:lnTo>
                <a:lnTo>
                  <a:pt x="61" y="66"/>
                </a:lnTo>
                <a:lnTo>
                  <a:pt x="64" y="67"/>
                </a:lnTo>
                <a:lnTo>
                  <a:pt x="67" y="68"/>
                </a:lnTo>
                <a:lnTo>
                  <a:pt x="67" y="68"/>
                </a:lnTo>
                <a:lnTo>
                  <a:pt x="70" y="70"/>
                </a:lnTo>
                <a:lnTo>
                  <a:pt x="75" y="71"/>
                </a:lnTo>
                <a:lnTo>
                  <a:pt x="82" y="71"/>
                </a:lnTo>
                <a:lnTo>
                  <a:pt x="89" y="70"/>
                </a:lnTo>
                <a:lnTo>
                  <a:pt x="89" y="70"/>
                </a:lnTo>
                <a:lnTo>
                  <a:pt x="92" y="70"/>
                </a:lnTo>
                <a:lnTo>
                  <a:pt x="92" y="70"/>
                </a:lnTo>
                <a:lnTo>
                  <a:pt x="92" y="60"/>
                </a:lnTo>
                <a:lnTo>
                  <a:pt x="92" y="60"/>
                </a:lnTo>
                <a:lnTo>
                  <a:pt x="88" y="54"/>
                </a:lnTo>
                <a:lnTo>
                  <a:pt x="84" y="48"/>
                </a:lnTo>
                <a:lnTo>
                  <a:pt x="84" y="48"/>
                </a:lnTo>
                <a:lnTo>
                  <a:pt x="81" y="46"/>
                </a:lnTo>
                <a:lnTo>
                  <a:pt x="81" y="43"/>
                </a:lnTo>
                <a:lnTo>
                  <a:pt x="81" y="39"/>
                </a:lnTo>
                <a:lnTo>
                  <a:pt x="78" y="34"/>
                </a:lnTo>
                <a:lnTo>
                  <a:pt x="78" y="34"/>
                </a:lnTo>
                <a:lnTo>
                  <a:pt x="75" y="30"/>
                </a:lnTo>
                <a:lnTo>
                  <a:pt x="72" y="26"/>
                </a:lnTo>
                <a:lnTo>
                  <a:pt x="68" y="23"/>
                </a:lnTo>
                <a:lnTo>
                  <a:pt x="68" y="23"/>
                </a:lnTo>
                <a:lnTo>
                  <a:pt x="64" y="20"/>
                </a:lnTo>
                <a:lnTo>
                  <a:pt x="61" y="16"/>
                </a:lnTo>
                <a:lnTo>
                  <a:pt x="58" y="9"/>
                </a:lnTo>
                <a:lnTo>
                  <a:pt x="53" y="9"/>
                </a:lnTo>
                <a:lnTo>
                  <a:pt x="53" y="9"/>
                </a:lnTo>
                <a:lnTo>
                  <a:pt x="50" y="6"/>
                </a:lnTo>
                <a:lnTo>
                  <a:pt x="43" y="0"/>
                </a:lnTo>
                <a:lnTo>
                  <a:pt x="43" y="0"/>
                </a:lnTo>
                <a:lnTo>
                  <a:pt x="40" y="0"/>
                </a:lnTo>
                <a:lnTo>
                  <a:pt x="35" y="0"/>
                </a:lnTo>
                <a:lnTo>
                  <a:pt x="30" y="2"/>
                </a:lnTo>
                <a:lnTo>
                  <a:pt x="30" y="2"/>
                </a:lnTo>
                <a:lnTo>
                  <a:pt x="25" y="2"/>
                </a:lnTo>
                <a:lnTo>
                  <a:pt x="16" y="2"/>
                </a:lnTo>
                <a:lnTo>
                  <a:pt x="16" y="2"/>
                </a:lnTo>
                <a:lnTo>
                  <a:pt x="13" y="3"/>
                </a:lnTo>
                <a:lnTo>
                  <a:pt x="11" y="4"/>
                </a:lnTo>
                <a:lnTo>
                  <a:pt x="10" y="7"/>
                </a:lnTo>
                <a:lnTo>
                  <a:pt x="7" y="10"/>
                </a:lnTo>
                <a:lnTo>
                  <a:pt x="7" y="10"/>
                </a:lnTo>
                <a:lnTo>
                  <a:pt x="6" y="10"/>
                </a:lnTo>
                <a:lnTo>
                  <a:pt x="6" y="10"/>
                </a:lnTo>
                <a:lnTo>
                  <a:pt x="4" y="17"/>
                </a:lnTo>
                <a:lnTo>
                  <a:pt x="3" y="23"/>
                </a:lnTo>
                <a:lnTo>
                  <a:pt x="3" y="23"/>
                </a:lnTo>
                <a:lnTo>
                  <a:pt x="1" y="26"/>
                </a:lnTo>
                <a:lnTo>
                  <a:pt x="0" y="29"/>
                </a:lnTo>
                <a:lnTo>
                  <a:pt x="1" y="36"/>
                </a:lnTo>
                <a:lnTo>
                  <a:pt x="6" y="41"/>
                </a:lnTo>
                <a:lnTo>
                  <a:pt x="8" y="46"/>
                </a:lnTo>
                <a:lnTo>
                  <a:pt x="8" y="46"/>
                </a:lnTo>
                <a:lnTo>
                  <a:pt x="10" y="48"/>
                </a:lnTo>
                <a:lnTo>
                  <a:pt x="10" y="48"/>
                </a:lnTo>
                <a:lnTo>
                  <a:pt x="20" y="48"/>
                </a:lnTo>
                <a:lnTo>
                  <a:pt x="30" y="46"/>
                </a:lnTo>
                <a:lnTo>
                  <a:pt x="30" y="46"/>
                </a:lnTo>
                <a:lnTo>
                  <a:pt x="31" y="44"/>
                </a:lnTo>
                <a:lnTo>
                  <a:pt x="34" y="44"/>
                </a:lnTo>
                <a:lnTo>
                  <a:pt x="37" y="47"/>
                </a:lnTo>
                <a:lnTo>
                  <a:pt x="40" y="50"/>
                </a:lnTo>
                <a:lnTo>
                  <a:pt x="45" y="51"/>
                </a:lnTo>
                <a:lnTo>
                  <a:pt x="45" y="51"/>
                </a:lnTo>
                <a:lnTo>
                  <a:pt x="54" y="53"/>
                </a:lnTo>
                <a:lnTo>
                  <a:pt x="54" y="53"/>
                </a:lnTo>
                <a:lnTo>
                  <a:pt x="50" y="54"/>
                </a:lnTo>
                <a:lnTo>
                  <a:pt x="47" y="56"/>
                </a:lnTo>
                <a:lnTo>
                  <a:pt x="44" y="56"/>
                </a:lnTo>
                <a:lnTo>
                  <a:pt x="44" y="56"/>
                </a:lnTo>
                <a:lnTo>
                  <a:pt x="40" y="54"/>
                </a:lnTo>
                <a:lnTo>
                  <a:pt x="37" y="53"/>
                </a:lnTo>
                <a:lnTo>
                  <a:pt x="33" y="51"/>
                </a:lnTo>
                <a:lnTo>
                  <a:pt x="30" y="53"/>
                </a:lnTo>
                <a:lnTo>
                  <a:pt x="30" y="53"/>
                </a:lnTo>
                <a:lnTo>
                  <a:pt x="27" y="54"/>
                </a:lnTo>
                <a:lnTo>
                  <a:pt x="21" y="56"/>
                </a:lnTo>
                <a:lnTo>
                  <a:pt x="11" y="57"/>
                </a:lnTo>
                <a:lnTo>
                  <a:pt x="11" y="57"/>
                </a:lnTo>
                <a:lnTo>
                  <a:pt x="7" y="58"/>
                </a:lnTo>
                <a:lnTo>
                  <a:pt x="7" y="58"/>
                </a:lnTo>
                <a:lnTo>
                  <a:pt x="7" y="63"/>
                </a:lnTo>
                <a:lnTo>
                  <a:pt x="8" y="66"/>
                </a:lnTo>
                <a:lnTo>
                  <a:pt x="8" y="66"/>
                </a:lnTo>
                <a:lnTo>
                  <a:pt x="10" y="67"/>
                </a:lnTo>
                <a:lnTo>
                  <a:pt x="10" y="67"/>
                </a:lnTo>
                <a:lnTo>
                  <a:pt x="16" y="67"/>
                </a:lnTo>
                <a:lnTo>
                  <a:pt x="17" y="68"/>
                </a:lnTo>
                <a:lnTo>
                  <a:pt x="17" y="68"/>
                </a:lnTo>
                <a:lnTo>
                  <a:pt x="18" y="70"/>
                </a:lnTo>
                <a:lnTo>
                  <a:pt x="18" y="7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9" name="Freeform 206">
            <a:extLst>
              <a:ext uri="{FF2B5EF4-FFF2-40B4-BE49-F238E27FC236}">
                <a16:creationId xmlns:a16="http://schemas.microsoft.com/office/drawing/2014/main" id="{22C620AD-6B9C-DFCD-F268-280BEEC29398}"/>
              </a:ext>
            </a:extLst>
          </p:cNvPr>
          <p:cNvSpPr>
            <a:spLocks/>
          </p:cNvSpPr>
          <p:nvPr userDrawn="1"/>
        </p:nvSpPr>
        <p:spPr bwMode="gray">
          <a:xfrm>
            <a:off x="4008879" y="3079345"/>
            <a:ext cx="58524" cy="35114"/>
          </a:xfrm>
          <a:custGeom>
            <a:avLst/>
            <a:gdLst/>
            <a:ahLst/>
            <a:cxnLst>
              <a:cxn ang="0">
                <a:pos x="24" y="26"/>
              </a:cxn>
              <a:cxn ang="0">
                <a:pos x="24" y="26"/>
              </a:cxn>
              <a:cxn ang="0">
                <a:pos x="31" y="20"/>
              </a:cxn>
              <a:cxn ang="0">
                <a:pos x="34" y="17"/>
              </a:cxn>
              <a:cxn ang="0">
                <a:pos x="37" y="17"/>
              </a:cxn>
              <a:cxn ang="0">
                <a:pos x="37" y="17"/>
              </a:cxn>
              <a:cxn ang="0">
                <a:pos x="38" y="17"/>
              </a:cxn>
              <a:cxn ang="0">
                <a:pos x="41" y="17"/>
              </a:cxn>
              <a:cxn ang="0">
                <a:pos x="43" y="14"/>
              </a:cxn>
              <a:cxn ang="0">
                <a:pos x="43" y="14"/>
              </a:cxn>
              <a:cxn ang="0">
                <a:pos x="41" y="11"/>
              </a:cxn>
              <a:cxn ang="0">
                <a:pos x="40" y="9"/>
              </a:cxn>
              <a:cxn ang="0">
                <a:pos x="41" y="7"/>
              </a:cxn>
              <a:cxn ang="0">
                <a:pos x="41" y="7"/>
              </a:cxn>
              <a:cxn ang="0">
                <a:pos x="44" y="6"/>
              </a:cxn>
              <a:cxn ang="0">
                <a:pos x="44" y="4"/>
              </a:cxn>
              <a:cxn ang="0">
                <a:pos x="45" y="2"/>
              </a:cxn>
              <a:cxn ang="0">
                <a:pos x="45" y="2"/>
              </a:cxn>
              <a:cxn ang="0">
                <a:pos x="41" y="0"/>
              </a:cxn>
              <a:cxn ang="0">
                <a:pos x="41" y="0"/>
              </a:cxn>
              <a:cxn ang="0">
                <a:pos x="18" y="2"/>
              </a:cxn>
              <a:cxn ang="0">
                <a:pos x="18" y="2"/>
              </a:cxn>
              <a:cxn ang="0">
                <a:pos x="14" y="4"/>
              </a:cxn>
              <a:cxn ang="0">
                <a:pos x="11" y="6"/>
              </a:cxn>
              <a:cxn ang="0">
                <a:pos x="8" y="6"/>
              </a:cxn>
              <a:cxn ang="0">
                <a:pos x="8" y="6"/>
              </a:cxn>
              <a:cxn ang="0">
                <a:pos x="7" y="4"/>
              </a:cxn>
              <a:cxn ang="0">
                <a:pos x="7" y="4"/>
              </a:cxn>
              <a:cxn ang="0">
                <a:pos x="6" y="3"/>
              </a:cxn>
              <a:cxn ang="0">
                <a:pos x="0" y="3"/>
              </a:cxn>
              <a:cxn ang="0">
                <a:pos x="0" y="3"/>
              </a:cxn>
              <a:cxn ang="0">
                <a:pos x="6" y="10"/>
              </a:cxn>
              <a:cxn ang="0">
                <a:pos x="8" y="11"/>
              </a:cxn>
              <a:cxn ang="0">
                <a:pos x="14" y="13"/>
              </a:cxn>
              <a:cxn ang="0">
                <a:pos x="14" y="13"/>
              </a:cxn>
              <a:cxn ang="0">
                <a:pos x="15" y="14"/>
              </a:cxn>
              <a:cxn ang="0">
                <a:pos x="17" y="16"/>
              </a:cxn>
              <a:cxn ang="0">
                <a:pos x="17" y="19"/>
              </a:cxn>
              <a:cxn ang="0">
                <a:pos x="17" y="21"/>
              </a:cxn>
              <a:cxn ang="0">
                <a:pos x="18" y="24"/>
              </a:cxn>
              <a:cxn ang="0">
                <a:pos x="20" y="26"/>
              </a:cxn>
              <a:cxn ang="0">
                <a:pos x="20" y="26"/>
              </a:cxn>
              <a:cxn ang="0">
                <a:pos x="23" y="27"/>
              </a:cxn>
              <a:cxn ang="0">
                <a:pos x="23" y="27"/>
              </a:cxn>
              <a:cxn ang="0">
                <a:pos x="24" y="26"/>
              </a:cxn>
              <a:cxn ang="0">
                <a:pos x="24" y="26"/>
              </a:cxn>
            </a:cxnLst>
            <a:rect l="0" t="0" r="r" b="b"/>
            <a:pathLst>
              <a:path w="45" h="27">
                <a:moveTo>
                  <a:pt x="24" y="26"/>
                </a:moveTo>
                <a:lnTo>
                  <a:pt x="24" y="26"/>
                </a:lnTo>
                <a:lnTo>
                  <a:pt x="31" y="20"/>
                </a:lnTo>
                <a:lnTo>
                  <a:pt x="34" y="17"/>
                </a:lnTo>
                <a:lnTo>
                  <a:pt x="37" y="17"/>
                </a:lnTo>
                <a:lnTo>
                  <a:pt x="37" y="17"/>
                </a:lnTo>
                <a:lnTo>
                  <a:pt x="38" y="17"/>
                </a:lnTo>
                <a:lnTo>
                  <a:pt x="41" y="17"/>
                </a:lnTo>
                <a:lnTo>
                  <a:pt x="43" y="14"/>
                </a:lnTo>
                <a:lnTo>
                  <a:pt x="43" y="14"/>
                </a:lnTo>
                <a:lnTo>
                  <a:pt x="41" y="11"/>
                </a:lnTo>
                <a:lnTo>
                  <a:pt x="40" y="9"/>
                </a:lnTo>
                <a:lnTo>
                  <a:pt x="41" y="7"/>
                </a:lnTo>
                <a:lnTo>
                  <a:pt x="41" y="7"/>
                </a:lnTo>
                <a:lnTo>
                  <a:pt x="44" y="6"/>
                </a:lnTo>
                <a:lnTo>
                  <a:pt x="44" y="4"/>
                </a:lnTo>
                <a:lnTo>
                  <a:pt x="45" y="2"/>
                </a:lnTo>
                <a:lnTo>
                  <a:pt x="45" y="2"/>
                </a:lnTo>
                <a:lnTo>
                  <a:pt x="41" y="0"/>
                </a:lnTo>
                <a:lnTo>
                  <a:pt x="41" y="0"/>
                </a:lnTo>
                <a:lnTo>
                  <a:pt x="18" y="2"/>
                </a:lnTo>
                <a:lnTo>
                  <a:pt x="18" y="2"/>
                </a:lnTo>
                <a:lnTo>
                  <a:pt x="14" y="4"/>
                </a:lnTo>
                <a:lnTo>
                  <a:pt x="11" y="6"/>
                </a:lnTo>
                <a:lnTo>
                  <a:pt x="8" y="6"/>
                </a:lnTo>
                <a:lnTo>
                  <a:pt x="8" y="6"/>
                </a:lnTo>
                <a:lnTo>
                  <a:pt x="7" y="4"/>
                </a:lnTo>
                <a:lnTo>
                  <a:pt x="7" y="4"/>
                </a:lnTo>
                <a:lnTo>
                  <a:pt x="6" y="3"/>
                </a:lnTo>
                <a:lnTo>
                  <a:pt x="0" y="3"/>
                </a:lnTo>
                <a:lnTo>
                  <a:pt x="0" y="3"/>
                </a:lnTo>
                <a:lnTo>
                  <a:pt x="6" y="10"/>
                </a:lnTo>
                <a:lnTo>
                  <a:pt x="8" y="11"/>
                </a:lnTo>
                <a:lnTo>
                  <a:pt x="14" y="13"/>
                </a:lnTo>
                <a:lnTo>
                  <a:pt x="14" y="13"/>
                </a:lnTo>
                <a:lnTo>
                  <a:pt x="15" y="14"/>
                </a:lnTo>
                <a:lnTo>
                  <a:pt x="17" y="16"/>
                </a:lnTo>
                <a:lnTo>
                  <a:pt x="17" y="19"/>
                </a:lnTo>
                <a:lnTo>
                  <a:pt x="17" y="21"/>
                </a:lnTo>
                <a:lnTo>
                  <a:pt x="18" y="24"/>
                </a:lnTo>
                <a:lnTo>
                  <a:pt x="20" y="26"/>
                </a:lnTo>
                <a:lnTo>
                  <a:pt x="20" y="26"/>
                </a:lnTo>
                <a:lnTo>
                  <a:pt x="23" y="27"/>
                </a:lnTo>
                <a:lnTo>
                  <a:pt x="23" y="27"/>
                </a:lnTo>
                <a:lnTo>
                  <a:pt x="24" y="26"/>
                </a:lnTo>
                <a:lnTo>
                  <a:pt x="24" y="26"/>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20" name="Freeform 207">
            <a:extLst>
              <a:ext uri="{FF2B5EF4-FFF2-40B4-BE49-F238E27FC236}">
                <a16:creationId xmlns:a16="http://schemas.microsoft.com/office/drawing/2014/main" id="{90561C3A-0B81-7EBE-398B-C37E51231630}"/>
              </a:ext>
            </a:extLst>
          </p:cNvPr>
          <p:cNvSpPr>
            <a:spLocks/>
          </p:cNvSpPr>
          <p:nvPr userDrawn="1"/>
        </p:nvSpPr>
        <p:spPr bwMode="gray">
          <a:xfrm>
            <a:off x="4653931" y="3113159"/>
            <a:ext cx="257501" cy="179470"/>
          </a:xfrm>
          <a:custGeom>
            <a:avLst/>
            <a:gdLst/>
            <a:ahLst/>
            <a:cxnLst>
              <a:cxn ang="0">
                <a:pos x="182" y="72"/>
              </a:cxn>
              <a:cxn ang="0">
                <a:pos x="177" y="67"/>
              </a:cxn>
              <a:cxn ang="0">
                <a:pos x="167" y="58"/>
              </a:cxn>
              <a:cxn ang="0">
                <a:pos x="165" y="54"/>
              </a:cxn>
              <a:cxn ang="0">
                <a:pos x="157" y="44"/>
              </a:cxn>
              <a:cxn ang="0">
                <a:pos x="145" y="37"/>
              </a:cxn>
              <a:cxn ang="0">
                <a:pos x="137" y="34"/>
              </a:cxn>
              <a:cxn ang="0">
                <a:pos x="140" y="30"/>
              </a:cxn>
              <a:cxn ang="0">
                <a:pos x="143" y="22"/>
              </a:cxn>
              <a:cxn ang="0">
                <a:pos x="134" y="8"/>
              </a:cxn>
              <a:cxn ang="0">
                <a:pos x="125" y="0"/>
              </a:cxn>
              <a:cxn ang="0">
                <a:pos x="118" y="1"/>
              </a:cxn>
              <a:cxn ang="0">
                <a:pos x="110" y="7"/>
              </a:cxn>
              <a:cxn ang="0">
                <a:pos x="108" y="13"/>
              </a:cxn>
              <a:cxn ang="0">
                <a:pos x="93" y="30"/>
              </a:cxn>
              <a:cxn ang="0">
                <a:pos x="89" y="32"/>
              </a:cxn>
              <a:cxn ang="0">
                <a:pos x="70" y="34"/>
              </a:cxn>
              <a:cxn ang="0">
                <a:pos x="69" y="38"/>
              </a:cxn>
              <a:cxn ang="0">
                <a:pos x="70" y="42"/>
              </a:cxn>
              <a:cxn ang="0">
                <a:pos x="56" y="50"/>
              </a:cxn>
              <a:cxn ang="0">
                <a:pos x="37" y="55"/>
              </a:cxn>
              <a:cxn ang="0">
                <a:pos x="34" y="57"/>
              </a:cxn>
              <a:cxn ang="0">
                <a:pos x="29" y="54"/>
              </a:cxn>
              <a:cxn ang="0">
                <a:pos x="24" y="58"/>
              </a:cxn>
              <a:cxn ang="0">
                <a:pos x="19" y="59"/>
              </a:cxn>
              <a:cxn ang="0">
                <a:pos x="17" y="57"/>
              </a:cxn>
              <a:cxn ang="0">
                <a:pos x="9" y="67"/>
              </a:cxn>
              <a:cxn ang="0">
                <a:pos x="2" y="81"/>
              </a:cxn>
              <a:cxn ang="0">
                <a:pos x="2" y="89"/>
              </a:cxn>
              <a:cxn ang="0">
                <a:pos x="5" y="104"/>
              </a:cxn>
              <a:cxn ang="0">
                <a:pos x="9" y="112"/>
              </a:cxn>
              <a:cxn ang="0">
                <a:pos x="10" y="119"/>
              </a:cxn>
              <a:cxn ang="0">
                <a:pos x="19" y="129"/>
              </a:cxn>
              <a:cxn ang="0">
                <a:pos x="24" y="135"/>
              </a:cxn>
              <a:cxn ang="0">
                <a:pos x="27" y="138"/>
              </a:cxn>
              <a:cxn ang="0">
                <a:pos x="30" y="132"/>
              </a:cxn>
              <a:cxn ang="0">
                <a:pos x="40" y="122"/>
              </a:cxn>
              <a:cxn ang="0">
                <a:pos x="60" y="111"/>
              </a:cxn>
              <a:cxn ang="0">
                <a:pos x="71" y="99"/>
              </a:cxn>
              <a:cxn ang="0">
                <a:pos x="77" y="98"/>
              </a:cxn>
              <a:cxn ang="0">
                <a:pos x="90" y="106"/>
              </a:cxn>
              <a:cxn ang="0">
                <a:pos x="123" y="108"/>
              </a:cxn>
              <a:cxn ang="0">
                <a:pos x="125" y="102"/>
              </a:cxn>
              <a:cxn ang="0">
                <a:pos x="135" y="102"/>
              </a:cxn>
              <a:cxn ang="0">
                <a:pos x="145" y="99"/>
              </a:cxn>
              <a:cxn ang="0">
                <a:pos x="155" y="96"/>
              </a:cxn>
              <a:cxn ang="0">
                <a:pos x="168" y="95"/>
              </a:cxn>
              <a:cxn ang="0">
                <a:pos x="172" y="92"/>
              </a:cxn>
              <a:cxn ang="0">
                <a:pos x="198" y="95"/>
              </a:cxn>
              <a:cxn ang="0">
                <a:pos x="188" y="82"/>
              </a:cxn>
              <a:cxn ang="0">
                <a:pos x="182" y="77"/>
              </a:cxn>
            </a:cxnLst>
            <a:rect l="0" t="0" r="r" b="b"/>
            <a:pathLst>
              <a:path w="198" h="138">
                <a:moveTo>
                  <a:pt x="182" y="77"/>
                </a:moveTo>
                <a:lnTo>
                  <a:pt x="182" y="77"/>
                </a:lnTo>
                <a:lnTo>
                  <a:pt x="182" y="72"/>
                </a:lnTo>
                <a:lnTo>
                  <a:pt x="181" y="69"/>
                </a:lnTo>
                <a:lnTo>
                  <a:pt x="177" y="67"/>
                </a:lnTo>
                <a:lnTo>
                  <a:pt x="177" y="67"/>
                </a:lnTo>
                <a:lnTo>
                  <a:pt x="170" y="61"/>
                </a:lnTo>
                <a:lnTo>
                  <a:pt x="168" y="59"/>
                </a:lnTo>
                <a:lnTo>
                  <a:pt x="167" y="58"/>
                </a:lnTo>
                <a:lnTo>
                  <a:pt x="167" y="58"/>
                </a:lnTo>
                <a:lnTo>
                  <a:pt x="167" y="55"/>
                </a:lnTo>
                <a:lnTo>
                  <a:pt x="165" y="54"/>
                </a:lnTo>
                <a:lnTo>
                  <a:pt x="160" y="48"/>
                </a:lnTo>
                <a:lnTo>
                  <a:pt x="160" y="48"/>
                </a:lnTo>
                <a:lnTo>
                  <a:pt x="157" y="44"/>
                </a:lnTo>
                <a:lnTo>
                  <a:pt x="153" y="42"/>
                </a:lnTo>
                <a:lnTo>
                  <a:pt x="147" y="41"/>
                </a:lnTo>
                <a:lnTo>
                  <a:pt x="145" y="37"/>
                </a:lnTo>
                <a:lnTo>
                  <a:pt x="138" y="35"/>
                </a:lnTo>
                <a:lnTo>
                  <a:pt x="138" y="35"/>
                </a:lnTo>
                <a:lnTo>
                  <a:pt x="137" y="34"/>
                </a:lnTo>
                <a:lnTo>
                  <a:pt x="138" y="32"/>
                </a:lnTo>
                <a:lnTo>
                  <a:pt x="140" y="30"/>
                </a:lnTo>
                <a:lnTo>
                  <a:pt x="140" y="30"/>
                </a:lnTo>
                <a:lnTo>
                  <a:pt x="143" y="28"/>
                </a:lnTo>
                <a:lnTo>
                  <a:pt x="143" y="27"/>
                </a:lnTo>
                <a:lnTo>
                  <a:pt x="143" y="22"/>
                </a:lnTo>
                <a:lnTo>
                  <a:pt x="140" y="15"/>
                </a:lnTo>
                <a:lnTo>
                  <a:pt x="140" y="15"/>
                </a:lnTo>
                <a:lnTo>
                  <a:pt x="134" y="8"/>
                </a:lnTo>
                <a:lnTo>
                  <a:pt x="128" y="1"/>
                </a:lnTo>
                <a:lnTo>
                  <a:pt x="128" y="1"/>
                </a:lnTo>
                <a:lnTo>
                  <a:pt x="125" y="0"/>
                </a:lnTo>
                <a:lnTo>
                  <a:pt x="125" y="0"/>
                </a:lnTo>
                <a:lnTo>
                  <a:pt x="123" y="0"/>
                </a:lnTo>
                <a:lnTo>
                  <a:pt x="118" y="1"/>
                </a:lnTo>
                <a:lnTo>
                  <a:pt x="113" y="5"/>
                </a:lnTo>
                <a:lnTo>
                  <a:pt x="113" y="5"/>
                </a:lnTo>
                <a:lnTo>
                  <a:pt x="110" y="7"/>
                </a:lnTo>
                <a:lnTo>
                  <a:pt x="110" y="10"/>
                </a:lnTo>
                <a:lnTo>
                  <a:pt x="110" y="11"/>
                </a:lnTo>
                <a:lnTo>
                  <a:pt x="108" y="13"/>
                </a:lnTo>
                <a:lnTo>
                  <a:pt x="108" y="13"/>
                </a:lnTo>
                <a:lnTo>
                  <a:pt x="101" y="20"/>
                </a:lnTo>
                <a:lnTo>
                  <a:pt x="93" y="30"/>
                </a:lnTo>
                <a:lnTo>
                  <a:pt x="93" y="30"/>
                </a:lnTo>
                <a:lnTo>
                  <a:pt x="91" y="31"/>
                </a:lnTo>
                <a:lnTo>
                  <a:pt x="89" y="32"/>
                </a:lnTo>
                <a:lnTo>
                  <a:pt x="81" y="32"/>
                </a:lnTo>
                <a:lnTo>
                  <a:pt x="74" y="32"/>
                </a:lnTo>
                <a:lnTo>
                  <a:pt x="70" y="34"/>
                </a:lnTo>
                <a:lnTo>
                  <a:pt x="70" y="34"/>
                </a:lnTo>
                <a:lnTo>
                  <a:pt x="69" y="35"/>
                </a:lnTo>
                <a:lnTo>
                  <a:pt x="69" y="38"/>
                </a:lnTo>
                <a:lnTo>
                  <a:pt x="70" y="41"/>
                </a:lnTo>
                <a:lnTo>
                  <a:pt x="70" y="42"/>
                </a:lnTo>
                <a:lnTo>
                  <a:pt x="70" y="42"/>
                </a:lnTo>
                <a:lnTo>
                  <a:pt x="63" y="47"/>
                </a:lnTo>
                <a:lnTo>
                  <a:pt x="56" y="50"/>
                </a:lnTo>
                <a:lnTo>
                  <a:pt x="56" y="50"/>
                </a:lnTo>
                <a:lnTo>
                  <a:pt x="46" y="51"/>
                </a:lnTo>
                <a:lnTo>
                  <a:pt x="42" y="52"/>
                </a:lnTo>
                <a:lnTo>
                  <a:pt x="37" y="55"/>
                </a:lnTo>
                <a:lnTo>
                  <a:pt x="37" y="55"/>
                </a:lnTo>
                <a:lnTo>
                  <a:pt x="36" y="57"/>
                </a:lnTo>
                <a:lnTo>
                  <a:pt x="34" y="57"/>
                </a:lnTo>
                <a:lnTo>
                  <a:pt x="33" y="55"/>
                </a:lnTo>
                <a:lnTo>
                  <a:pt x="30" y="54"/>
                </a:lnTo>
                <a:lnTo>
                  <a:pt x="29" y="54"/>
                </a:lnTo>
                <a:lnTo>
                  <a:pt x="27" y="55"/>
                </a:lnTo>
                <a:lnTo>
                  <a:pt x="27" y="55"/>
                </a:lnTo>
                <a:lnTo>
                  <a:pt x="24" y="58"/>
                </a:lnTo>
                <a:lnTo>
                  <a:pt x="22" y="59"/>
                </a:lnTo>
                <a:lnTo>
                  <a:pt x="20" y="59"/>
                </a:lnTo>
                <a:lnTo>
                  <a:pt x="19" y="59"/>
                </a:lnTo>
                <a:lnTo>
                  <a:pt x="19" y="59"/>
                </a:lnTo>
                <a:lnTo>
                  <a:pt x="17" y="57"/>
                </a:lnTo>
                <a:lnTo>
                  <a:pt x="17" y="57"/>
                </a:lnTo>
                <a:lnTo>
                  <a:pt x="12" y="62"/>
                </a:lnTo>
                <a:lnTo>
                  <a:pt x="9" y="67"/>
                </a:lnTo>
                <a:lnTo>
                  <a:pt x="9" y="67"/>
                </a:lnTo>
                <a:lnTo>
                  <a:pt x="6" y="72"/>
                </a:lnTo>
                <a:lnTo>
                  <a:pt x="5" y="77"/>
                </a:lnTo>
                <a:lnTo>
                  <a:pt x="2" y="81"/>
                </a:lnTo>
                <a:lnTo>
                  <a:pt x="0" y="84"/>
                </a:lnTo>
                <a:lnTo>
                  <a:pt x="0" y="84"/>
                </a:lnTo>
                <a:lnTo>
                  <a:pt x="2" y="89"/>
                </a:lnTo>
                <a:lnTo>
                  <a:pt x="3" y="96"/>
                </a:lnTo>
                <a:lnTo>
                  <a:pt x="3" y="96"/>
                </a:lnTo>
                <a:lnTo>
                  <a:pt x="5" y="104"/>
                </a:lnTo>
                <a:lnTo>
                  <a:pt x="7" y="109"/>
                </a:lnTo>
                <a:lnTo>
                  <a:pt x="7" y="109"/>
                </a:lnTo>
                <a:lnTo>
                  <a:pt x="9" y="112"/>
                </a:lnTo>
                <a:lnTo>
                  <a:pt x="10" y="115"/>
                </a:lnTo>
                <a:lnTo>
                  <a:pt x="10" y="119"/>
                </a:lnTo>
                <a:lnTo>
                  <a:pt x="10" y="119"/>
                </a:lnTo>
                <a:lnTo>
                  <a:pt x="13" y="123"/>
                </a:lnTo>
                <a:lnTo>
                  <a:pt x="13" y="123"/>
                </a:lnTo>
                <a:lnTo>
                  <a:pt x="19" y="129"/>
                </a:lnTo>
                <a:lnTo>
                  <a:pt x="22" y="132"/>
                </a:lnTo>
                <a:lnTo>
                  <a:pt x="24" y="135"/>
                </a:lnTo>
                <a:lnTo>
                  <a:pt x="24" y="135"/>
                </a:lnTo>
                <a:lnTo>
                  <a:pt x="24" y="136"/>
                </a:lnTo>
                <a:lnTo>
                  <a:pt x="27" y="138"/>
                </a:lnTo>
                <a:lnTo>
                  <a:pt x="27" y="138"/>
                </a:lnTo>
                <a:lnTo>
                  <a:pt x="27" y="135"/>
                </a:lnTo>
                <a:lnTo>
                  <a:pt x="27" y="135"/>
                </a:lnTo>
                <a:lnTo>
                  <a:pt x="30" y="132"/>
                </a:lnTo>
                <a:lnTo>
                  <a:pt x="30" y="128"/>
                </a:lnTo>
                <a:lnTo>
                  <a:pt x="30" y="123"/>
                </a:lnTo>
                <a:lnTo>
                  <a:pt x="40" y="122"/>
                </a:lnTo>
                <a:lnTo>
                  <a:pt x="46" y="119"/>
                </a:lnTo>
                <a:lnTo>
                  <a:pt x="60" y="122"/>
                </a:lnTo>
                <a:lnTo>
                  <a:pt x="60" y="111"/>
                </a:lnTo>
                <a:lnTo>
                  <a:pt x="60" y="111"/>
                </a:lnTo>
                <a:lnTo>
                  <a:pt x="66" y="105"/>
                </a:lnTo>
                <a:lnTo>
                  <a:pt x="71" y="99"/>
                </a:lnTo>
                <a:lnTo>
                  <a:pt x="74" y="98"/>
                </a:lnTo>
                <a:lnTo>
                  <a:pt x="77" y="98"/>
                </a:lnTo>
                <a:lnTo>
                  <a:pt x="77" y="98"/>
                </a:lnTo>
                <a:lnTo>
                  <a:pt x="81" y="99"/>
                </a:lnTo>
                <a:lnTo>
                  <a:pt x="86" y="102"/>
                </a:lnTo>
                <a:lnTo>
                  <a:pt x="90" y="106"/>
                </a:lnTo>
                <a:lnTo>
                  <a:pt x="121" y="114"/>
                </a:lnTo>
                <a:lnTo>
                  <a:pt x="121" y="114"/>
                </a:lnTo>
                <a:lnTo>
                  <a:pt x="123" y="108"/>
                </a:lnTo>
                <a:lnTo>
                  <a:pt x="124" y="105"/>
                </a:lnTo>
                <a:lnTo>
                  <a:pt x="125" y="102"/>
                </a:lnTo>
                <a:lnTo>
                  <a:pt x="125" y="102"/>
                </a:lnTo>
                <a:lnTo>
                  <a:pt x="128" y="101"/>
                </a:lnTo>
                <a:lnTo>
                  <a:pt x="131" y="102"/>
                </a:lnTo>
                <a:lnTo>
                  <a:pt x="135" y="102"/>
                </a:lnTo>
                <a:lnTo>
                  <a:pt x="138" y="102"/>
                </a:lnTo>
                <a:lnTo>
                  <a:pt x="138" y="102"/>
                </a:lnTo>
                <a:lnTo>
                  <a:pt x="145" y="99"/>
                </a:lnTo>
                <a:lnTo>
                  <a:pt x="150" y="98"/>
                </a:lnTo>
                <a:lnTo>
                  <a:pt x="155" y="96"/>
                </a:lnTo>
                <a:lnTo>
                  <a:pt x="155" y="96"/>
                </a:lnTo>
                <a:lnTo>
                  <a:pt x="162" y="98"/>
                </a:lnTo>
                <a:lnTo>
                  <a:pt x="165" y="98"/>
                </a:lnTo>
                <a:lnTo>
                  <a:pt x="168" y="95"/>
                </a:lnTo>
                <a:lnTo>
                  <a:pt x="168" y="95"/>
                </a:lnTo>
                <a:lnTo>
                  <a:pt x="170" y="94"/>
                </a:lnTo>
                <a:lnTo>
                  <a:pt x="172" y="92"/>
                </a:lnTo>
                <a:lnTo>
                  <a:pt x="178" y="94"/>
                </a:lnTo>
                <a:lnTo>
                  <a:pt x="185" y="96"/>
                </a:lnTo>
                <a:lnTo>
                  <a:pt x="198" y="95"/>
                </a:lnTo>
                <a:lnTo>
                  <a:pt x="194" y="85"/>
                </a:lnTo>
                <a:lnTo>
                  <a:pt x="194" y="85"/>
                </a:lnTo>
                <a:lnTo>
                  <a:pt x="188" y="82"/>
                </a:lnTo>
                <a:lnTo>
                  <a:pt x="185" y="79"/>
                </a:lnTo>
                <a:lnTo>
                  <a:pt x="182" y="77"/>
                </a:lnTo>
                <a:lnTo>
                  <a:pt x="182" y="77"/>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21" name="Freeform 208">
            <a:extLst>
              <a:ext uri="{FF2B5EF4-FFF2-40B4-BE49-F238E27FC236}">
                <a16:creationId xmlns:a16="http://schemas.microsoft.com/office/drawing/2014/main" id="{A6F4FDB2-CE79-FE60-39F5-86F1CE5316C9}"/>
              </a:ext>
            </a:extLst>
          </p:cNvPr>
          <p:cNvSpPr>
            <a:spLocks/>
          </p:cNvSpPr>
          <p:nvPr userDrawn="1"/>
        </p:nvSpPr>
        <p:spPr bwMode="gray">
          <a:xfrm>
            <a:off x="4412037" y="3055936"/>
            <a:ext cx="245796" cy="198979"/>
          </a:xfrm>
          <a:custGeom>
            <a:avLst/>
            <a:gdLst/>
            <a:ahLst/>
            <a:cxnLst>
              <a:cxn ang="0">
                <a:pos x="121" y="112"/>
              </a:cxn>
              <a:cxn ang="0">
                <a:pos x="127" y="111"/>
              </a:cxn>
              <a:cxn ang="0">
                <a:pos x="137" y="115"/>
              </a:cxn>
              <a:cxn ang="0">
                <a:pos x="139" y="121"/>
              </a:cxn>
              <a:cxn ang="0">
                <a:pos x="145" y="112"/>
              </a:cxn>
              <a:cxn ang="0">
                <a:pos x="156" y="88"/>
              </a:cxn>
              <a:cxn ang="0">
                <a:pos x="161" y="82"/>
              </a:cxn>
              <a:cxn ang="0">
                <a:pos x="164" y="78"/>
              </a:cxn>
              <a:cxn ang="0">
                <a:pos x="166" y="69"/>
              </a:cxn>
              <a:cxn ang="0">
                <a:pos x="169" y="65"/>
              </a:cxn>
              <a:cxn ang="0">
                <a:pos x="171" y="55"/>
              </a:cxn>
              <a:cxn ang="0">
                <a:pos x="179" y="41"/>
              </a:cxn>
              <a:cxn ang="0">
                <a:pos x="186" y="38"/>
              </a:cxn>
              <a:cxn ang="0">
                <a:pos x="189" y="29"/>
              </a:cxn>
              <a:cxn ang="0">
                <a:pos x="188" y="27"/>
              </a:cxn>
              <a:cxn ang="0">
                <a:pos x="181" y="20"/>
              </a:cxn>
              <a:cxn ang="0">
                <a:pos x="182" y="11"/>
              </a:cxn>
              <a:cxn ang="0">
                <a:pos x="176" y="4"/>
              </a:cxn>
              <a:cxn ang="0">
                <a:pos x="172" y="1"/>
              </a:cxn>
              <a:cxn ang="0">
                <a:pos x="168" y="2"/>
              </a:cxn>
              <a:cxn ang="0">
                <a:pos x="159" y="11"/>
              </a:cxn>
              <a:cxn ang="0">
                <a:pos x="151" y="11"/>
              </a:cxn>
              <a:cxn ang="0">
                <a:pos x="142" y="7"/>
              </a:cxn>
              <a:cxn ang="0">
                <a:pos x="125" y="8"/>
              </a:cxn>
              <a:cxn ang="0">
                <a:pos x="114" y="15"/>
              </a:cxn>
              <a:cxn ang="0">
                <a:pos x="105" y="17"/>
              </a:cxn>
              <a:cxn ang="0">
                <a:pos x="91" y="11"/>
              </a:cxn>
              <a:cxn ang="0">
                <a:pos x="85" y="8"/>
              </a:cxn>
              <a:cxn ang="0">
                <a:pos x="72" y="12"/>
              </a:cxn>
              <a:cxn ang="0">
                <a:pos x="67" y="11"/>
              </a:cxn>
              <a:cxn ang="0">
                <a:pos x="60" y="2"/>
              </a:cxn>
              <a:cxn ang="0">
                <a:pos x="50" y="0"/>
              </a:cxn>
              <a:cxn ang="0">
                <a:pos x="45" y="1"/>
              </a:cxn>
              <a:cxn ang="0">
                <a:pos x="41" y="4"/>
              </a:cxn>
              <a:cxn ang="0">
                <a:pos x="26" y="4"/>
              </a:cxn>
              <a:cxn ang="0">
                <a:pos x="23" y="10"/>
              </a:cxn>
              <a:cxn ang="0">
                <a:pos x="18" y="21"/>
              </a:cxn>
              <a:cxn ang="0">
                <a:pos x="16" y="28"/>
              </a:cxn>
              <a:cxn ang="0">
                <a:pos x="13" y="31"/>
              </a:cxn>
              <a:cxn ang="0">
                <a:pos x="16" y="52"/>
              </a:cxn>
              <a:cxn ang="0">
                <a:pos x="13" y="64"/>
              </a:cxn>
              <a:cxn ang="0">
                <a:pos x="7" y="74"/>
              </a:cxn>
              <a:cxn ang="0">
                <a:pos x="0" y="85"/>
              </a:cxn>
              <a:cxn ang="0">
                <a:pos x="1" y="103"/>
              </a:cxn>
              <a:cxn ang="0">
                <a:pos x="3" y="111"/>
              </a:cxn>
              <a:cxn ang="0">
                <a:pos x="6" y="116"/>
              </a:cxn>
              <a:cxn ang="0">
                <a:pos x="16" y="121"/>
              </a:cxn>
              <a:cxn ang="0">
                <a:pos x="36" y="126"/>
              </a:cxn>
              <a:cxn ang="0">
                <a:pos x="45" y="139"/>
              </a:cxn>
              <a:cxn ang="0">
                <a:pos x="48" y="148"/>
              </a:cxn>
              <a:cxn ang="0">
                <a:pos x="54" y="153"/>
              </a:cxn>
              <a:cxn ang="0">
                <a:pos x="67" y="150"/>
              </a:cxn>
              <a:cxn ang="0">
                <a:pos x="81" y="149"/>
              </a:cxn>
              <a:cxn ang="0">
                <a:pos x="91" y="148"/>
              </a:cxn>
              <a:cxn ang="0">
                <a:pos x="94" y="148"/>
              </a:cxn>
              <a:cxn ang="0">
                <a:pos x="98" y="131"/>
              </a:cxn>
              <a:cxn ang="0">
                <a:pos x="117" y="112"/>
              </a:cxn>
            </a:cxnLst>
            <a:rect l="0" t="0" r="r" b="b"/>
            <a:pathLst>
              <a:path w="189" h="153">
                <a:moveTo>
                  <a:pt x="117" y="112"/>
                </a:moveTo>
                <a:lnTo>
                  <a:pt x="117" y="112"/>
                </a:lnTo>
                <a:lnTo>
                  <a:pt x="121" y="112"/>
                </a:lnTo>
                <a:lnTo>
                  <a:pt x="124" y="112"/>
                </a:lnTo>
                <a:lnTo>
                  <a:pt x="127" y="111"/>
                </a:lnTo>
                <a:lnTo>
                  <a:pt x="127" y="111"/>
                </a:lnTo>
                <a:lnTo>
                  <a:pt x="129" y="111"/>
                </a:lnTo>
                <a:lnTo>
                  <a:pt x="132" y="112"/>
                </a:lnTo>
                <a:lnTo>
                  <a:pt x="137" y="115"/>
                </a:lnTo>
                <a:lnTo>
                  <a:pt x="138" y="119"/>
                </a:lnTo>
                <a:lnTo>
                  <a:pt x="138" y="119"/>
                </a:lnTo>
                <a:lnTo>
                  <a:pt x="139" y="121"/>
                </a:lnTo>
                <a:lnTo>
                  <a:pt x="141" y="119"/>
                </a:lnTo>
                <a:lnTo>
                  <a:pt x="145" y="112"/>
                </a:lnTo>
                <a:lnTo>
                  <a:pt x="145" y="112"/>
                </a:lnTo>
                <a:lnTo>
                  <a:pt x="151" y="99"/>
                </a:lnTo>
                <a:lnTo>
                  <a:pt x="155" y="92"/>
                </a:lnTo>
                <a:lnTo>
                  <a:pt x="156" y="88"/>
                </a:lnTo>
                <a:lnTo>
                  <a:pt x="156" y="88"/>
                </a:lnTo>
                <a:lnTo>
                  <a:pt x="158" y="85"/>
                </a:lnTo>
                <a:lnTo>
                  <a:pt x="161" y="82"/>
                </a:lnTo>
                <a:lnTo>
                  <a:pt x="162" y="79"/>
                </a:lnTo>
                <a:lnTo>
                  <a:pt x="164" y="78"/>
                </a:lnTo>
                <a:lnTo>
                  <a:pt x="164" y="78"/>
                </a:lnTo>
                <a:lnTo>
                  <a:pt x="164" y="74"/>
                </a:lnTo>
                <a:lnTo>
                  <a:pt x="165" y="71"/>
                </a:lnTo>
                <a:lnTo>
                  <a:pt x="166" y="69"/>
                </a:lnTo>
                <a:lnTo>
                  <a:pt x="166" y="69"/>
                </a:lnTo>
                <a:lnTo>
                  <a:pt x="168" y="68"/>
                </a:lnTo>
                <a:lnTo>
                  <a:pt x="169" y="65"/>
                </a:lnTo>
                <a:lnTo>
                  <a:pt x="169" y="59"/>
                </a:lnTo>
                <a:lnTo>
                  <a:pt x="169" y="59"/>
                </a:lnTo>
                <a:lnTo>
                  <a:pt x="171" y="55"/>
                </a:lnTo>
                <a:lnTo>
                  <a:pt x="174" y="49"/>
                </a:lnTo>
                <a:lnTo>
                  <a:pt x="179" y="41"/>
                </a:lnTo>
                <a:lnTo>
                  <a:pt x="179" y="41"/>
                </a:lnTo>
                <a:lnTo>
                  <a:pt x="181" y="41"/>
                </a:lnTo>
                <a:lnTo>
                  <a:pt x="183" y="39"/>
                </a:lnTo>
                <a:lnTo>
                  <a:pt x="186" y="38"/>
                </a:lnTo>
                <a:lnTo>
                  <a:pt x="189" y="37"/>
                </a:lnTo>
                <a:lnTo>
                  <a:pt x="189" y="37"/>
                </a:lnTo>
                <a:lnTo>
                  <a:pt x="189" y="29"/>
                </a:lnTo>
                <a:lnTo>
                  <a:pt x="189" y="28"/>
                </a:lnTo>
                <a:lnTo>
                  <a:pt x="188" y="27"/>
                </a:lnTo>
                <a:lnTo>
                  <a:pt x="188" y="27"/>
                </a:lnTo>
                <a:lnTo>
                  <a:pt x="183" y="24"/>
                </a:lnTo>
                <a:lnTo>
                  <a:pt x="182" y="21"/>
                </a:lnTo>
                <a:lnTo>
                  <a:pt x="181" y="20"/>
                </a:lnTo>
                <a:lnTo>
                  <a:pt x="181" y="20"/>
                </a:lnTo>
                <a:lnTo>
                  <a:pt x="182" y="11"/>
                </a:lnTo>
                <a:lnTo>
                  <a:pt x="182" y="11"/>
                </a:lnTo>
                <a:lnTo>
                  <a:pt x="179" y="10"/>
                </a:lnTo>
                <a:lnTo>
                  <a:pt x="178" y="8"/>
                </a:lnTo>
                <a:lnTo>
                  <a:pt x="176" y="4"/>
                </a:lnTo>
                <a:lnTo>
                  <a:pt x="176" y="4"/>
                </a:lnTo>
                <a:lnTo>
                  <a:pt x="174" y="1"/>
                </a:lnTo>
                <a:lnTo>
                  <a:pt x="172" y="1"/>
                </a:lnTo>
                <a:lnTo>
                  <a:pt x="171" y="1"/>
                </a:lnTo>
                <a:lnTo>
                  <a:pt x="171" y="1"/>
                </a:lnTo>
                <a:lnTo>
                  <a:pt x="168" y="2"/>
                </a:lnTo>
                <a:lnTo>
                  <a:pt x="165" y="5"/>
                </a:lnTo>
                <a:lnTo>
                  <a:pt x="162" y="10"/>
                </a:lnTo>
                <a:lnTo>
                  <a:pt x="159" y="11"/>
                </a:lnTo>
                <a:lnTo>
                  <a:pt x="159" y="11"/>
                </a:lnTo>
                <a:lnTo>
                  <a:pt x="155" y="11"/>
                </a:lnTo>
                <a:lnTo>
                  <a:pt x="151" y="11"/>
                </a:lnTo>
                <a:lnTo>
                  <a:pt x="145" y="8"/>
                </a:lnTo>
                <a:lnTo>
                  <a:pt x="145" y="8"/>
                </a:lnTo>
                <a:lnTo>
                  <a:pt x="142" y="7"/>
                </a:lnTo>
                <a:lnTo>
                  <a:pt x="135" y="7"/>
                </a:lnTo>
                <a:lnTo>
                  <a:pt x="125" y="8"/>
                </a:lnTo>
                <a:lnTo>
                  <a:pt x="125" y="8"/>
                </a:lnTo>
                <a:lnTo>
                  <a:pt x="122" y="8"/>
                </a:lnTo>
                <a:lnTo>
                  <a:pt x="118" y="11"/>
                </a:lnTo>
                <a:lnTo>
                  <a:pt x="114" y="15"/>
                </a:lnTo>
                <a:lnTo>
                  <a:pt x="114" y="15"/>
                </a:lnTo>
                <a:lnTo>
                  <a:pt x="109" y="17"/>
                </a:lnTo>
                <a:lnTo>
                  <a:pt x="105" y="17"/>
                </a:lnTo>
                <a:lnTo>
                  <a:pt x="98" y="15"/>
                </a:lnTo>
                <a:lnTo>
                  <a:pt x="98" y="15"/>
                </a:lnTo>
                <a:lnTo>
                  <a:pt x="91" y="11"/>
                </a:lnTo>
                <a:lnTo>
                  <a:pt x="88" y="10"/>
                </a:lnTo>
                <a:lnTo>
                  <a:pt x="85" y="8"/>
                </a:lnTo>
                <a:lnTo>
                  <a:pt x="85" y="8"/>
                </a:lnTo>
                <a:lnTo>
                  <a:pt x="80" y="10"/>
                </a:lnTo>
                <a:lnTo>
                  <a:pt x="72" y="12"/>
                </a:lnTo>
                <a:lnTo>
                  <a:pt x="72" y="12"/>
                </a:lnTo>
                <a:lnTo>
                  <a:pt x="70" y="12"/>
                </a:lnTo>
                <a:lnTo>
                  <a:pt x="68" y="12"/>
                </a:lnTo>
                <a:lnTo>
                  <a:pt x="67" y="11"/>
                </a:lnTo>
                <a:lnTo>
                  <a:pt x="63" y="4"/>
                </a:lnTo>
                <a:lnTo>
                  <a:pt x="63" y="4"/>
                </a:lnTo>
                <a:lnTo>
                  <a:pt x="60" y="2"/>
                </a:lnTo>
                <a:lnTo>
                  <a:pt x="57" y="2"/>
                </a:lnTo>
                <a:lnTo>
                  <a:pt x="53" y="1"/>
                </a:lnTo>
                <a:lnTo>
                  <a:pt x="50" y="0"/>
                </a:lnTo>
                <a:lnTo>
                  <a:pt x="50" y="0"/>
                </a:lnTo>
                <a:lnTo>
                  <a:pt x="47" y="0"/>
                </a:lnTo>
                <a:lnTo>
                  <a:pt x="45" y="1"/>
                </a:lnTo>
                <a:lnTo>
                  <a:pt x="43" y="2"/>
                </a:lnTo>
                <a:lnTo>
                  <a:pt x="41" y="4"/>
                </a:lnTo>
                <a:lnTo>
                  <a:pt x="41" y="4"/>
                </a:lnTo>
                <a:lnTo>
                  <a:pt x="33" y="2"/>
                </a:lnTo>
                <a:lnTo>
                  <a:pt x="28" y="2"/>
                </a:lnTo>
                <a:lnTo>
                  <a:pt x="26" y="4"/>
                </a:lnTo>
                <a:lnTo>
                  <a:pt x="26" y="4"/>
                </a:lnTo>
                <a:lnTo>
                  <a:pt x="24" y="7"/>
                </a:lnTo>
                <a:lnTo>
                  <a:pt x="23" y="10"/>
                </a:lnTo>
                <a:lnTo>
                  <a:pt x="23" y="17"/>
                </a:lnTo>
                <a:lnTo>
                  <a:pt x="23" y="17"/>
                </a:lnTo>
                <a:lnTo>
                  <a:pt x="18" y="21"/>
                </a:lnTo>
                <a:lnTo>
                  <a:pt x="16" y="24"/>
                </a:lnTo>
                <a:lnTo>
                  <a:pt x="16" y="28"/>
                </a:lnTo>
                <a:lnTo>
                  <a:pt x="16" y="28"/>
                </a:lnTo>
                <a:lnTo>
                  <a:pt x="14" y="29"/>
                </a:lnTo>
                <a:lnTo>
                  <a:pt x="13" y="31"/>
                </a:lnTo>
                <a:lnTo>
                  <a:pt x="13" y="31"/>
                </a:lnTo>
                <a:lnTo>
                  <a:pt x="16" y="41"/>
                </a:lnTo>
                <a:lnTo>
                  <a:pt x="16" y="41"/>
                </a:lnTo>
                <a:lnTo>
                  <a:pt x="16" y="52"/>
                </a:lnTo>
                <a:lnTo>
                  <a:pt x="16" y="59"/>
                </a:lnTo>
                <a:lnTo>
                  <a:pt x="13" y="64"/>
                </a:lnTo>
                <a:lnTo>
                  <a:pt x="13" y="64"/>
                </a:lnTo>
                <a:lnTo>
                  <a:pt x="8" y="71"/>
                </a:lnTo>
                <a:lnTo>
                  <a:pt x="7" y="74"/>
                </a:lnTo>
                <a:lnTo>
                  <a:pt x="7" y="74"/>
                </a:lnTo>
                <a:lnTo>
                  <a:pt x="4" y="76"/>
                </a:lnTo>
                <a:lnTo>
                  <a:pt x="1" y="81"/>
                </a:lnTo>
                <a:lnTo>
                  <a:pt x="0" y="85"/>
                </a:lnTo>
                <a:lnTo>
                  <a:pt x="0" y="85"/>
                </a:lnTo>
                <a:lnTo>
                  <a:pt x="0" y="95"/>
                </a:lnTo>
                <a:lnTo>
                  <a:pt x="1" y="103"/>
                </a:lnTo>
                <a:lnTo>
                  <a:pt x="1" y="103"/>
                </a:lnTo>
                <a:lnTo>
                  <a:pt x="1" y="108"/>
                </a:lnTo>
                <a:lnTo>
                  <a:pt x="3" y="111"/>
                </a:lnTo>
                <a:lnTo>
                  <a:pt x="6" y="116"/>
                </a:lnTo>
                <a:lnTo>
                  <a:pt x="6" y="116"/>
                </a:lnTo>
                <a:lnTo>
                  <a:pt x="6" y="116"/>
                </a:lnTo>
                <a:lnTo>
                  <a:pt x="6" y="116"/>
                </a:lnTo>
                <a:lnTo>
                  <a:pt x="10" y="119"/>
                </a:lnTo>
                <a:lnTo>
                  <a:pt x="16" y="121"/>
                </a:lnTo>
                <a:lnTo>
                  <a:pt x="30" y="123"/>
                </a:lnTo>
                <a:lnTo>
                  <a:pt x="30" y="123"/>
                </a:lnTo>
                <a:lnTo>
                  <a:pt x="36" y="126"/>
                </a:lnTo>
                <a:lnTo>
                  <a:pt x="40" y="131"/>
                </a:lnTo>
                <a:lnTo>
                  <a:pt x="44" y="135"/>
                </a:lnTo>
                <a:lnTo>
                  <a:pt x="45" y="139"/>
                </a:lnTo>
                <a:lnTo>
                  <a:pt x="45" y="139"/>
                </a:lnTo>
                <a:lnTo>
                  <a:pt x="45" y="143"/>
                </a:lnTo>
                <a:lnTo>
                  <a:pt x="48" y="148"/>
                </a:lnTo>
                <a:lnTo>
                  <a:pt x="51" y="150"/>
                </a:lnTo>
                <a:lnTo>
                  <a:pt x="54" y="153"/>
                </a:lnTo>
                <a:lnTo>
                  <a:pt x="54" y="153"/>
                </a:lnTo>
                <a:lnTo>
                  <a:pt x="57" y="153"/>
                </a:lnTo>
                <a:lnTo>
                  <a:pt x="61" y="152"/>
                </a:lnTo>
                <a:lnTo>
                  <a:pt x="67" y="150"/>
                </a:lnTo>
                <a:lnTo>
                  <a:pt x="70" y="149"/>
                </a:lnTo>
                <a:lnTo>
                  <a:pt x="70" y="149"/>
                </a:lnTo>
                <a:lnTo>
                  <a:pt x="81" y="149"/>
                </a:lnTo>
                <a:lnTo>
                  <a:pt x="87" y="149"/>
                </a:lnTo>
                <a:lnTo>
                  <a:pt x="91" y="148"/>
                </a:lnTo>
                <a:lnTo>
                  <a:pt x="91" y="148"/>
                </a:lnTo>
                <a:lnTo>
                  <a:pt x="92" y="146"/>
                </a:lnTo>
                <a:lnTo>
                  <a:pt x="94" y="148"/>
                </a:lnTo>
                <a:lnTo>
                  <a:pt x="94" y="148"/>
                </a:lnTo>
                <a:lnTo>
                  <a:pt x="98" y="135"/>
                </a:lnTo>
                <a:lnTo>
                  <a:pt x="98" y="131"/>
                </a:lnTo>
                <a:lnTo>
                  <a:pt x="98" y="131"/>
                </a:lnTo>
                <a:lnTo>
                  <a:pt x="107" y="122"/>
                </a:lnTo>
                <a:lnTo>
                  <a:pt x="117" y="112"/>
                </a:lnTo>
                <a:lnTo>
                  <a:pt x="117" y="112"/>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22" name="Freeform 209">
            <a:extLst>
              <a:ext uri="{FF2B5EF4-FFF2-40B4-BE49-F238E27FC236}">
                <a16:creationId xmlns:a16="http://schemas.microsoft.com/office/drawing/2014/main" id="{EBF6489E-FB53-3AF8-127F-3FD771BD2A89}"/>
              </a:ext>
            </a:extLst>
          </p:cNvPr>
          <p:cNvSpPr>
            <a:spLocks/>
          </p:cNvSpPr>
          <p:nvPr userDrawn="1"/>
        </p:nvSpPr>
        <p:spPr bwMode="gray">
          <a:xfrm>
            <a:off x="4371721" y="3084547"/>
            <a:ext cx="61124" cy="128751"/>
          </a:xfrm>
          <a:custGeom>
            <a:avLst/>
            <a:gdLst/>
            <a:ahLst/>
            <a:cxnLst>
              <a:cxn ang="0">
                <a:pos x="31" y="63"/>
              </a:cxn>
              <a:cxn ang="0">
                <a:pos x="35" y="54"/>
              </a:cxn>
              <a:cxn ang="0">
                <a:pos x="38" y="52"/>
              </a:cxn>
              <a:cxn ang="0">
                <a:pos x="44" y="42"/>
              </a:cxn>
              <a:cxn ang="0">
                <a:pos x="47" y="37"/>
              </a:cxn>
              <a:cxn ang="0">
                <a:pos x="47" y="19"/>
              </a:cxn>
              <a:cxn ang="0">
                <a:pos x="44" y="9"/>
              </a:cxn>
              <a:cxn ang="0">
                <a:pos x="42" y="9"/>
              </a:cxn>
              <a:cxn ang="0">
                <a:pos x="39" y="9"/>
              </a:cxn>
              <a:cxn ang="0">
                <a:pos x="37" y="5"/>
              </a:cxn>
              <a:cxn ang="0">
                <a:pos x="34" y="0"/>
              </a:cxn>
              <a:cxn ang="0">
                <a:pos x="31" y="0"/>
              </a:cxn>
              <a:cxn ang="0">
                <a:pos x="28" y="5"/>
              </a:cxn>
              <a:cxn ang="0">
                <a:pos x="28" y="9"/>
              </a:cxn>
              <a:cxn ang="0">
                <a:pos x="27" y="12"/>
              </a:cxn>
              <a:cxn ang="0">
                <a:pos x="24" y="15"/>
              </a:cxn>
              <a:cxn ang="0">
                <a:pos x="18" y="17"/>
              </a:cxn>
              <a:cxn ang="0">
                <a:pos x="11" y="17"/>
              </a:cxn>
              <a:cxn ang="0">
                <a:pos x="7" y="20"/>
              </a:cxn>
              <a:cxn ang="0">
                <a:pos x="2" y="23"/>
              </a:cxn>
              <a:cxn ang="0">
                <a:pos x="0" y="23"/>
              </a:cxn>
              <a:cxn ang="0">
                <a:pos x="1" y="35"/>
              </a:cxn>
              <a:cxn ang="0">
                <a:pos x="8" y="39"/>
              </a:cxn>
              <a:cxn ang="0">
                <a:pos x="11" y="42"/>
              </a:cxn>
              <a:cxn ang="0">
                <a:pos x="11" y="49"/>
              </a:cxn>
              <a:cxn ang="0">
                <a:pos x="11" y="50"/>
              </a:cxn>
              <a:cxn ang="0">
                <a:pos x="14" y="57"/>
              </a:cxn>
              <a:cxn ang="0">
                <a:pos x="14" y="70"/>
              </a:cxn>
              <a:cxn ang="0">
                <a:pos x="15" y="99"/>
              </a:cxn>
              <a:cxn ang="0">
                <a:pos x="25" y="99"/>
              </a:cxn>
              <a:cxn ang="0">
                <a:pos x="32" y="96"/>
              </a:cxn>
              <a:cxn ang="0">
                <a:pos x="37" y="94"/>
              </a:cxn>
              <a:cxn ang="0">
                <a:pos x="34" y="89"/>
              </a:cxn>
              <a:cxn ang="0">
                <a:pos x="32" y="81"/>
              </a:cxn>
              <a:cxn ang="0">
                <a:pos x="31" y="73"/>
              </a:cxn>
              <a:cxn ang="0">
                <a:pos x="31" y="63"/>
              </a:cxn>
            </a:cxnLst>
            <a:rect l="0" t="0" r="r" b="b"/>
            <a:pathLst>
              <a:path w="47" h="99">
                <a:moveTo>
                  <a:pt x="31" y="63"/>
                </a:moveTo>
                <a:lnTo>
                  <a:pt x="31" y="63"/>
                </a:lnTo>
                <a:lnTo>
                  <a:pt x="32" y="59"/>
                </a:lnTo>
                <a:lnTo>
                  <a:pt x="35" y="54"/>
                </a:lnTo>
                <a:lnTo>
                  <a:pt x="38" y="52"/>
                </a:lnTo>
                <a:lnTo>
                  <a:pt x="38" y="52"/>
                </a:lnTo>
                <a:lnTo>
                  <a:pt x="39" y="49"/>
                </a:lnTo>
                <a:lnTo>
                  <a:pt x="44" y="42"/>
                </a:lnTo>
                <a:lnTo>
                  <a:pt x="44" y="42"/>
                </a:lnTo>
                <a:lnTo>
                  <a:pt x="47" y="37"/>
                </a:lnTo>
                <a:lnTo>
                  <a:pt x="47" y="30"/>
                </a:lnTo>
                <a:lnTo>
                  <a:pt x="47" y="19"/>
                </a:lnTo>
                <a:lnTo>
                  <a:pt x="47" y="19"/>
                </a:lnTo>
                <a:lnTo>
                  <a:pt x="44" y="9"/>
                </a:lnTo>
                <a:lnTo>
                  <a:pt x="44" y="9"/>
                </a:lnTo>
                <a:lnTo>
                  <a:pt x="42" y="9"/>
                </a:lnTo>
                <a:lnTo>
                  <a:pt x="39" y="9"/>
                </a:lnTo>
                <a:lnTo>
                  <a:pt x="39" y="9"/>
                </a:lnTo>
                <a:lnTo>
                  <a:pt x="37" y="6"/>
                </a:lnTo>
                <a:lnTo>
                  <a:pt x="37" y="5"/>
                </a:lnTo>
                <a:lnTo>
                  <a:pt x="37" y="2"/>
                </a:lnTo>
                <a:lnTo>
                  <a:pt x="34" y="0"/>
                </a:lnTo>
                <a:lnTo>
                  <a:pt x="34" y="0"/>
                </a:lnTo>
                <a:lnTo>
                  <a:pt x="31" y="0"/>
                </a:lnTo>
                <a:lnTo>
                  <a:pt x="30" y="3"/>
                </a:lnTo>
                <a:lnTo>
                  <a:pt x="28" y="5"/>
                </a:lnTo>
                <a:lnTo>
                  <a:pt x="28" y="9"/>
                </a:lnTo>
                <a:lnTo>
                  <a:pt x="28" y="9"/>
                </a:lnTo>
                <a:lnTo>
                  <a:pt x="28" y="10"/>
                </a:lnTo>
                <a:lnTo>
                  <a:pt x="27" y="12"/>
                </a:lnTo>
                <a:lnTo>
                  <a:pt x="24" y="15"/>
                </a:lnTo>
                <a:lnTo>
                  <a:pt x="24" y="15"/>
                </a:lnTo>
                <a:lnTo>
                  <a:pt x="21" y="16"/>
                </a:lnTo>
                <a:lnTo>
                  <a:pt x="18" y="17"/>
                </a:lnTo>
                <a:lnTo>
                  <a:pt x="11" y="17"/>
                </a:lnTo>
                <a:lnTo>
                  <a:pt x="11" y="17"/>
                </a:lnTo>
                <a:lnTo>
                  <a:pt x="8" y="17"/>
                </a:lnTo>
                <a:lnTo>
                  <a:pt x="7" y="20"/>
                </a:lnTo>
                <a:lnTo>
                  <a:pt x="2" y="23"/>
                </a:lnTo>
                <a:lnTo>
                  <a:pt x="2" y="23"/>
                </a:lnTo>
                <a:lnTo>
                  <a:pt x="0" y="23"/>
                </a:lnTo>
                <a:lnTo>
                  <a:pt x="0" y="23"/>
                </a:lnTo>
                <a:lnTo>
                  <a:pt x="0" y="30"/>
                </a:lnTo>
                <a:lnTo>
                  <a:pt x="1" y="35"/>
                </a:lnTo>
                <a:lnTo>
                  <a:pt x="4" y="36"/>
                </a:lnTo>
                <a:lnTo>
                  <a:pt x="8" y="39"/>
                </a:lnTo>
                <a:lnTo>
                  <a:pt x="8" y="39"/>
                </a:lnTo>
                <a:lnTo>
                  <a:pt x="11" y="42"/>
                </a:lnTo>
                <a:lnTo>
                  <a:pt x="11" y="44"/>
                </a:lnTo>
                <a:lnTo>
                  <a:pt x="11" y="49"/>
                </a:lnTo>
                <a:lnTo>
                  <a:pt x="11" y="50"/>
                </a:lnTo>
                <a:lnTo>
                  <a:pt x="11" y="50"/>
                </a:lnTo>
                <a:lnTo>
                  <a:pt x="12" y="53"/>
                </a:lnTo>
                <a:lnTo>
                  <a:pt x="14" y="57"/>
                </a:lnTo>
                <a:lnTo>
                  <a:pt x="14" y="70"/>
                </a:lnTo>
                <a:lnTo>
                  <a:pt x="14" y="70"/>
                </a:lnTo>
                <a:lnTo>
                  <a:pt x="15" y="99"/>
                </a:lnTo>
                <a:lnTo>
                  <a:pt x="15" y="99"/>
                </a:lnTo>
                <a:lnTo>
                  <a:pt x="25" y="99"/>
                </a:lnTo>
                <a:lnTo>
                  <a:pt x="25" y="99"/>
                </a:lnTo>
                <a:lnTo>
                  <a:pt x="30" y="97"/>
                </a:lnTo>
                <a:lnTo>
                  <a:pt x="32" y="96"/>
                </a:lnTo>
                <a:lnTo>
                  <a:pt x="35" y="94"/>
                </a:lnTo>
                <a:lnTo>
                  <a:pt x="37" y="94"/>
                </a:lnTo>
                <a:lnTo>
                  <a:pt x="37" y="94"/>
                </a:lnTo>
                <a:lnTo>
                  <a:pt x="34" y="89"/>
                </a:lnTo>
                <a:lnTo>
                  <a:pt x="32" y="86"/>
                </a:lnTo>
                <a:lnTo>
                  <a:pt x="32" y="81"/>
                </a:lnTo>
                <a:lnTo>
                  <a:pt x="32" y="81"/>
                </a:lnTo>
                <a:lnTo>
                  <a:pt x="31" y="73"/>
                </a:lnTo>
                <a:lnTo>
                  <a:pt x="31" y="63"/>
                </a:lnTo>
                <a:lnTo>
                  <a:pt x="31" y="63"/>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23" name="Freeform 210">
            <a:extLst>
              <a:ext uri="{FF2B5EF4-FFF2-40B4-BE49-F238E27FC236}">
                <a16:creationId xmlns:a16="http://schemas.microsoft.com/office/drawing/2014/main" id="{2F6E59FE-3EAC-93D0-AAFF-B14D898F27D5}"/>
              </a:ext>
            </a:extLst>
          </p:cNvPr>
          <p:cNvSpPr>
            <a:spLocks/>
          </p:cNvSpPr>
          <p:nvPr userDrawn="1"/>
        </p:nvSpPr>
        <p:spPr bwMode="gray">
          <a:xfrm>
            <a:off x="4352213" y="3113159"/>
            <a:ext cx="39015" cy="106642"/>
          </a:xfrm>
          <a:custGeom>
            <a:avLst/>
            <a:gdLst/>
            <a:ahLst/>
            <a:cxnLst>
              <a:cxn ang="0">
                <a:pos x="26" y="28"/>
              </a:cxn>
              <a:cxn ang="0">
                <a:pos x="26" y="28"/>
              </a:cxn>
              <a:cxn ang="0">
                <a:pos x="26" y="27"/>
              </a:cxn>
              <a:cxn ang="0">
                <a:pos x="26" y="22"/>
              </a:cxn>
              <a:cxn ang="0">
                <a:pos x="26" y="20"/>
              </a:cxn>
              <a:cxn ang="0">
                <a:pos x="23" y="17"/>
              </a:cxn>
              <a:cxn ang="0">
                <a:pos x="23" y="17"/>
              </a:cxn>
              <a:cxn ang="0">
                <a:pos x="19" y="14"/>
              </a:cxn>
              <a:cxn ang="0">
                <a:pos x="16" y="13"/>
              </a:cxn>
              <a:cxn ang="0">
                <a:pos x="15" y="8"/>
              </a:cxn>
              <a:cxn ang="0">
                <a:pos x="15" y="1"/>
              </a:cxn>
              <a:cxn ang="0">
                <a:pos x="15" y="1"/>
              </a:cxn>
              <a:cxn ang="0">
                <a:pos x="2" y="0"/>
              </a:cxn>
              <a:cxn ang="0">
                <a:pos x="2" y="0"/>
              </a:cxn>
              <a:cxn ang="0">
                <a:pos x="0" y="0"/>
              </a:cxn>
              <a:cxn ang="0">
                <a:pos x="0" y="0"/>
              </a:cxn>
              <a:cxn ang="0">
                <a:pos x="2" y="7"/>
              </a:cxn>
              <a:cxn ang="0">
                <a:pos x="3" y="10"/>
              </a:cxn>
              <a:cxn ang="0">
                <a:pos x="3" y="10"/>
              </a:cxn>
              <a:cxn ang="0">
                <a:pos x="6" y="14"/>
              </a:cxn>
              <a:cxn ang="0">
                <a:pos x="8" y="20"/>
              </a:cxn>
              <a:cxn ang="0">
                <a:pos x="8" y="20"/>
              </a:cxn>
              <a:cxn ang="0">
                <a:pos x="6" y="31"/>
              </a:cxn>
              <a:cxn ang="0">
                <a:pos x="6" y="37"/>
              </a:cxn>
              <a:cxn ang="0">
                <a:pos x="8" y="42"/>
              </a:cxn>
              <a:cxn ang="0">
                <a:pos x="8" y="42"/>
              </a:cxn>
              <a:cxn ang="0">
                <a:pos x="10" y="52"/>
              </a:cxn>
              <a:cxn ang="0">
                <a:pos x="12" y="64"/>
              </a:cxn>
              <a:cxn ang="0">
                <a:pos x="12" y="64"/>
              </a:cxn>
              <a:cxn ang="0">
                <a:pos x="13" y="74"/>
              </a:cxn>
              <a:cxn ang="0">
                <a:pos x="17" y="82"/>
              </a:cxn>
              <a:cxn ang="0">
                <a:pos x="17" y="82"/>
              </a:cxn>
              <a:cxn ang="0">
                <a:pos x="22" y="81"/>
              </a:cxn>
              <a:cxn ang="0">
                <a:pos x="22" y="81"/>
              </a:cxn>
              <a:cxn ang="0">
                <a:pos x="25" y="78"/>
              </a:cxn>
              <a:cxn ang="0">
                <a:pos x="30" y="77"/>
              </a:cxn>
              <a:cxn ang="0">
                <a:pos x="30" y="77"/>
              </a:cxn>
              <a:cxn ang="0">
                <a:pos x="29" y="48"/>
              </a:cxn>
              <a:cxn ang="0">
                <a:pos x="29" y="48"/>
              </a:cxn>
              <a:cxn ang="0">
                <a:pos x="29" y="35"/>
              </a:cxn>
              <a:cxn ang="0">
                <a:pos x="27" y="31"/>
              </a:cxn>
              <a:cxn ang="0">
                <a:pos x="26" y="28"/>
              </a:cxn>
              <a:cxn ang="0">
                <a:pos x="26" y="28"/>
              </a:cxn>
            </a:cxnLst>
            <a:rect l="0" t="0" r="r" b="b"/>
            <a:pathLst>
              <a:path w="30" h="82">
                <a:moveTo>
                  <a:pt x="26" y="28"/>
                </a:moveTo>
                <a:lnTo>
                  <a:pt x="26" y="28"/>
                </a:lnTo>
                <a:lnTo>
                  <a:pt x="26" y="27"/>
                </a:lnTo>
                <a:lnTo>
                  <a:pt x="26" y="22"/>
                </a:lnTo>
                <a:lnTo>
                  <a:pt x="26" y="20"/>
                </a:lnTo>
                <a:lnTo>
                  <a:pt x="23" y="17"/>
                </a:lnTo>
                <a:lnTo>
                  <a:pt x="23" y="17"/>
                </a:lnTo>
                <a:lnTo>
                  <a:pt x="19" y="14"/>
                </a:lnTo>
                <a:lnTo>
                  <a:pt x="16" y="13"/>
                </a:lnTo>
                <a:lnTo>
                  <a:pt x="15" y="8"/>
                </a:lnTo>
                <a:lnTo>
                  <a:pt x="15" y="1"/>
                </a:lnTo>
                <a:lnTo>
                  <a:pt x="15" y="1"/>
                </a:lnTo>
                <a:lnTo>
                  <a:pt x="2" y="0"/>
                </a:lnTo>
                <a:lnTo>
                  <a:pt x="2" y="0"/>
                </a:lnTo>
                <a:lnTo>
                  <a:pt x="0" y="0"/>
                </a:lnTo>
                <a:lnTo>
                  <a:pt x="0" y="0"/>
                </a:lnTo>
                <a:lnTo>
                  <a:pt x="2" y="7"/>
                </a:lnTo>
                <a:lnTo>
                  <a:pt x="3" y="10"/>
                </a:lnTo>
                <a:lnTo>
                  <a:pt x="3" y="10"/>
                </a:lnTo>
                <a:lnTo>
                  <a:pt x="6" y="14"/>
                </a:lnTo>
                <a:lnTo>
                  <a:pt x="8" y="20"/>
                </a:lnTo>
                <a:lnTo>
                  <a:pt x="8" y="20"/>
                </a:lnTo>
                <a:lnTo>
                  <a:pt x="6" y="31"/>
                </a:lnTo>
                <a:lnTo>
                  <a:pt x="6" y="37"/>
                </a:lnTo>
                <a:lnTo>
                  <a:pt x="8" y="42"/>
                </a:lnTo>
                <a:lnTo>
                  <a:pt x="8" y="42"/>
                </a:lnTo>
                <a:lnTo>
                  <a:pt x="10" y="52"/>
                </a:lnTo>
                <a:lnTo>
                  <a:pt x="12" y="64"/>
                </a:lnTo>
                <a:lnTo>
                  <a:pt x="12" y="64"/>
                </a:lnTo>
                <a:lnTo>
                  <a:pt x="13" y="74"/>
                </a:lnTo>
                <a:lnTo>
                  <a:pt x="17" y="82"/>
                </a:lnTo>
                <a:lnTo>
                  <a:pt x="17" y="82"/>
                </a:lnTo>
                <a:lnTo>
                  <a:pt x="22" y="81"/>
                </a:lnTo>
                <a:lnTo>
                  <a:pt x="22" y="81"/>
                </a:lnTo>
                <a:lnTo>
                  <a:pt x="25" y="78"/>
                </a:lnTo>
                <a:lnTo>
                  <a:pt x="30" y="77"/>
                </a:lnTo>
                <a:lnTo>
                  <a:pt x="30" y="77"/>
                </a:lnTo>
                <a:lnTo>
                  <a:pt x="29" y="48"/>
                </a:lnTo>
                <a:lnTo>
                  <a:pt x="29" y="48"/>
                </a:lnTo>
                <a:lnTo>
                  <a:pt x="29" y="35"/>
                </a:lnTo>
                <a:lnTo>
                  <a:pt x="27" y="31"/>
                </a:lnTo>
                <a:lnTo>
                  <a:pt x="26" y="28"/>
                </a:lnTo>
                <a:lnTo>
                  <a:pt x="26" y="28"/>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24" name="Freeform 211">
            <a:extLst>
              <a:ext uri="{FF2B5EF4-FFF2-40B4-BE49-F238E27FC236}">
                <a16:creationId xmlns:a16="http://schemas.microsoft.com/office/drawing/2014/main" id="{373A1218-FBA9-53E0-527E-884CD232AB93}"/>
              </a:ext>
            </a:extLst>
          </p:cNvPr>
          <p:cNvSpPr>
            <a:spLocks/>
          </p:cNvSpPr>
          <p:nvPr userDrawn="1"/>
        </p:nvSpPr>
        <p:spPr bwMode="gray">
          <a:xfrm>
            <a:off x="4534285" y="3070242"/>
            <a:ext cx="154761" cy="240595"/>
          </a:xfrm>
          <a:custGeom>
            <a:avLst/>
            <a:gdLst/>
            <a:ahLst/>
            <a:cxnLst>
              <a:cxn ang="0">
                <a:pos x="70" y="176"/>
              </a:cxn>
              <a:cxn ang="0">
                <a:pos x="98" y="178"/>
              </a:cxn>
              <a:cxn ang="0">
                <a:pos x="115" y="185"/>
              </a:cxn>
              <a:cxn ang="0">
                <a:pos x="119" y="171"/>
              </a:cxn>
              <a:cxn ang="0">
                <a:pos x="116" y="168"/>
              </a:cxn>
              <a:cxn ang="0">
                <a:pos x="111" y="162"/>
              </a:cxn>
              <a:cxn ang="0">
                <a:pos x="102" y="152"/>
              </a:cxn>
              <a:cxn ang="0">
                <a:pos x="101" y="145"/>
              </a:cxn>
              <a:cxn ang="0">
                <a:pos x="97" y="137"/>
              </a:cxn>
              <a:cxn ang="0">
                <a:pos x="94" y="122"/>
              </a:cxn>
              <a:cxn ang="0">
                <a:pos x="94" y="114"/>
              </a:cxn>
              <a:cxn ang="0">
                <a:pos x="101" y="100"/>
              </a:cxn>
              <a:cxn ang="0">
                <a:pos x="109" y="90"/>
              </a:cxn>
              <a:cxn ang="0">
                <a:pos x="104" y="78"/>
              </a:cxn>
              <a:cxn ang="0">
                <a:pos x="91" y="65"/>
              </a:cxn>
              <a:cxn ang="0">
                <a:pos x="87" y="58"/>
              </a:cxn>
              <a:cxn ang="0">
                <a:pos x="88" y="53"/>
              </a:cxn>
              <a:cxn ang="0">
                <a:pos x="101" y="51"/>
              </a:cxn>
              <a:cxn ang="0">
                <a:pos x="108" y="50"/>
              </a:cxn>
              <a:cxn ang="0">
                <a:pos x="102" y="41"/>
              </a:cxn>
              <a:cxn ang="0">
                <a:pos x="101" y="30"/>
              </a:cxn>
              <a:cxn ang="0">
                <a:pos x="99" y="18"/>
              </a:cxn>
              <a:cxn ang="0">
                <a:pos x="98" y="11"/>
              </a:cxn>
              <a:cxn ang="0">
                <a:pos x="89" y="0"/>
              </a:cxn>
              <a:cxn ang="0">
                <a:pos x="88" y="0"/>
              </a:cxn>
              <a:cxn ang="0">
                <a:pos x="88" y="10"/>
              </a:cxn>
              <a:cxn ang="0">
                <a:pos x="94" y="16"/>
              </a:cxn>
              <a:cxn ang="0">
                <a:pos x="95" y="26"/>
              </a:cxn>
              <a:cxn ang="0">
                <a:pos x="89" y="28"/>
              </a:cxn>
              <a:cxn ang="0">
                <a:pos x="85" y="30"/>
              </a:cxn>
              <a:cxn ang="0">
                <a:pos x="75" y="48"/>
              </a:cxn>
              <a:cxn ang="0">
                <a:pos x="74" y="57"/>
              </a:cxn>
              <a:cxn ang="0">
                <a:pos x="71" y="60"/>
              </a:cxn>
              <a:cxn ang="0">
                <a:pos x="70" y="67"/>
              </a:cxn>
              <a:cxn ang="0">
                <a:pos x="64" y="74"/>
              </a:cxn>
              <a:cxn ang="0">
                <a:pos x="61" y="81"/>
              </a:cxn>
              <a:cxn ang="0">
                <a:pos x="51" y="101"/>
              </a:cxn>
              <a:cxn ang="0">
                <a:pos x="44" y="108"/>
              </a:cxn>
              <a:cxn ang="0">
                <a:pos x="38" y="101"/>
              </a:cxn>
              <a:cxn ang="0">
                <a:pos x="33" y="100"/>
              </a:cxn>
              <a:cxn ang="0">
                <a:pos x="23" y="101"/>
              </a:cxn>
              <a:cxn ang="0">
                <a:pos x="4" y="120"/>
              </a:cxn>
              <a:cxn ang="0">
                <a:pos x="0" y="137"/>
              </a:cxn>
              <a:cxn ang="0">
                <a:pos x="7" y="145"/>
              </a:cxn>
              <a:cxn ang="0">
                <a:pos x="13" y="148"/>
              </a:cxn>
              <a:cxn ang="0">
                <a:pos x="18" y="148"/>
              </a:cxn>
              <a:cxn ang="0">
                <a:pos x="24" y="159"/>
              </a:cxn>
              <a:cxn ang="0">
                <a:pos x="21" y="171"/>
              </a:cxn>
              <a:cxn ang="0">
                <a:pos x="43" y="178"/>
              </a:cxn>
            </a:cxnLst>
            <a:rect l="0" t="0" r="r" b="b"/>
            <a:pathLst>
              <a:path w="119" h="185">
                <a:moveTo>
                  <a:pt x="50" y="175"/>
                </a:moveTo>
                <a:lnTo>
                  <a:pt x="50" y="175"/>
                </a:lnTo>
                <a:lnTo>
                  <a:pt x="70" y="176"/>
                </a:lnTo>
                <a:lnTo>
                  <a:pt x="92" y="176"/>
                </a:lnTo>
                <a:lnTo>
                  <a:pt x="92" y="176"/>
                </a:lnTo>
                <a:lnTo>
                  <a:pt x="98" y="178"/>
                </a:lnTo>
                <a:lnTo>
                  <a:pt x="105" y="181"/>
                </a:lnTo>
                <a:lnTo>
                  <a:pt x="115" y="185"/>
                </a:lnTo>
                <a:lnTo>
                  <a:pt x="115" y="185"/>
                </a:lnTo>
                <a:lnTo>
                  <a:pt x="115" y="179"/>
                </a:lnTo>
                <a:lnTo>
                  <a:pt x="116" y="175"/>
                </a:lnTo>
                <a:lnTo>
                  <a:pt x="119" y="171"/>
                </a:lnTo>
                <a:lnTo>
                  <a:pt x="119" y="171"/>
                </a:lnTo>
                <a:lnTo>
                  <a:pt x="116" y="169"/>
                </a:lnTo>
                <a:lnTo>
                  <a:pt x="116" y="168"/>
                </a:lnTo>
                <a:lnTo>
                  <a:pt x="116" y="168"/>
                </a:lnTo>
                <a:lnTo>
                  <a:pt x="114" y="165"/>
                </a:lnTo>
                <a:lnTo>
                  <a:pt x="111" y="162"/>
                </a:lnTo>
                <a:lnTo>
                  <a:pt x="105" y="156"/>
                </a:lnTo>
                <a:lnTo>
                  <a:pt x="105" y="156"/>
                </a:lnTo>
                <a:lnTo>
                  <a:pt x="102" y="152"/>
                </a:lnTo>
                <a:lnTo>
                  <a:pt x="102" y="152"/>
                </a:lnTo>
                <a:lnTo>
                  <a:pt x="102" y="148"/>
                </a:lnTo>
                <a:lnTo>
                  <a:pt x="101" y="145"/>
                </a:lnTo>
                <a:lnTo>
                  <a:pt x="99" y="142"/>
                </a:lnTo>
                <a:lnTo>
                  <a:pt x="99" y="142"/>
                </a:lnTo>
                <a:lnTo>
                  <a:pt x="97" y="137"/>
                </a:lnTo>
                <a:lnTo>
                  <a:pt x="95" y="129"/>
                </a:lnTo>
                <a:lnTo>
                  <a:pt x="95" y="129"/>
                </a:lnTo>
                <a:lnTo>
                  <a:pt x="94" y="122"/>
                </a:lnTo>
                <a:lnTo>
                  <a:pt x="92" y="117"/>
                </a:lnTo>
                <a:lnTo>
                  <a:pt x="92" y="117"/>
                </a:lnTo>
                <a:lnTo>
                  <a:pt x="94" y="114"/>
                </a:lnTo>
                <a:lnTo>
                  <a:pt x="97" y="110"/>
                </a:lnTo>
                <a:lnTo>
                  <a:pt x="98" y="105"/>
                </a:lnTo>
                <a:lnTo>
                  <a:pt x="101" y="100"/>
                </a:lnTo>
                <a:lnTo>
                  <a:pt x="101" y="100"/>
                </a:lnTo>
                <a:lnTo>
                  <a:pt x="104" y="95"/>
                </a:lnTo>
                <a:lnTo>
                  <a:pt x="109" y="90"/>
                </a:lnTo>
                <a:lnTo>
                  <a:pt x="109" y="90"/>
                </a:lnTo>
                <a:lnTo>
                  <a:pt x="104" y="78"/>
                </a:lnTo>
                <a:lnTo>
                  <a:pt x="104" y="78"/>
                </a:lnTo>
                <a:lnTo>
                  <a:pt x="102" y="74"/>
                </a:lnTo>
                <a:lnTo>
                  <a:pt x="99" y="71"/>
                </a:lnTo>
                <a:lnTo>
                  <a:pt x="91" y="65"/>
                </a:lnTo>
                <a:lnTo>
                  <a:pt x="91" y="65"/>
                </a:lnTo>
                <a:lnTo>
                  <a:pt x="88" y="61"/>
                </a:lnTo>
                <a:lnTo>
                  <a:pt x="87" y="58"/>
                </a:lnTo>
                <a:lnTo>
                  <a:pt x="87" y="54"/>
                </a:lnTo>
                <a:lnTo>
                  <a:pt x="87" y="54"/>
                </a:lnTo>
                <a:lnTo>
                  <a:pt x="88" y="53"/>
                </a:lnTo>
                <a:lnTo>
                  <a:pt x="92" y="51"/>
                </a:lnTo>
                <a:lnTo>
                  <a:pt x="101" y="51"/>
                </a:lnTo>
                <a:lnTo>
                  <a:pt x="101" y="51"/>
                </a:lnTo>
                <a:lnTo>
                  <a:pt x="107" y="51"/>
                </a:lnTo>
                <a:lnTo>
                  <a:pt x="108" y="50"/>
                </a:lnTo>
                <a:lnTo>
                  <a:pt x="108" y="50"/>
                </a:lnTo>
                <a:lnTo>
                  <a:pt x="108" y="50"/>
                </a:lnTo>
                <a:lnTo>
                  <a:pt x="105" y="47"/>
                </a:lnTo>
                <a:lnTo>
                  <a:pt x="102" y="41"/>
                </a:lnTo>
                <a:lnTo>
                  <a:pt x="101" y="36"/>
                </a:lnTo>
                <a:lnTo>
                  <a:pt x="101" y="30"/>
                </a:lnTo>
                <a:lnTo>
                  <a:pt x="101" y="30"/>
                </a:lnTo>
                <a:lnTo>
                  <a:pt x="101" y="24"/>
                </a:lnTo>
                <a:lnTo>
                  <a:pt x="99" y="21"/>
                </a:lnTo>
                <a:lnTo>
                  <a:pt x="99" y="18"/>
                </a:lnTo>
                <a:lnTo>
                  <a:pt x="99" y="16"/>
                </a:lnTo>
                <a:lnTo>
                  <a:pt x="99" y="16"/>
                </a:lnTo>
                <a:lnTo>
                  <a:pt x="98" y="11"/>
                </a:lnTo>
                <a:lnTo>
                  <a:pt x="95" y="6"/>
                </a:lnTo>
                <a:lnTo>
                  <a:pt x="92" y="1"/>
                </a:lnTo>
                <a:lnTo>
                  <a:pt x="89" y="0"/>
                </a:lnTo>
                <a:lnTo>
                  <a:pt x="89" y="0"/>
                </a:lnTo>
                <a:lnTo>
                  <a:pt x="88" y="0"/>
                </a:lnTo>
                <a:lnTo>
                  <a:pt x="88" y="0"/>
                </a:lnTo>
                <a:lnTo>
                  <a:pt x="87" y="9"/>
                </a:lnTo>
                <a:lnTo>
                  <a:pt x="87" y="9"/>
                </a:lnTo>
                <a:lnTo>
                  <a:pt x="88" y="10"/>
                </a:lnTo>
                <a:lnTo>
                  <a:pt x="89" y="13"/>
                </a:lnTo>
                <a:lnTo>
                  <a:pt x="94" y="16"/>
                </a:lnTo>
                <a:lnTo>
                  <a:pt x="94" y="16"/>
                </a:lnTo>
                <a:lnTo>
                  <a:pt x="95" y="17"/>
                </a:lnTo>
                <a:lnTo>
                  <a:pt x="95" y="18"/>
                </a:lnTo>
                <a:lnTo>
                  <a:pt x="95" y="26"/>
                </a:lnTo>
                <a:lnTo>
                  <a:pt x="95" y="26"/>
                </a:lnTo>
                <a:lnTo>
                  <a:pt x="92" y="27"/>
                </a:lnTo>
                <a:lnTo>
                  <a:pt x="89" y="28"/>
                </a:lnTo>
                <a:lnTo>
                  <a:pt x="87" y="30"/>
                </a:lnTo>
                <a:lnTo>
                  <a:pt x="85" y="30"/>
                </a:lnTo>
                <a:lnTo>
                  <a:pt x="85" y="30"/>
                </a:lnTo>
                <a:lnTo>
                  <a:pt x="80" y="38"/>
                </a:lnTo>
                <a:lnTo>
                  <a:pt x="77" y="44"/>
                </a:lnTo>
                <a:lnTo>
                  <a:pt x="75" y="48"/>
                </a:lnTo>
                <a:lnTo>
                  <a:pt x="75" y="48"/>
                </a:lnTo>
                <a:lnTo>
                  <a:pt x="75" y="54"/>
                </a:lnTo>
                <a:lnTo>
                  <a:pt x="74" y="57"/>
                </a:lnTo>
                <a:lnTo>
                  <a:pt x="72" y="58"/>
                </a:lnTo>
                <a:lnTo>
                  <a:pt x="72" y="58"/>
                </a:lnTo>
                <a:lnTo>
                  <a:pt x="71" y="60"/>
                </a:lnTo>
                <a:lnTo>
                  <a:pt x="70" y="63"/>
                </a:lnTo>
                <a:lnTo>
                  <a:pt x="70" y="67"/>
                </a:lnTo>
                <a:lnTo>
                  <a:pt x="70" y="67"/>
                </a:lnTo>
                <a:lnTo>
                  <a:pt x="68" y="68"/>
                </a:lnTo>
                <a:lnTo>
                  <a:pt x="67" y="71"/>
                </a:lnTo>
                <a:lnTo>
                  <a:pt x="64" y="74"/>
                </a:lnTo>
                <a:lnTo>
                  <a:pt x="62" y="77"/>
                </a:lnTo>
                <a:lnTo>
                  <a:pt x="62" y="77"/>
                </a:lnTo>
                <a:lnTo>
                  <a:pt x="61" y="81"/>
                </a:lnTo>
                <a:lnTo>
                  <a:pt x="57" y="88"/>
                </a:lnTo>
                <a:lnTo>
                  <a:pt x="51" y="101"/>
                </a:lnTo>
                <a:lnTo>
                  <a:pt x="51" y="101"/>
                </a:lnTo>
                <a:lnTo>
                  <a:pt x="47" y="108"/>
                </a:lnTo>
                <a:lnTo>
                  <a:pt x="45" y="110"/>
                </a:lnTo>
                <a:lnTo>
                  <a:pt x="44" y="108"/>
                </a:lnTo>
                <a:lnTo>
                  <a:pt x="44" y="108"/>
                </a:lnTo>
                <a:lnTo>
                  <a:pt x="43" y="104"/>
                </a:lnTo>
                <a:lnTo>
                  <a:pt x="38" y="101"/>
                </a:lnTo>
                <a:lnTo>
                  <a:pt x="35" y="100"/>
                </a:lnTo>
                <a:lnTo>
                  <a:pt x="33" y="100"/>
                </a:lnTo>
                <a:lnTo>
                  <a:pt x="33" y="100"/>
                </a:lnTo>
                <a:lnTo>
                  <a:pt x="30" y="101"/>
                </a:lnTo>
                <a:lnTo>
                  <a:pt x="27" y="101"/>
                </a:lnTo>
                <a:lnTo>
                  <a:pt x="23" y="101"/>
                </a:lnTo>
                <a:lnTo>
                  <a:pt x="23" y="101"/>
                </a:lnTo>
                <a:lnTo>
                  <a:pt x="13" y="111"/>
                </a:lnTo>
                <a:lnTo>
                  <a:pt x="4" y="120"/>
                </a:lnTo>
                <a:lnTo>
                  <a:pt x="4" y="120"/>
                </a:lnTo>
                <a:lnTo>
                  <a:pt x="4" y="124"/>
                </a:lnTo>
                <a:lnTo>
                  <a:pt x="0" y="137"/>
                </a:lnTo>
                <a:lnTo>
                  <a:pt x="0" y="137"/>
                </a:lnTo>
                <a:lnTo>
                  <a:pt x="3" y="139"/>
                </a:lnTo>
                <a:lnTo>
                  <a:pt x="7" y="145"/>
                </a:lnTo>
                <a:lnTo>
                  <a:pt x="7" y="145"/>
                </a:lnTo>
                <a:lnTo>
                  <a:pt x="10" y="147"/>
                </a:lnTo>
                <a:lnTo>
                  <a:pt x="13" y="148"/>
                </a:lnTo>
                <a:lnTo>
                  <a:pt x="17" y="148"/>
                </a:lnTo>
                <a:lnTo>
                  <a:pt x="18" y="148"/>
                </a:lnTo>
                <a:lnTo>
                  <a:pt x="18" y="148"/>
                </a:lnTo>
                <a:lnTo>
                  <a:pt x="21" y="151"/>
                </a:lnTo>
                <a:lnTo>
                  <a:pt x="23" y="155"/>
                </a:lnTo>
                <a:lnTo>
                  <a:pt x="24" y="159"/>
                </a:lnTo>
                <a:lnTo>
                  <a:pt x="24" y="164"/>
                </a:lnTo>
                <a:lnTo>
                  <a:pt x="24" y="164"/>
                </a:lnTo>
                <a:lnTo>
                  <a:pt x="21" y="171"/>
                </a:lnTo>
                <a:lnTo>
                  <a:pt x="20" y="174"/>
                </a:lnTo>
                <a:lnTo>
                  <a:pt x="20" y="178"/>
                </a:lnTo>
                <a:lnTo>
                  <a:pt x="43" y="178"/>
                </a:lnTo>
                <a:lnTo>
                  <a:pt x="50" y="175"/>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25" name="Freeform 212">
            <a:extLst>
              <a:ext uri="{FF2B5EF4-FFF2-40B4-BE49-F238E27FC236}">
                <a16:creationId xmlns:a16="http://schemas.microsoft.com/office/drawing/2014/main" id="{1F23DF1D-6723-666C-A076-7AC5D5217416}"/>
              </a:ext>
            </a:extLst>
          </p:cNvPr>
          <p:cNvSpPr>
            <a:spLocks/>
          </p:cNvSpPr>
          <p:nvPr userDrawn="1"/>
        </p:nvSpPr>
        <p:spPr bwMode="gray">
          <a:xfrm>
            <a:off x="4175345" y="3122262"/>
            <a:ext cx="127450" cy="131352"/>
          </a:xfrm>
          <a:custGeom>
            <a:avLst/>
            <a:gdLst/>
            <a:ahLst/>
            <a:cxnLst>
              <a:cxn ang="0">
                <a:pos x="92" y="84"/>
              </a:cxn>
              <a:cxn ang="0">
                <a:pos x="85" y="67"/>
              </a:cxn>
              <a:cxn ang="0">
                <a:pos x="89" y="60"/>
              </a:cxn>
              <a:cxn ang="0">
                <a:pos x="92" y="51"/>
              </a:cxn>
              <a:cxn ang="0">
                <a:pos x="92" y="48"/>
              </a:cxn>
              <a:cxn ang="0">
                <a:pos x="97" y="43"/>
              </a:cxn>
              <a:cxn ang="0">
                <a:pos x="98" y="40"/>
              </a:cxn>
              <a:cxn ang="0">
                <a:pos x="95" y="23"/>
              </a:cxn>
              <a:cxn ang="0">
                <a:pos x="92" y="15"/>
              </a:cxn>
              <a:cxn ang="0">
                <a:pos x="89" y="14"/>
              </a:cxn>
              <a:cxn ang="0">
                <a:pos x="81" y="11"/>
              </a:cxn>
              <a:cxn ang="0">
                <a:pos x="71" y="15"/>
              </a:cxn>
              <a:cxn ang="0">
                <a:pos x="68" y="17"/>
              </a:cxn>
              <a:cxn ang="0">
                <a:pos x="62" y="15"/>
              </a:cxn>
              <a:cxn ang="0">
                <a:pos x="57" y="10"/>
              </a:cxn>
              <a:cxn ang="0">
                <a:pos x="54" y="7"/>
              </a:cxn>
              <a:cxn ang="0">
                <a:pos x="47" y="4"/>
              </a:cxn>
              <a:cxn ang="0">
                <a:pos x="44" y="6"/>
              </a:cxn>
              <a:cxn ang="0">
                <a:pos x="38" y="7"/>
              </a:cxn>
              <a:cxn ang="0">
                <a:pos x="38" y="3"/>
              </a:cxn>
              <a:cxn ang="0">
                <a:pos x="37" y="1"/>
              </a:cxn>
              <a:cxn ang="0">
                <a:pos x="31" y="1"/>
              </a:cxn>
              <a:cxn ang="0">
                <a:pos x="30" y="4"/>
              </a:cxn>
              <a:cxn ang="0">
                <a:pos x="25" y="8"/>
              </a:cxn>
              <a:cxn ang="0">
                <a:pos x="21" y="8"/>
              </a:cxn>
              <a:cxn ang="0">
                <a:pos x="17" y="4"/>
              </a:cxn>
              <a:cxn ang="0">
                <a:pos x="13" y="6"/>
              </a:cxn>
              <a:cxn ang="0">
                <a:pos x="11" y="7"/>
              </a:cxn>
              <a:cxn ang="0">
                <a:pos x="7" y="7"/>
              </a:cxn>
              <a:cxn ang="0">
                <a:pos x="6" y="15"/>
              </a:cxn>
              <a:cxn ang="0">
                <a:pos x="7" y="20"/>
              </a:cxn>
              <a:cxn ang="0">
                <a:pos x="10" y="21"/>
              </a:cxn>
              <a:cxn ang="0">
                <a:pos x="10" y="27"/>
              </a:cxn>
              <a:cxn ang="0">
                <a:pos x="11" y="30"/>
              </a:cxn>
              <a:cxn ang="0">
                <a:pos x="14" y="35"/>
              </a:cxn>
              <a:cxn ang="0">
                <a:pos x="13" y="37"/>
              </a:cxn>
              <a:cxn ang="0">
                <a:pos x="10" y="38"/>
              </a:cxn>
              <a:cxn ang="0">
                <a:pos x="6" y="38"/>
              </a:cxn>
              <a:cxn ang="0">
                <a:pos x="6" y="41"/>
              </a:cxn>
              <a:cxn ang="0">
                <a:pos x="7" y="45"/>
              </a:cxn>
              <a:cxn ang="0">
                <a:pos x="7" y="48"/>
              </a:cxn>
              <a:cxn ang="0">
                <a:pos x="3" y="54"/>
              </a:cxn>
              <a:cxn ang="0">
                <a:pos x="3" y="57"/>
              </a:cxn>
              <a:cxn ang="0">
                <a:pos x="1" y="67"/>
              </a:cxn>
              <a:cxn ang="0">
                <a:pos x="1" y="68"/>
              </a:cxn>
              <a:cxn ang="0">
                <a:pos x="1" y="71"/>
              </a:cxn>
              <a:cxn ang="0">
                <a:pos x="6" y="74"/>
              </a:cxn>
              <a:cxn ang="0">
                <a:pos x="17" y="82"/>
              </a:cxn>
              <a:cxn ang="0">
                <a:pos x="18" y="85"/>
              </a:cxn>
              <a:cxn ang="0">
                <a:pos x="14" y="101"/>
              </a:cxn>
              <a:cxn ang="0">
                <a:pos x="23" y="99"/>
              </a:cxn>
              <a:cxn ang="0">
                <a:pos x="47" y="94"/>
              </a:cxn>
              <a:cxn ang="0">
                <a:pos x="61" y="89"/>
              </a:cxn>
              <a:cxn ang="0">
                <a:pos x="78" y="89"/>
              </a:cxn>
              <a:cxn ang="0">
                <a:pos x="92" y="92"/>
              </a:cxn>
              <a:cxn ang="0">
                <a:pos x="92" y="84"/>
              </a:cxn>
            </a:cxnLst>
            <a:rect l="0" t="0" r="r" b="b"/>
            <a:pathLst>
              <a:path w="98" h="101">
                <a:moveTo>
                  <a:pt x="92" y="84"/>
                </a:moveTo>
                <a:lnTo>
                  <a:pt x="92" y="84"/>
                </a:lnTo>
                <a:lnTo>
                  <a:pt x="88" y="75"/>
                </a:lnTo>
                <a:lnTo>
                  <a:pt x="85" y="67"/>
                </a:lnTo>
                <a:lnTo>
                  <a:pt x="85" y="67"/>
                </a:lnTo>
                <a:lnTo>
                  <a:pt x="89" y="60"/>
                </a:lnTo>
                <a:lnTo>
                  <a:pt x="91" y="54"/>
                </a:lnTo>
                <a:lnTo>
                  <a:pt x="92" y="51"/>
                </a:lnTo>
                <a:lnTo>
                  <a:pt x="92" y="51"/>
                </a:lnTo>
                <a:lnTo>
                  <a:pt x="92" y="48"/>
                </a:lnTo>
                <a:lnTo>
                  <a:pt x="95" y="45"/>
                </a:lnTo>
                <a:lnTo>
                  <a:pt x="97" y="43"/>
                </a:lnTo>
                <a:lnTo>
                  <a:pt x="98" y="40"/>
                </a:lnTo>
                <a:lnTo>
                  <a:pt x="98" y="40"/>
                </a:lnTo>
                <a:lnTo>
                  <a:pt x="97" y="30"/>
                </a:lnTo>
                <a:lnTo>
                  <a:pt x="95" y="23"/>
                </a:lnTo>
                <a:lnTo>
                  <a:pt x="92" y="15"/>
                </a:lnTo>
                <a:lnTo>
                  <a:pt x="92" y="15"/>
                </a:lnTo>
                <a:lnTo>
                  <a:pt x="89" y="14"/>
                </a:lnTo>
                <a:lnTo>
                  <a:pt x="89" y="14"/>
                </a:lnTo>
                <a:lnTo>
                  <a:pt x="85" y="13"/>
                </a:lnTo>
                <a:lnTo>
                  <a:pt x="81" y="11"/>
                </a:lnTo>
                <a:lnTo>
                  <a:pt x="75" y="13"/>
                </a:lnTo>
                <a:lnTo>
                  <a:pt x="71" y="15"/>
                </a:lnTo>
                <a:lnTo>
                  <a:pt x="71" y="15"/>
                </a:lnTo>
                <a:lnTo>
                  <a:pt x="68" y="17"/>
                </a:lnTo>
                <a:lnTo>
                  <a:pt x="67" y="17"/>
                </a:lnTo>
                <a:lnTo>
                  <a:pt x="62" y="15"/>
                </a:lnTo>
                <a:lnTo>
                  <a:pt x="58" y="11"/>
                </a:lnTo>
                <a:lnTo>
                  <a:pt x="57" y="10"/>
                </a:lnTo>
                <a:lnTo>
                  <a:pt x="57" y="10"/>
                </a:lnTo>
                <a:lnTo>
                  <a:pt x="54" y="7"/>
                </a:lnTo>
                <a:lnTo>
                  <a:pt x="51" y="6"/>
                </a:lnTo>
                <a:lnTo>
                  <a:pt x="47" y="4"/>
                </a:lnTo>
                <a:lnTo>
                  <a:pt x="44" y="6"/>
                </a:lnTo>
                <a:lnTo>
                  <a:pt x="44" y="6"/>
                </a:lnTo>
                <a:lnTo>
                  <a:pt x="41" y="7"/>
                </a:lnTo>
                <a:lnTo>
                  <a:pt x="38" y="7"/>
                </a:lnTo>
                <a:lnTo>
                  <a:pt x="38" y="6"/>
                </a:lnTo>
                <a:lnTo>
                  <a:pt x="38" y="3"/>
                </a:lnTo>
                <a:lnTo>
                  <a:pt x="38" y="3"/>
                </a:lnTo>
                <a:lnTo>
                  <a:pt x="37" y="1"/>
                </a:lnTo>
                <a:lnTo>
                  <a:pt x="34" y="0"/>
                </a:lnTo>
                <a:lnTo>
                  <a:pt x="31" y="1"/>
                </a:lnTo>
                <a:lnTo>
                  <a:pt x="30" y="4"/>
                </a:lnTo>
                <a:lnTo>
                  <a:pt x="30" y="4"/>
                </a:lnTo>
                <a:lnTo>
                  <a:pt x="28" y="7"/>
                </a:lnTo>
                <a:lnTo>
                  <a:pt x="25" y="8"/>
                </a:lnTo>
                <a:lnTo>
                  <a:pt x="23" y="10"/>
                </a:lnTo>
                <a:lnTo>
                  <a:pt x="21" y="8"/>
                </a:lnTo>
                <a:lnTo>
                  <a:pt x="21" y="8"/>
                </a:lnTo>
                <a:lnTo>
                  <a:pt x="17" y="4"/>
                </a:lnTo>
                <a:lnTo>
                  <a:pt x="14" y="4"/>
                </a:lnTo>
                <a:lnTo>
                  <a:pt x="13" y="6"/>
                </a:lnTo>
                <a:lnTo>
                  <a:pt x="13" y="6"/>
                </a:lnTo>
                <a:lnTo>
                  <a:pt x="11" y="7"/>
                </a:lnTo>
                <a:lnTo>
                  <a:pt x="10" y="8"/>
                </a:lnTo>
                <a:lnTo>
                  <a:pt x="7" y="7"/>
                </a:lnTo>
                <a:lnTo>
                  <a:pt x="7" y="7"/>
                </a:lnTo>
                <a:lnTo>
                  <a:pt x="6" y="15"/>
                </a:lnTo>
                <a:lnTo>
                  <a:pt x="6" y="18"/>
                </a:lnTo>
                <a:lnTo>
                  <a:pt x="7" y="20"/>
                </a:lnTo>
                <a:lnTo>
                  <a:pt x="7" y="20"/>
                </a:lnTo>
                <a:lnTo>
                  <a:pt x="10" y="21"/>
                </a:lnTo>
                <a:lnTo>
                  <a:pt x="10" y="24"/>
                </a:lnTo>
                <a:lnTo>
                  <a:pt x="10" y="27"/>
                </a:lnTo>
                <a:lnTo>
                  <a:pt x="10" y="27"/>
                </a:lnTo>
                <a:lnTo>
                  <a:pt x="11" y="30"/>
                </a:lnTo>
                <a:lnTo>
                  <a:pt x="13" y="33"/>
                </a:lnTo>
                <a:lnTo>
                  <a:pt x="14" y="35"/>
                </a:lnTo>
                <a:lnTo>
                  <a:pt x="13" y="37"/>
                </a:lnTo>
                <a:lnTo>
                  <a:pt x="13" y="37"/>
                </a:lnTo>
                <a:lnTo>
                  <a:pt x="11" y="38"/>
                </a:lnTo>
                <a:lnTo>
                  <a:pt x="10" y="38"/>
                </a:lnTo>
                <a:lnTo>
                  <a:pt x="7" y="37"/>
                </a:lnTo>
                <a:lnTo>
                  <a:pt x="6" y="38"/>
                </a:lnTo>
                <a:lnTo>
                  <a:pt x="6" y="38"/>
                </a:lnTo>
                <a:lnTo>
                  <a:pt x="6" y="41"/>
                </a:lnTo>
                <a:lnTo>
                  <a:pt x="7" y="44"/>
                </a:lnTo>
                <a:lnTo>
                  <a:pt x="7" y="45"/>
                </a:lnTo>
                <a:lnTo>
                  <a:pt x="7" y="48"/>
                </a:lnTo>
                <a:lnTo>
                  <a:pt x="7" y="48"/>
                </a:lnTo>
                <a:lnTo>
                  <a:pt x="4" y="51"/>
                </a:lnTo>
                <a:lnTo>
                  <a:pt x="3" y="54"/>
                </a:lnTo>
                <a:lnTo>
                  <a:pt x="3" y="57"/>
                </a:lnTo>
                <a:lnTo>
                  <a:pt x="3" y="57"/>
                </a:lnTo>
                <a:lnTo>
                  <a:pt x="3" y="64"/>
                </a:lnTo>
                <a:lnTo>
                  <a:pt x="1" y="67"/>
                </a:lnTo>
                <a:lnTo>
                  <a:pt x="1" y="68"/>
                </a:lnTo>
                <a:lnTo>
                  <a:pt x="1" y="68"/>
                </a:lnTo>
                <a:lnTo>
                  <a:pt x="0" y="70"/>
                </a:lnTo>
                <a:lnTo>
                  <a:pt x="1" y="71"/>
                </a:lnTo>
                <a:lnTo>
                  <a:pt x="6" y="74"/>
                </a:lnTo>
                <a:lnTo>
                  <a:pt x="6" y="74"/>
                </a:lnTo>
                <a:lnTo>
                  <a:pt x="14" y="78"/>
                </a:lnTo>
                <a:lnTo>
                  <a:pt x="17" y="82"/>
                </a:lnTo>
                <a:lnTo>
                  <a:pt x="18" y="85"/>
                </a:lnTo>
                <a:lnTo>
                  <a:pt x="18" y="85"/>
                </a:lnTo>
                <a:lnTo>
                  <a:pt x="17" y="91"/>
                </a:lnTo>
                <a:lnTo>
                  <a:pt x="14" y="101"/>
                </a:lnTo>
                <a:lnTo>
                  <a:pt x="14" y="101"/>
                </a:lnTo>
                <a:lnTo>
                  <a:pt x="23" y="99"/>
                </a:lnTo>
                <a:lnTo>
                  <a:pt x="34" y="97"/>
                </a:lnTo>
                <a:lnTo>
                  <a:pt x="47" y="94"/>
                </a:lnTo>
                <a:lnTo>
                  <a:pt x="61" y="89"/>
                </a:lnTo>
                <a:lnTo>
                  <a:pt x="61" y="89"/>
                </a:lnTo>
                <a:lnTo>
                  <a:pt x="70" y="89"/>
                </a:lnTo>
                <a:lnTo>
                  <a:pt x="78" y="89"/>
                </a:lnTo>
                <a:lnTo>
                  <a:pt x="92" y="92"/>
                </a:lnTo>
                <a:lnTo>
                  <a:pt x="92" y="92"/>
                </a:lnTo>
                <a:lnTo>
                  <a:pt x="92" y="88"/>
                </a:lnTo>
                <a:lnTo>
                  <a:pt x="92" y="84"/>
                </a:lnTo>
                <a:lnTo>
                  <a:pt x="92" y="8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26" name="Freeform 213">
            <a:extLst>
              <a:ext uri="{FF2B5EF4-FFF2-40B4-BE49-F238E27FC236}">
                <a16:creationId xmlns:a16="http://schemas.microsoft.com/office/drawing/2014/main" id="{99AECD91-74BB-D5A1-0BB0-89C04E61CD74}"/>
              </a:ext>
            </a:extLst>
          </p:cNvPr>
          <p:cNvSpPr>
            <a:spLocks/>
          </p:cNvSpPr>
          <p:nvPr userDrawn="1"/>
        </p:nvSpPr>
        <p:spPr bwMode="gray">
          <a:xfrm>
            <a:off x="4285887" y="3113159"/>
            <a:ext cx="88435" cy="135253"/>
          </a:xfrm>
          <a:custGeom>
            <a:avLst/>
            <a:gdLst/>
            <a:ahLst/>
            <a:cxnLst>
              <a:cxn ang="0">
                <a:pos x="59" y="42"/>
              </a:cxn>
              <a:cxn ang="0">
                <a:pos x="59" y="42"/>
              </a:cxn>
              <a:cxn ang="0">
                <a:pos x="57" y="37"/>
              </a:cxn>
              <a:cxn ang="0">
                <a:pos x="57" y="31"/>
              </a:cxn>
              <a:cxn ang="0">
                <a:pos x="59" y="20"/>
              </a:cxn>
              <a:cxn ang="0">
                <a:pos x="59" y="20"/>
              </a:cxn>
              <a:cxn ang="0">
                <a:pos x="57" y="14"/>
              </a:cxn>
              <a:cxn ang="0">
                <a:pos x="54" y="10"/>
              </a:cxn>
              <a:cxn ang="0">
                <a:pos x="54" y="10"/>
              </a:cxn>
              <a:cxn ang="0">
                <a:pos x="53" y="7"/>
              </a:cxn>
              <a:cxn ang="0">
                <a:pos x="51" y="0"/>
              </a:cxn>
              <a:cxn ang="0">
                <a:pos x="51" y="0"/>
              </a:cxn>
              <a:cxn ang="0">
                <a:pos x="50" y="1"/>
              </a:cxn>
              <a:cxn ang="0">
                <a:pos x="49" y="3"/>
              </a:cxn>
              <a:cxn ang="0">
                <a:pos x="47" y="4"/>
              </a:cxn>
              <a:cxn ang="0">
                <a:pos x="47" y="4"/>
              </a:cxn>
              <a:cxn ang="0">
                <a:pos x="47" y="4"/>
              </a:cxn>
              <a:cxn ang="0">
                <a:pos x="40" y="3"/>
              </a:cxn>
              <a:cxn ang="0">
                <a:pos x="27" y="1"/>
              </a:cxn>
              <a:cxn ang="0">
                <a:pos x="13" y="1"/>
              </a:cxn>
              <a:cxn ang="0">
                <a:pos x="9" y="3"/>
              </a:cxn>
              <a:cxn ang="0">
                <a:pos x="7" y="3"/>
              </a:cxn>
              <a:cxn ang="0">
                <a:pos x="7" y="3"/>
              </a:cxn>
              <a:cxn ang="0">
                <a:pos x="6" y="7"/>
              </a:cxn>
              <a:cxn ang="0">
                <a:pos x="7" y="11"/>
              </a:cxn>
              <a:cxn ang="0">
                <a:pos x="10" y="20"/>
              </a:cxn>
              <a:cxn ang="0">
                <a:pos x="10" y="20"/>
              </a:cxn>
              <a:cxn ang="0">
                <a:pos x="9" y="21"/>
              </a:cxn>
              <a:cxn ang="0">
                <a:pos x="7" y="22"/>
              </a:cxn>
              <a:cxn ang="0">
                <a:pos x="7" y="22"/>
              </a:cxn>
              <a:cxn ang="0">
                <a:pos x="10" y="30"/>
              </a:cxn>
              <a:cxn ang="0">
                <a:pos x="12" y="37"/>
              </a:cxn>
              <a:cxn ang="0">
                <a:pos x="13" y="47"/>
              </a:cxn>
              <a:cxn ang="0">
                <a:pos x="13" y="47"/>
              </a:cxn>
              <a:cxn ang="0">
                <a:pos x="12" y="50"/>
              </a:cxn>
              <a:cxn ang="0">
                <a:pos x="10" y="52"/>
              </a:cxn>
              <a:cxn ang="0">
                <a:pos x="7" y="55"/>
              </a:cxn>
              <a:cxn ang="0">
                <a:pos x="7" y="58"/>
              </a:cxn>
              <a:cxn ang="0">
                <a:pos x="7" y="58"/>
              </a:cxn>
              <a:cxn ang="0">
                <a:pos x="6" y="61"/>
              </a:cxn>
              <a:cxn ang="0">
                <a:pos x="4" y="67"/>
              </a:cxn>
              <a:cxn ang="0">
                <a:pos x="0" y="74"/>
              </a:cxn>
              <a:cxn ang="0">
                <a:pos x="0" y="74"/>
              </a:cxn>
              <a:cxn ang="0">
                <a:pos x="3" y="82"/>
              </a:cxn>
              <a:cxn ang="0">
                <a:pos x="7" y="91"/>
              </a:cxn>
              <a:cxn ang="0">
                <a:pos x="7" y="91"/>
              </a:cxn>
              <a:cxn ang="0">
                <a:pos x="7" y="95"/>
              </a:cxn>
              <a:cxn ang="0">
                <a:pos x="7" y="99"/>
              </a:cxn>
              <a:cxn ang="0">
                <a:pos x="7" y="99"/>
              </a:cxn>
              <a:cxn ang="0">
                <a:pos x="19" y="104"/>
              </a:cxn>
              <a:cxn ang="0">
                <a:pos x="19" y="104"/>
              </a:cxn>
              <a:cxn ang="0">
                <a:pos x="24" y="102"/>
              </a:cxn>
              <a:cxn ang="0">
                <a:pos x="33" y="99"/>
              </a:cxn>
              <a:cxn ang="0">
                <a:pos x="50" y="91"/>
              </a:cxn>
              <a:cxn ang="0">
                <a:pos x="50" y="91"/>
              </a:cxn>
              <a:cxn ang="0">
                <a:pos x="68" y="82"/>
              </a:cxn>
              <a:cxn ang="0">
                <a:pos x="68" y="82"/>
              </a:cxn>
              <a:cxn ang="0">
                <a:pos x="64" y="74"/>
              </a:cxn>
              <a:cxn ang="0">
                <a:pos x="63" y="64"/>
              </a:cxn>
              <a:cxn ang="0">
                <a:pos x="63" y="64"/>
              </a:cxn>
              <a:cxn ang="0">
                <a:pos x="61" y="52"/>
              </a:cxn>
              <a:cxn ang="0">
                <a:pos x="59" y="42"/>
              </a:cxn>
              <a:cxn ang="0">
                <a:pos x="59" y="42"/>
              </a:cxn>
            </a:cxnLst>
            <a:rect l="0" t="0" r="r" b="b"/>
            <a:pathLst>
              <a:path w="68" h="104">
                <a:moveTo>
                  <a:pt x="59" y="42"/>
                </a:moveTo>
                <a:lnTo>
                  <a:pt x="59" y="42"/>
                </a:lnTo>
                <a:lnTo>
                  <a:pt x="57" y="37"/>
                </a:lnTo>
                <a:lnTo>
                  <a:pt x="57" y="31"/>
                </a:lnTo>
                <a:lnTo>
                  <a:pt x="59" y="20"/>
                </a:lnTo>
                <a:lnTo>
                  <a:pt x="59" y="20"/>
                </a:lnTo>
                <a:lnTo>
                  <a:pt x="57" y="14"/>
                </a:lnTo>
                <a:lnTo>
                  <a:pt x="54" y="10"/>
                </a:lnTo>
                <a:lnTo>
                  <a:pt x="54" y="10"/>
                </a:lnTo>
                <a:lnTo>
                  <a:pt x="53" y="7"/>
                </a:lnTo>
                <a:lnTo>
                  <a:pt x="51" y="0"/>
                </a:lnTo>
                <a:lnTo>
                  <a:pt x="51" y="0"/>
                </a:lnTo>
                <a:lnTo>
                  <a:pt x="50" y="1"/>
                </a:lnTo>
                <a:lnTo>
                  <a:pt x="49" y="3"/>
                </a:lnTo>
                <a:lnTo>
                  <a:pt x="47" y="4"/>
                </a:lnTo>
                <a:lnTo>
                  <a:pt x="47" y="4"/>
                </a:lnTo>
                <a:lnTo>
                  <a:pt x="47" y="4"/>
                </a:lnTo>
                <a:lnTo>
                  <a:pt x="40" y="3"/>
                </a:lnTo>
                <a:lnTo>
                  <a:pt x="27" y="1"/>
                </a:lnTo>
                <a:lnTo>
                  <a:pt x="13" y="1"/>
                </a:lnTo>
                <a:lnTo>
                  <a:pt x="9" y="3"/>
                </a:lnTo>
                <a:lnTo>
                  <a:pt x="7" y="3"/>
                </a:lnTo>
                <a:lnTo>
                  <a:pt x="7" y="3"/>
                </a:lnTo>
                <a:lnTo>
                  <a:pt x="6" y="7"/>
                </a:lnTo>
                <a:lnTo>
                  <a:pt x="7" y="11"/>
                </a:lnTo>
                <a:lnTo>
                  <a:pt x="10" y="20"/>
                </a:lnTo>
                <a:lnTo>
                  <a:pt x="10" y="20"/>
                </a:lnTo>
                <a:lnTo>
                  <a:pt x="9" y="21"/>
                </a:lnTo>
                <a:lnTo>
                  <a:pt x="7" y="22"/>
                </a:lnTo>
                <a:lnTo>
                  <a:pt x="7" y="22"/>
                </a:lnTo>
                <a:lnTo>
                  <a:pt x="10" y="30"/>
                </a:lnTo>
                <a:lnTo>
                  <a:pt x="12" y="37"/>
                </a:lnTo>
                <a:lnTo>
                  <a:pt x="13" y="47"/>
                </a:lnTo>
                <a:lnTo>
                  <a:pt x="13" y="47"/>
                </a:lnTo>
                <a:lnTo>
                  <a:pt x="12" y="50"/>
                </a:lnTo>
                <a:lnTo>
                  <a:pt x="10" y="52"/>
                </a:lnTo>
                <a:lnTo>
                  <a:pt x="7" y="55"/>
                </a:lnTo>
                <a:lnTo>
                  <a:pt x="7" y="58"/>
                </a:lnTo>
                <a:lnTo>
                  <a:pt x="7" y="58"/>
                </a:lnTo>
                <a:lnTo>
                  <a:pt x="6" y="61"/>
                </a:lnTo>
                <a:lnTo>
                  <a:pt x="4" y="67"/>
                </a:lnTo>
                <a:lnTo>
                  <a:pt x="0" y="74"/>
                </a:lnTo>
                <a:lnTo>
                  <a:pt x="0" y="74"/>
                </a:lnTo>
                <a:lnTo>
                  <a:pt x="3" y="82"/>
                </a:lnTo>
                <a:lnTo>
                  <a:pt x="7" y="91"/>
                </a:lnTo>
                <a:lnTo>
                  <a:pt x="7" y="91"/>
                </a:lnTo>
                <a:lnTo>
                  <a:pt x="7" y="95"/>
                </a:lnTo>
                <a:lnTo>
                  <a:pt x="7" y="99"/>
                </a:lnTo>
                <a:lnTo>
                  <a:pt x="7" y="99"/>
                </a:lnTo>
                <a:lnTo>
                  <a:pt x="19" y="104"/>
                </a:lnTo>
                <a:lnTo>
                  <a:pt x="19" y="104"/>
                </a:lnTo>
                <a:lnTo>
                  <a:pt x="24" y="102"/>
                </a:lnTo>
                <a:lnTo>
                  <a:pt x="33" y="99"/>
                </a:lnTo>
                <a:lnTo>
                  <a:pt x="50" y="91"/>
                </a:lnTo>
                <a:lnTo>
                  <a:pt x="50" y="91"/>
                </a:lnTo>
                <a:lnTo>
                  <a:pt x="68" y="82"/>
                </a:lnTo>
                <a:lnTo>
                  <a:pt x="68" y="82"/>
                </a:lnTo>
                <a:lnTo>
                  <a:pt x="64" y="74"/>
                </a:lnTo>
                <a:lnTo>
                  <a:pt x="63" y="64"/>
                </a:lnTo>
                <a:lnTo>
                  <a:pt x="63" y="64"/>
                </a:lnTo>
                <a:lnTo>
                  <a:pt x="61" y="52"/>
                </a:lnTo>
                <a:lnTo>
                  <a:pt x="59" y="42"/>
                </a:lnTo>
                <a:lnTo>
                  <a:pt x="59" y="42"/>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27" name="Freeform 214">
            <a:extLst>
              <a:ext uri="{FF2B5EF4-FFF2-40B4-BE49-F238E27FC236}">
                <a16:creationId xmlns:a16="http://schemas.microsoft.com/office/drawing/2014/main" id="{F1EC472E-F6A7-8CDE-605E-C883A1191D07}"/>
              </a:ext>
            </a:extLst>
          </p:cNvPr>
          <p:cNvSpPr>
            <a:spLocks/>
          </p:cNvSpPr>
          <p:nvPr userDrawn="1"/>
        </p:nvSpPr>
        <p:spPr bwMode="gray">
          <a:xfrm>
            <a:off x="4038790" y="3079345"/>
            <a:ext cx="154761" cy="117046"/>
          </a:xfrm>
          <a:custGeom>
            <a:avLst/>
            <a:gdLst/>
            <a:ahLst/>
            <a:cxnLst>
              <a:cxn ang="0">
                <a:pos x="41" y="47"/>
              </a:cxn>
              <a:cxn ang="0">
                <a:pos x="47" y="47"/>
              </a:cxn>
              <a:cxn ang="0">
                <a:pos x="59" y="44"/>
              </a:cxn>
              <a:cxn ang="0">
                <a:pos x="66" y="51"/>
              </a:cxn>
              <a:cxn ang="0">
                <a:pos x="72" y="60"/>
              </a:cxn>
              <a:cxn ang="0">
                <a:pos x="74" y="70"/>
              </a:cxn>
              <a:cxn ang="0">
                <a:pos x="86" y="70"/>
              </a:cxn>
              <a:cxn ang="0">
                <a:pos x="89" y="74"/>
              </a:cxn>
              <a:cxn ang="0">
                <a:pos x="91" y="83"/>
              </a:cxn>
              <a:cxn ang="0">
                <a:pos x="96" y="90"/>
              </a:cxn>
              <a:cxn ang="0">
                <a:pos x="102" y="84"/>
              </a:cxn>
              <a:cxn ang="0">
                <a:pos x="105" y="84"/>
              </a:cxn>
              <a:cxn ang="0">
                <a:pos x="108" y="85"/>
              </a:cxn>
              <a:cxn ang="0">
                <a:pos x="112" y="81"/>
              </a:cxn>
              <a:cxn ang="0">
                <a:pos x="111" y="74"/>
              </a:cxn>
              <a:cxn ang="0">
                <a:pos x="112" y="70"/>
              </a:cxn>
              <a:cxn ang="0">
                <a:pos x="118" y="70"/>
              </a:cxn>
              <a:cxn ang="0">
                <a:pos x="118" y="66"/>
              </a:cxn>
              <a:cxn ang="0">
                <a:pos x="115" y="60"/>
              </a:cxn>
              <a:cxn ang="0">
                <a:pos x="112" y="53"/>
              </a:cxn>
              <a:cxn ang="0">
                <a:pos x="111" y="48"/>
              </a:cxn>
              <a:cxn ang="0">
                <a:pos x="111" y="39"/>
              </a:cxn>
              <a:cxn ang="0">
                <a:pos x="109" y="33"/>
              </a:cxn>
              <a:cxn ang="0">
                <a:pos x="106" y="29"/>
              </a:cxn>
              <a:cxn ang="0">
                <a:pos x="105" y="24"/>
              </a:cxn>
              <a:cxn ang="0">
                <a:pos x="108" y="23"/>
              </a:cxn>
              <a:cxn ang="0">
                <a:pos x="102" y="19"/>
              </a:cxn>
              <a:cxn ang="0">
                <a:pos x="99" y="9"/>
              </a:cxn>
              <a:cxn ang="0">
                <a:pos x="95" y="4"/>
              </a:cxn>
              <a:cxn ang="0">
                <a:pos x="86" y="10"/>
              </a:cxn>
              <a:cxn ang="0">
                <a:pos x="78" y="10"/>
              </a:cxn>
              <a:cxn ang="0">
                <a:pos x="72" y="11"/>
              </a:cxn>
              <a:cxn ang="0">
                <a:pos x="68" y="11"/>
              </a:cxn>
              <a:cxn ang="0">
                <a:pos x="64" y="13"/>
              </a:cxn>
              <a:cxn ang="0">
                <a:pos x="59" y="9"/>
              </a:cxn>
              <a:cxn ang="0">
                <a:pos x="59" y="6"/>
              </a:cxn>
              <a:cxn ang="0">
                <a:pos x="49" y="7"/>
              </a:cxn>
              <a:cxn ang="0">
                <a:pos x="34" y="4"/>
              </a:cxn>
              <a:cxn ang="0">
                <a:pos x="28" y="2"/>
              </a:cxn>
              <a:cxn ang="0">
                <a:pos x="22" y="3"/>
              </a:cxn>
              <a:cxn ang="0">
                <a:pos x="18" y="7"/>
              </a:cxn>
              <a:cxn ang="0">
                <a:pos x="20" y="14"/>
              </a:cxn>
              <a:cxn ang="0">
                <a:pos x="15" y="17"/>
              </a:cxn>
              <a:cxn ang="0">
                <a:pos x="11" y="17"/>
              </a:cxn>
              <a:cxn ang="0">
                <a:pos x="1" y="26"/>
              </a:cxn>
              <a:cxn ang="0">
                <a:pos x="2" y="30"/>
              </a:cxn>
              <a:cxn ang="0">
                <a:pos x="11" y="41"/>
              </a:cxn>
              <a:cxn ang="0">
                <a:pos x="25" y="54"/>
              </a:cxn>
              <a:cxn ang="0">
                <a:pos x="35" y="54"/>
              </a:cxn>
              <a:cxn ang="0">
                <a:pos x="39" y="48"/>
              </a:cxn>
            </a:cxnLst>
            <a:rect l="0" t="0" r="r" b="b"/>
            <a:pathLst>
              <a:path w="119" h="90">
                <a:moveTo>
                  <a:pt x="39" y="48"/>
                </a:moveTo>
                <a:lnTo>
                  <a:pt x="39" y="48"/>
                </a:lnTo>
                <a:lnTo>
                  <a:pt x="41" y="47"/>
                </a:lnTo>
                <a:lnTo>
                  <a:pt x="42" y="46"/>
                </a:lnTo>
                <a:lnTo>
                  <a:pt x="47" y="47"/>
                </a:lnTo>
                <a:lnTo>
                  <a:pt x="47" y="47"/>
                </a:lnTo>
                <a:lnTo>
                  <a:pt x="49" y="47"/>
                </a:lnTo>
                <a:lnTo>
                  <a:pt x="54" y="46"/>
                </a:lnTo>
                <a:lnTo>
                  <a:pt x="59" y="44"/>
                </a:lnTo>
                <a:lnTo>
                  <a:pt x="59" y="44"/>
                </a:lnTo>
                <a:lnTo>
                  <a:pt x="62" y="47"/>
                </a:lnTo>
                <a:lnTo>
                  <a:pt x="66" y="51"/>
                </a:lnTo>
                <a:lnTo>
                  <a:pt x="71" y="57"/>
                </a:lnTo>
                <a:lnTo>
                  <a:pt x="72" y="60"/>
                </a:lnTo>
                <a:lnTo>
                  <a:pt x="72" y="60"/>
                </a:lnTo>
                <a:lnTo>
                  <a:pt x="72" y="66"/>
                </a:lnTo>
                <a:lnTo>
                  <a:pt x="74" y="70"/>
                </a:lnTo>
                <a:lnTo>
                  <a:pt x="74" y="70"/>
                </a:lnTo>
                <a:lnTo>
                  <a:pt x="75" y="71"/>
                </a:lnTo>
                <a:lnTo>
                  <a:pt x="75" y="71"/>
                </a:lnTo>
                <a:lnTo>
                  <a:pt x="86" y="70"/>
                </a:lnTo>
                <a:lnTo>
                  <a:pt x="86" y="70"/>
                </a:lnTo>
                <a:lnTo>
                  <a:pt x="88" y="71"/>
                </a:lnTo>
                <a:lnTo>
                  <a:pt x="89" y="74"/>
                </a:lnTo>
                <a:lnTo>
                  <a:pt x="91" y="78"/>
                </a:lnTo>
                <a:lnTo>
                  <a:pt x="91" y="83"/>
                </a:lnTo>
                <a:lnTo>
                  <a:pt x="91" y="83"/>
                </a:lnTo>
                <a:lnTo>
                  <a:pt x="91" y="87"/>
                </a:lnTo>
                <a:lnTo>
                  <a:pt x="93" y="88"/>
                </a:lnTo>
                <a:lnTo>
                  <a:pt x="96" y="90"/>
                </a:lnTo>
                <a:lnTo>
                  <a:pt x="98" y="88"/>
                </a:lnTo>
                <a:lnTo>
                  <a:pt x="98" y="88"/>
                </a:lnTo>
                <a:lnTo>
                  <a:pt x="102" y="84"/>
                </a:lnTo>
                <a:lnTo>
                  <a:pt x="103" y="83"/>
                </a:lnTo>
                <a:lnTo>
                  <a:pt x="105" y="84"/>
                </a:lnTo>
                <a:lnTo>
                  <a:pt x="105" y="84"/>
                </a:lnTo>
                <a:lnTo>
                  <a:pt x="106" y="85"/>
                </a:lnTo>
                <a:lnTo>
                  <a:pt x="108" y="85"/>
                </a:lnTo>
                <a:lnTo>
                  <a:pt x="108" y="85"/>
                </a:lnTo>
                <a:lnTo>
                  <a:pt x="109" y="84"/>
                </a:lnTo>
                <a:lnTo>
                  <a:pt x="112" y="81"/>
                </a:lnTo>
                <a:lnTo>
                  <a:pt x="112" y="81"/>
                </a:lnTo>
                <a:lnTo>
                  <a:pt x="112" y="78"/>
                </a:lnTo>
                <a:lnTo>
                  <a:pt x="112" y="77"/>
                </a:lnTo>
                <a:lnTo>
                  <a:pt x="111" y="74"/>
                </a:lnTo>
                <a:lnTo>
                  <a:pt x="111" y="71"/>
                </a:lnTo>
                <a:lnTo>
                  <a:pt x="111" y="71"/>
                </a:lnTo>
                <a:lnTo>
                  <a:pt x="112" y="70"/>
                </a:lnTo>
                <a:lnTo>
                  <a:pt x="115" y="71"/>
                </a:lnTo>
                <a:lnTo>
                  <a:pt x="116" y="71"/>
                </a:lnTo>
                <a:lnTo>
                  <a:pt x="118" y="70"/>
                </a:lnTo>
                <a:lnTo>
                  <a:pt x="118" y="70"/>
                </a:lnTo>
                <a:lnTo>
                  <a:pt x="119" y="68"/>
                </a:lnTo>
                <a:lnTo>
                  <a:pt x="118" y="66"/>
                </a:lnTo>
                <a:lnTo>
                  <a:pt x="116" y="63"/>
                </a:lnTo>
                <a:lnTo>
                  <a:pt x="115" y="60"/>
                </a:lnTo>
                <a:lnTo>
                  <a:pt x="115" y="60"/>
                </a:lnTo>
                <a:lnTo>
                  <a:pt x="115" y="57"/>
                </a:lnTo>
                <a:lnTo>
                  <a:pt x="115" y="54"/>
                </a:lnTo>
                <a:lnTo>
                  <a:pt x="112" y="53"/>
                </a:lnTo>
                <a:lnTo>
                  <a:pt x="112" y="53"/>
                </a:lnTo>
                <a:lnTo>
                  <a:pt x="111" y="51"/>
                </a:lnTo>
                <a:lnTo>
                  <a:pt x="111" y="48"/>
                </a:lnTo>
                <a:lnTo>
                  <a:pt x="112" y="40"/>
                </a:lnTo>
                <a:lnTo>
                  <a:pt x="112" y="40"/>
                </a:lnTo>
                <a:lnTo>
                  <a:pt x="111" y="39"/>
                </a:lnTo>
                <a:lnTo>
                  <a:pt x="111" y="39"/>
                </a:lnTo>
                <a:lnTo>
                  <a:pt x="109" y="36"/>
                </a:lnTo>
                <a:lnTo>
                  <a:pt x="109" y="33"/>
                </a:lnTo>
                <a:lnTo>
                  <a:pt x="108" y="30"/>
                </a:lnTo>
                <a:lnTo>
                  <a:pt x="106" y="29"/>
                </a:lnTo>
                <a:lnTo>
                  <a:pt x="106" y="29"/>
                </a:lnTo>
                <a:lnTo>
                  <a:pt x="105" y="29"/>
                </a:lnTo>
                <a:lnTo>
                  <a:pt x="105" y="26"/>
                </a:lnTo>
                <a:lnTo>
                  <a:pt x="105" y="24"/>
                </a:lnTo>
                <a:lnTo>
                  <a:pt x="106" y="23"/>
                </a:lnTo>
                <a:lnTo>
                  <a:pt x="106" y="23"/>
                </a:lnTo>
                <a:lnTo>
                  <a:pt x="108" y="23"/>
                </a:lnTo>
                <a:lnTo>
                  <a:pt x="106" y="21"/>
                </a:lnTo>
                <a:lnTo>
                  <a:pt x="105" y="20"/>
                </a:lnTo>
                <a:lnTo>
                  <a:pt x="102" y="19"/>
                </a:lnTo>
                <a:lnTo>
                  <a:pt x="101" y="16"/>
                </a:lnTo>
                <a:lnTo>
                  <a:pt x="101" y="16"/>
                </a:lnTo>
                <a:lnTo>
                  <a:pt x="99" y="9"/>
                </a:lnTo>
                <a:lnTo>
                  <a:pt x="96" y="6"/>
                </a:lnTo>
                <a:lnTo>
                  <a:pt x="95" y="4"/>
                </a:lnTo>
                <a:lnTo>
                  <a:pt x="95" y="4"/>
                </a:lnTo>
                <a:lnTo>
                  <a:pt x="92" y="4"/>
                </a:lnTo>
                <a:lnTo>
                  <a:pt x="89" y="7"/>
                </a:lnTo>
                <a:lnTo>
                  <a:pt x="86" y="10"/>
                </a:lnTo>
                <a:lnTo>
                  <a:pt x="84" y="11"/>
                </a:lnTo>
                <a:lnTo>
                  <a:pt x="84" y="11"/>
                </a:lnTo>
                <a:lnTo>
                  <a:pt x="78" y="10"/>
                </a:lnTo>
                <a:lnTo>
                  <a:pt x="75" y="9"/>
                </a:lnTo>
                <a:lnTo>
                  <a:pt x="74" y="10"/>
                </a:lnTo>
                <a:lnTo>
                  <a:pt x="72" y="11"/>
                </a:lnTo>
                <a:lnTo>
                  <a:pt x="72" y="11"/>
                </a:lnTo>
                <a:lnTo>
                  <a:pt x="71" y="13"/>
                </a:lnTo>
                <a:lnTo>
                  <a:pt x="68" y="11"/>
                </a:lnTo>
                <a:lnTo>
                  <a:pt x="65" y="11"/>
                </a:lnTo>
                <a:lnTo>
                  <a:pt x="64" y="13"/>
                </a:lnTo>
                <a:lnTo>
                  <a:pt x="64" y="13"/>
                </a:lnTo>
                <a:lnTo>
                  <a:pt x="61" y="13"/>
                </a:lnTo>
                <a:lnTo>
                  <a:pt x="59" y="11"/>
                </a:lnTo>
                <a:lnTo>
                  <a:pt x="59" y="9"/>
                </a:lnTo>
                <a:lnTo>
                  <a:pt x="59" y="9"/>
                </a:lnTo>
                <a:lnTo>
                  <a:pt x="59" y="6"/>
                </a:lnTo>
                <a:lnTo>
                  <a:pt x="59" y="6"/>
                </a:lnTo>
                <a:lnTo>
                  <a:pt x="56" y="6"/>
                </a:lnTo>
                <a:lnTo>
                  <a:pt x="56" y="6"/>
                </a:lnTo>
                <a:lnTo>
                  <a:pt x="49" y="7"/>
                </a:lnTo>
                <a:lnTo>
                  <a:pt x="42" y="7"/>
                </a:lnTo>
                <a:lnTo>
                  <a:pt x="37" y="6"/>
                </a:lnTo>
                <a:lnTo>
                  <a:pt x="34" y="4"/>
                </a:lnTo>
                <a:lnTo>
                  <a:pt x="34" y="4"/>
                </a:lnTo>
                <a:lnTo>
                  <a:pt x="31" y="3"/>
                </a:lnTo>
                <a:lnTo>
                  <a:pt x="28" y="2"/>
                </a:lnTo>
                <a:lnTo>
                  <a:pt x="22" y="0"/>
                </a:lnTo>
                <a:lnTo>
                  <a:pt x="22" y="0"/>
                </a:lnTo>
                <a:lnTo>
                  <a:pt x="22" y="3"/>
                </a:lnTo>
                <a:lnTo>
                  <a:pt x="21" y="6"/>
                </a:lnTo>
                <a:lnTo>
                  <a:pt x="18" y="7"/>
                </a:lnTo>
                <a:lnTo>
                  <a:pt x="18" y="7"/>
                </a:lnTo>
                <a:lnTo>
                  <a:pt x="17" y="9"/>
                </a:lnTo>
                <a:lnTo>
                  <a:pt x="18" y="11"/>
                </a:lnTo>
                <a:lnTo>
                  <a:pt x="20" y="14"/>
                </a:lnTo>
                <a:lnTo>
                  <a:pt x="20" y="14"/>
                </a:lnTo>
                <a:lnTo>
                  <a:pt x="18" y="17"/>
                </a:lnTo>
                <a:lnTo>
                  <a:pt x="15" y="17"/>
                </a:lnTo>
                <a:lnTo>
                  <a:pt x="14" y="17"/>
                </a:lnTo>
                <a:lnTo>
                  <a:pt x="14" y="17"/>
                </a:lnTo>
                <a:lnTo>
                  <a:pt x="11" y="17"/>
                </a:lnTo>
                <a:lnTo>
                  <a:pt x="8" y="20"/>
                </a:lnTo>
                <a:lnTo>
                  <a:pt x="1" y="26"/>
                </a:lnTo>
                <a:lnTo>
                  <a:pt x="1" y="26"/>
                </a:lnTo>
                <a:lnTo>
                  <a:pt x="0" y="27"/>
                </a:lnTo>
                <a:lnTo>
                  <a:pt x="0" y="27"/>
                </a:lnTo>
                <a:lnTo>
                  <a:pt x="2" y="30"/>
                </a:lnTo>
                <a:lnTo>
                  <a:pt x="4" y="34"/>
                </a:lnTo>
                <a:lnTo>
                  <a:pt x="7" y="37"/>
                </a:lnTo>
                <a:lnTo>
                  <a:pt x="11" y="41"/>
                </a:lnTo>
                <a:lnTo>
                  <a:pt x="11" y="41"/>
                </a:lnTo>
                <a:lnTo>
                  <a:pt x="20" y="48"/>
                </a:lnTo>
                <a:lnTo>
                  <a:pt x="25" y="54"/>
                </a:lnTo>
                <a:lnTo>
                  <a:pt x="28" y="61"/>
                </a:lnTo>
                <a:lnTo>
                  <a:pt x="28" y="61"/>
                </a:lnTo>
                <a:lnTo>
                  <a:pt x="35" y="54"/>
                </a:lnTo>
                <a:lnTo>
                  <a:pt x="38" y="51"/>
                </a:lnTo>
                <a:lnTo>
                  <a:pt x="39" y="48"/>
                </a:lnTo>
                <a:lnTo>
                  <a:pt x="39" y="48"/>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28" name="Freeform 215">
            <a:extLst>
              <a:ext uri="{FF2B5EF4-FFF2-40B4-BE49-F238E27FC236}">
                <a16:creationId xmlns:a16="http://schemas.microsoft.com/office/drawing/2014/main" id="{8B44F839-7348-5202-A38B-DB2C209336F9}"/>
              </a:ext>
            </a:extLst>
          </p:cNvPr>
          <p:cNvSpPr>
            <a:spLocks/>
          </p:cNvSpPr>
          <p:nvPr userDrawn="1"/>
        </p:nvSpPr>
        <p:spPr bwMode="gray">
          <a:xfrm>
            <a:off x="4111619" y="3170381"/>
            <a:ext cx="87135" cy="83232"/>
          </a:xfrm>
          <a:custGeom>
            <a:avLst/>
            <a:gdLst/>
            <a:ahLst/>
            <a:cxnLst>
              <a:cxn ang="0">
                <a:pos x="55" y="37"/>
              </a:cxn>
              <a:cxn ang="0">
                <a:pos x="55" y="37"/>
              </a:cxn>
              <a:cxn ang="0">
                <a:pos x="50" y="34"/>
              </a:cxn>
              <a:cxn ang="0">
                <a:pos x="49" y="33"/>
              </a:cxn>
              <a:cxn ang="0">
                <a:pos x="50" y="31"/>
              </a:cxn>
              <a:cxn ang="0">
                <a:pos x="50" y="31"/>
              </a:cxn>
              <a:cxn ang="0">
                <a:pos x="50" y="30"/>
              </a:cxn>
              <a:cxn ang="0">
                <a:pos x="52" y="27"/>
              </a:cxn>
              <a:cxn ang="0">
                <a:pos x="52" y="20"/>
              </a:cxn>
              <a:cxn ang="0">
                <a:pos x="52" y="20"/>
              </a:cxn>
              <a:cxn ang="0">
                <a:pos x="52" y="15"/>
              </a:cxn>
              <a:cxn ang="0">
                <a:pos x="52" y="15"/>
              </a:cxn>
              <a:cxn ang="0">
                <a:pos x="50" y="15"/>
              </a:cxn>
              <a:cxn ang="0">
                <a:pos x="49" y="14"/>
              </a:cxn>
              <a:cxn ang="0">
                <a:pos x="49" y="14"/>
              </a:cxn>
              <a:cxn ang="0">
                <a:pos x="47" y="13"/>
              </a:cxn>
              <a:cxn ang="0">
                <a:pos x="46" y="14"/>
              </a:cxn>
              <a:cxn ang="0">
                <a:pos x="42" y="18"/>
              </a:cxn>
              <a:cxn ang="0">
                <a:pos x="42" y="18"/>
              </a:cxn>
              <a:cxn ang="0">
                <a:pos x="40" y="20"/>
              </a:cxn>
              <a:cxn ang="0">
                <a:pos x="37" y="18"/>
              </a:cxn>
              <a:cxn ang="0">
                <a:pos x="35" y="17"/>
              </a:cxn>
              <a:cxn ang="0">
                <a:pos x="35" y="13"/>
              </a:cxn>
              <a:cxn ang="0">
                <a:pos x="35" y="13"/>
              </a:cxn>
              <a:cxn ang="0">
                <a:pos x="35" y="8"/>
              </a:cxn>
              <a:cxn ang="0">
                <a:pos x="33" y="4"/>
              </a:cxn>
              <a:cxn ang="0">
                <a:pos x="32" y="1"/>
              </a:cxn>
              <a:cxn ang="0">
                <a:pos x="30" y="0"/>
              </a:cxn>
              <a:cxn ang="0">
                <a:pos x="30" y="0"/>
              </a:cxn>
              <a:cxn ang="0">
                <a:pos x="19" y="1"/>
              </a:cxn>
              <a:cxn ang="0">
                <a:pos x="19" y="1"/>
              </a:cxn>
              <a:cxn ang="0">
                <a:pos x="19" y="6"/>
              </a:cxn>
              <a:cxn ang="0">
                <a:pos x="18" y="10"/>
              </a:cxn>
              <a:cxn ang="0">
                <a:pos x="18" y="10"/>
              </a:cxn>
              <a:cxn ang="0">
                <a:pos x="15" y="13"/>
              </a:cxn>
              <a:cxn ang="0">
                <a:pos x="12" y="15"/>
              </a:cxn>
              <a:cxn ang="0">
                <a:pos x="5" y="20"/>
              </a:cxn>
              <a:cxn ang="0">
                <a:pos x="5" y="20"/>
              </a:cxn>
              <a:cxn ang="0">
                <a:pos x="0" y="25"/>
              </a:cxn>
              <a:cxn ang="0">
                <a:pos x="0" y="25"/>
              </a:cxn>
              <a:cxn ang="0">
                <a:pos x="22" y="40"/>
              </a:cxn>
              <a:cxn ang="0">
                <a:pos x="22" y="40"/>
              </a:cxn>
              <a:cxn ang="0">
                <a:pos x="42" y="54"/>
              </a:cxn>
              <a:cxn ang="0">
                <a:pos x="52" y="60"/>
              </a:cxn>
              <a:cxn ang="0">
                <a:pos x="59" y="62"/>
              </a:cxn>
              <a:cxn ang="0">
                <a:pos x="59" y="62"/>
              </a:cxn>
              <a:cxn ang="0">
                <a:pos x="63" y="64"/>
              </a:cxn>
              <a:cxn ang="0">
                <a:pos x="63" y="64"/>
              </a:cxn>
              <a:cxn ang="0">
                <a:pos x="66" y="54"/>
              </a:cxn>
              <a:cxn ang="0">
                <a:pos x="67" y="48"/>
              </a:cxn>
              <a:cxn ang="0">
                <a:pos x="67" y="48"/>
              </a:cxn>
              <a:cxn ang="0">
                <a:pos x="66" y="45"/>
              </a:cxn>
              <a:cxn ang="0">
                <a:pos x="63" y="41"/>
              </a:cxn>
              <a:cxn ang="0">
                <a:pos x="55" y="37"/>
              </a:cxn>
              <a:cxn ang="0">
                <a:pos x="55" y="37"/>
              </a:cxn>
            </a:cxnLst>
            <a:rect l="0" t="0" r="r" b="b"/>
            <a:pathLst>
              <a:path w="67" h="64">
                <a:moveTo>
                  <a:pt x="55" y="37"/>
                </a:moveTo>
                <a:lnTo>
                  <a:pt x="55" y="37"/>
                </a:lnTo>
                <a:lnTo>
                  <a:pt x="50" y="34"/>
                </a:lnTo>
                <a:lnTo>
                  <a:pt x="49" y="33"/>
                </a:lnTo>
                <a:lnTo>
                  <a:pt x="50" y="31"/>
                </a:lnTo>
                <a:lnTo>
                  <a:pt x="50" y="31"/>
                </a:lnTo>
                <a:lnTo>
                  <a:pt x="50" y="30"/>
                </a:lnTo>
                <a:lnTo>
                  <a:pt x="52" y="27"/>
                </a:lnTo>
                <a:lnTo>
                  <a:pt x="52" y="20"/>
                </a:lnTo>
                <a:lnTo>
                  <a:pt x="52" y="20"/>
                </a:lnTo>
                <a:lnTo>
                  <a:pt x="52" y="15"/>
                </a:lnTo>
                <a:lnTo>
                  <a:pt x="52" y="15"/>
                </a:lnTo>
                <a:lnTo>
                  <a:pt x="50" y="15"/>
                </a:lnTo>
                <a:lnTo>
                  <a:pt x="49" y="14"/>
                </a:lnTo>
                <a:lnTo>
                  <a:pt x="49" y="14"/>
                </a:lnTo>
                <a:lnTo>
                  <a:pt x="47" y="13"/>
                </a:lnTo>
                <a:lnTo>
                  <a:pt x="46" y="14"/>
                </a:lnTo>
                <a:lnTo>
                  <a:pt x="42" y="18"/>
                </a:lnTo>
                <a:lnTo>
                  <a:pt x="42" y="18"/>
                </a:lnTo>
                <a:lnTo>
                  <a:pt x="40" y="20"/>
                </a:lnTo>
                <a:lnTo>
                  <a:pt x="37" y="18"/>
                </a:lnTo>
                <a:lnTo>
                  <a:pt x="35" y="17"/>
                </a:lnTo>
                <a:lnTo>
                  <a:pt x="35" y="13"/>
                </a:lnTo>
                <a:lnTo>
                  <a:pt x="35" y="13"/>
                </a:lnTo>
                <a:lnTo>
                  <a:pt x="35" y="8"/>
                </a:lnTo>
                <a:lnTo>
                  <a:pt x="33" y="4"/>
                </a:lnTo>
                <a:lnTo>
                  <a:pt x="32" y="1"/>
                </a:lnTo>
                <a:lnTo>
                  <a:pt x="30" y="0"/>
                </a:lnTo>
                <a:lnTo>
                  <a:pt x="30" y="0"/>
                </a:lnTo>
                <a:lnTo>
                  <a:pt x="19" y="1"/>
                </a:lnTo>
                <a:lnTo>
                  <a:pt x="19" y="1"/>
                </a:lnTo>
                <a:lnTo>
                  <a:pt x="19" y="6"/>
                </a:lnTo>
                <a:lnTo>
                  <a:pt x="18" y="10"/>
                </a:lnTo>
                <a:lnTo>
                  <a:pt x="18" y="10"/>
                </a:lnTo>
                <a:lnTo>
                  <a:pt x="15" y="13"/>
                </a:lnTo>
                <a:lnTo>
                  <a:pt x="12" y="15"/>
                </a:lnTo>
                <a:lnTo>
                  <a:pt x="5" y="20"/>
                </a:lnTo>
                <a:lnTo>
                  <a:pt x="5" y="20"/>
                </a:lnTo>
                <a:lnTo>
                  <a:pt x="0" y="25"/>
                </a:lnTo>
                <a:lnTo>
                  <a:pt x="0" y="25"/>
                </a:lnTo>
                <a:lnTo>
                  <a:pt x="22" y="40"/>
                </a:lnTo>
                <a:lnTo>
                  <a:pt x="22" y="40"/>
                </a:lnTo>
                <a:lnTo>
                  <a:pt x="42" y="54"/>
                </a:lnTo>
                <a:lnTo>
                  <a:pt x="52" y="60"/>
                </a:lnTo>
                <a:lnTo>
                  <a:pt x="59" y="62"/>
                </a:lnTo>
                <a:lnTo>
                  <a:pt x="59" y="62"/>
                </a:lnTo>
                <a:lnTo>
                  <a:pt x="63" y="64"/>
                </a:lnTo>
                <a:lnTo>
                  <a:pt x="63" y="64"/>
                </a:lnTo>
                <a:lnTo>
                  <a:pt x="66" y="54"/>
                </a:lnTo>
                <a:lnTo>
                  <a:pt x="67" y="48"/>
                </a:lnTo>
                <a:lnTo>
                  <a:pt x="67" y="48"/>
                </a:lnTo>
                <a:lnTo>
                  <a:pt x="66" y="45"/>
                </a:lnTo>
                <a:lnTo>
                  <a:pt x="63" y="41"/>
                </a:lnTo>
                <a:lnTo>
                  <a:pt x="55" y="37"/>
                </a:lnTo>
                <a:lnTo>
                  <a:pt x="55" y="37"/>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29" name="Freeform 216">
            <a:extLst>
              <a:ext uri="{FF2B5EF4-FFF2-40B4-BE49-F238E27FC236}">
                <a16:creationId xmlns:a16="http://schemas.microsoft.com/office/drawing/2014/main" id="{C5671006-C446-6302-0FD3-1FD69536A1D7}"/>
              </a:ext>
            </a:extLst>
          </p:cNvPr>
          <p:cNvSpPr>
            <a:spLocks/>
          </p:cNvSpPr>
          <p:nvPr userDrawn="1"/>
        </p:nvSpPr>
        <p:spPr bwMode="gray">
          <a:xfrm>
            <a:off x="4075205" y="3136568"/>
            <a:ext cx="61124" cy="66327"/>
          </a:xfrm>
          <a:custGeom>
            <a:avLst/>
            <a:gdLst/>
            <a:ahLst/>
            <a:cxnLst>
              <a:cxn ang="0">
                <a:pos x="46" y="36"/>
              </a:cxn>
              <a:cxn ang="0">
                <a:pos x="46" y="36"/>
              </a:cxn>
              <a:cxn ang="0">
                <a:pos x="47" y="30"/>
              </a:cxn>
              <a:cxn ang="0">
                <a:pos x="47" y="29"/>
              </a:cxn>
              <a:cxn ang="0">
                <a:pos x="46" y="26"/>
              </a:cxn>
              <a:cxn ang="0">
                <a:pos x="46" y="26"/>
              </a:cxn>
              <a:cxn ang="0">
                <a:pos x="44" y="22"/>
              </a:cxn>
              <a:cxn ang="0">
                <a:pos x="44" y="16"/>
              </a:cxn>
              <a:cxn ang="0">
                <a:pos x="44" y="16"/>
              </a:cxn>
              <a:cxn ang="0">
                <a:pos x="43" y="13"/>
              </a:cxn>
              <a:cxn ang="0">
                <a:pos x="38" y="7"/>
              </a:cxn>
              <a:cxn ang="0">
                <a:pos x="34" y="3"/>
              </a:cxn>
              <a:cxn ang="0">
                <a:pos x="31" y="0"/>
              </a:cxn>
              <a:cxn ang="0">
                <a:pos x="31" y="0"/>
              </a:cxn>
              <a:cxn ang="0">
                <a:pos x="26" y="2"/>
              </a:cxn>
              <a:cxn ang="0">
                <a:pos x="21" y="3"/>
              </a:cxn>
              <a:cxn ang="0">
                <a:pos x="19" y="3"/>
              </a:cxn>
              <a:cxn ang="0">
                <a:pos x="19" y="3"/>
              </a:cxn>
              <a:cxn ang="0">
                <a:pos x="14" y="2"/>
              </a:cxn>
              <a:cxn ang="0">
                <a:pos x="13" y="3"/>
              </a:cxn>
              <a:cxn ang="0">
                <a:pos x="11" y="4"/>
              </a:cxn>
              <a:cxn ang="0">
                <a:pos x="11" y="4"/>
              </a:cxn>
              <a:cxn ang="0">
                <a:pos x="10" y="7"/>
              </a:cxn>
              <a:cxn ang="0">
                <a:pos x="7" y="10"/>
              </a:cxn>
              <a:cxn ang="0">
                <a:pos x="0" y="17"/>
              </a:cxn>
              <a:cxn ang="0">
                <a:pos x="0" y="17"/>
              </a:cxn>
              <a:cxn ang="0">
                <a:pos x="3" y="23"/>
              </a:cxn>
              <a:cxn ang="0">
                <a:pos x="3" y="23"/>
              </a:cxn>
              <a:cxn ang="0">
                <a:pos x="6" y="30"/>
              </a:cxn>
              <a:cxn ang="0">
                <a:pos x="9" y="36"/>
              </a:cxn>
              <a:cxn ang="0">
                <a:pos x="11" y="40"/>
              </a:cxn>
              <a:cxn ang="0">
                <a:pos x="16" y="43"/>
              </a:cxn>
              <a:cxn ang="0">
                <a:pos x="16" y="43"/>
              </a:cxn>
              <a:cxn ang="0">
                <a:pos x="28" y="51"/>
              </a:cxn>
              <a:cxn ang="0">
                <a:pos x="28" y="51"/>
              </a:cxn>
              <a:cxn ang="0">
                <a:pos x="33" y="46"/>
              </a:cxn>
              <a:cxn ang="0">
                <a:pos x="33" y="46"/>
              </a:cxn>
              <a:cxn ang="0">
                <a:pos x="40" y="41"/>
              </a:cxn>
              <a:cxn ang="0">
                <a:pos x="43" y="39"/>
              </a:cxn>
              <a:cxn ang="0">
                <a:pos x="46" y="36"/>
              </a:cxn>
              <a:cxn ang="0">
                <a:pos x="46" y="36"/>
              </a:cxn>
            </a:cxnLst>
            <a:rect l="0" t="0" r="r" b="b"/>
            <a:pathLst>
              <a:path w="47" h="51">
                <a:moveTo>
                  <a:pt x="46" y="36"/>
                </a:moveTo>
                <a:lnTo>
                  <a:pt x="46" y="36"/>
                </a:lnTo>
                <a:lnTo>
                  <a:pt x="47" y="30"/>
                </a:lnTo>
                <a:lnTo>
                  <a:pt x="47" y="29"/>
                </a:lnTo>
                <a:lnTo>
                  <a:pt x="46" y="26"/>
                </a:lnTo>
                <a:lnTo>
                  <a:pt x="46" y="26"/>
                </a:lnTo>
                <a:lnTo>
                  <a:pt x="44" y="22"/>
                </a:lnTo>
                <a:lnTo>
                  <a:pt x="44" y="16"/>
                </a:lnTo>
                <a:lnTo>
                  <a:pt x="44" y="16"/>
                </a:lnTo>
                <a:lnTo>
                  <a:pt x="43" y="13"/>
                </a:lnTo>
                <a:lnTo>
                  <a:pt x="38" y="7"/>
                </a:lnTo>
                <a:lnTo>
                  <a:pt x="34" y="3"/>
                </a:lnTo>
                <a:lnTo>
                  <a:pt x="31" y="0"/>
                </a:lnTo>
                <a:lnTo>
                  <a:pt x="31" y="0"/>
                </a:lnTo>
                <a:lnTo>
                  <a:pt x="26" y="2"/>
                </a:lnTo>
                <a:lnTo>
                  <a:pt x="21" y="3"/>
                </a:lnTo>
                <a:lnTo>
                  <a:pt x="19" y="3"/>
                </a:lnTo>
                <a:lnTo>
                  <a:pt x="19" y="3"/>
                </a:lnTo>
                <a:lnTo>
                  <a:pt x="14" y="2"/>
                </a:lnTo>
                <a:lnTo>
                  <a:pt x="13" y="3"/>
                </a:lnTo>
                <a:lnTo>
                  <a:pt x="11" y="4"/>
                </a:lnTo>
                <a:lnTo>
                  <a:pt x="11" y="4"/>
                </a:lnTo>
                <a:lnTo>
                  <a:pt x="10" y="7"/>
                </a:lnTo>
                <a:lnTo>
                  <a:pt x="7" y="10"/>
                </a:lnTo>
                <a:lnTo>
                  <a:pt x="0" y="17"/>
                </a:lnTo>
                <a:lnTo>
                  <a:pt x="0" y="17"/>
                </a:lnTo>
                <a:lnTo>
                  <a:pt x="3" y="23"/>
                </a:lnTo>
                <a:lnTo>
                  <a:pt x="3" y="23"/>
                </a:lnTo>
                <a:lnTo>
                  <a:pt x="6" y="30"/>
                </a:lnTo>
                <a:lnTo>
                  <a:pt x="9" y="36"/>
                </a:lnTo>
                <a:lnTo>
                  <a:pt x="11" y="40"/>
                </a:lnTo>
                <a:lnTo>
                  <a:pt x="16" y="43"/>
                </a:lnTo>
                <a:lnTo>
                  <a:pt x="16" y="43"/>
                </a:lnTo>
                <a:lnTo>
                  <a:pt x="28" y="51"/>
                </a:lnTo>
                <a:lnTo>
                  <a:pt x="28" y="51"/>
                </a:lnTo>
                <a:lnTo>
                  <a:pt x="33" y="46"/>
                </a:lnTo>
                <a:lnTo>
                  <a:pt x="33" y="46"/>
                </a:lnTo>
                <a:lnTo>
                  <a:pt x="40" y="41"/>
                </a:lnTo>
                <a:lnTo>
                  <a:pt x="43" y="39"/>
                </a:lnTo>
                <a:lnTo>
                  <a:pt x="46" y="36"/>
                </a:lnTo>
                <a:lnTo>
                  <a:pt x="46" y="36"/>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30" name="Freeform 217">
            <a:extLst>
              <a:ext uri="{FF2B5EF4-FFF2-40B4-BE49-F238E27FC236}">
                <a16:creationId xmlns:a16="http://schemas.microsoft.com/office/drawing/2014/main" id="{A59A6B86-9D10-79E7-C5A4-EC137408C61D}"/>
              </a:ext>
            </a:extLst>
          </p:cNvPr>
          <p:cNvSpPr>
            <a:spLocks/>
          </p:cNvSpPr>
          <p:nvPr userDrawn="1"/>
        </p:nvSpPr>
        <p:spPr bwMode="gray">
          <a:xfrm>
            <a:off x="3997174" y="2750316"/>
            <a:ext cx="175569" cy="141756"/>
          </a:xfrm>
          <a:custGeom>
            <a:avLst/>
            <a:gdLst/>
            <a:ahLst/>
            <a:cxnLst>
              <a:cxn ang="0">
                <a:pos x="63" y="84"/>
              </a:cxn>
              <a:cxn ang="0">
                <a:pos x="63" y="84"/>
              </a:cxn>
              <a:cxn ang="0">
                <a:pos x="64" y="82"/>
              </a:cxn>
              <a:cxn ang="0">
                <a:pos x="66" y="81"/>
              </a:cxn>
              <a:cxn ang="0">
                <a:pos x="71" y="78"/>
              </a:cxn>
              <a:cxn ang="0">
                <a:pos x="77" y="75"/>
              </a:cxn>
              <a:cxn ang="0">
                <a:pos x="80" y="74"/>
              </a:cxn>
              <a:cxn ang="0">
                <a:pos x="80" y="72"/>
              </a:cxn>
              <a:cxn ang="0">
                <a:pos x="80" y="72"/>
              </a:cxn>
              <a:cxn ang="0">
                <a:pos x="80" y="30"/>
              </a:cxn>
              <a:cxn ang="0">
                <a:pos x="80" y="30"/>
              </a:cxn>
              <a:cxn ang="0">
                <a:pos x="107" y="30"/>
              </a:cxn>
              <a:cxn ang="0">
                <a:pos x="134" y="30"/>
              </a:cxn>
              <a:cxn ang="0">
                <a:pos x="134" y="30"/>
              </a:cxn>
              <a:cxn ang="0">
                <a:pos x="135" y="21"/>
              </a:cxn>
              <a:cxn ang="0">
                <a:pos x="134" y="7"/>
              </a:cxn>
              <a:cxn ang="0">
                <a:pos x="134" y="7"/>
              </a:cxn>
              <a:cxn ang="0">
                <a:pos x="133" y="3"/>
              </a:cxn>
              <a:cxn ang="0">
                <a:pos x="130" y="1"/>
              </a:cxn>
              <a:cxn ang="0">
                <a:pos x="123" y="0"/>
              </a:cxn>
              <a:cxn ang="0">
                <a:pos x="123" y="0"/>
              </a:cxn>
              <a:cxn ang="0">
                <a:pos x="63" y="0"/>
              </a:cxn>
              <a:cxn ang="0">
                <a:pos x="63" y="0"/>
              </a:cxn>
              <a:cxn ang="0">
                <a:pos x="59" y="7"/>
              </a:cxn>
              <a:cxn ang="0">
                <a:pos x="54" y="16"/>
              </a:cxn>
              <a:cxn ang="0">
                <a:pos x="54" y="16"/>
              </a:cxn>
              <a:cxn ang="0">
                <a:pos x="50" y="21"/>
              </a:cxn>
              <a:cxn ang="0">
                <a:pos x="43" y="28"/>
              </a:cxn>
              <a:cxn ang="0">
                <a:pos x="36" y="37"/>
              </a:cxn>
              <a:cxn ang="0">
                <a:pos x="34" y="40"/>
              </a:cxn>
              <a:cxn ang="0">
                <a:pos x="33" y="44"/>
              </a:cxn>
              <a:cxn ang="0">
                <a:pos x="33" y="44"/>
              </a:cxn>
              <a:cxn ang="0">
                <a:pos x="33" y="48"/>
              </a:cxn>
              <a:cxn ang="0">
                <a:pos x="30" y="54"/>
              </a:cxn>
              <a:cxn ang="0">
                <a:pos x="23" y="65"/>
              </a:cxn>
              <a:cxn ang="0">
                <a:pos x="15" y="78"/>
              </a:cxn>
              <a:cxn ang="0">
                <a:pos x="5" y="94"/>
              </a:cxn>
              <a:cxn ang="0">
                <a:pos x="5" y="94"/>
              </a:cxn>
              <a:cxn ang="0">
                <a:pos x="2" y="102"/>
              </a:cxn>
              <a:cxn ang="0">
                <a:pos x="0" y="109"/>
              </a:cxn>
              <a:cxn ang="0">
                <a:pos x="63" y="109"/>
              </a:cxn>
              <a:cxn ang="0">
                <a:pos x="63" y="109"/>
              </a:cxn>
              <a:cxn ang="0">
                <a:pos x="63" y="84"/>
              </a:cxn>
              <a:cxn ang="0">
                <a:pos x="63" y="84"/>
              </a:cxn>
            </a:cxnLst>
            <a:rect l="0" t="0" r="r" b="b"/>
            <a:pathLst>
              <a:path w="135" h="109">
                <a:moveTo>
                  <a:pt x="63" y="84"/>
                </a:moveTo>
                <a:lnTo>
                  <a:pt x="63" y="84"/>
                </a:lnTo>
                <a:lnTo>
                  <a:pt x="64" y="82"/>
                </a:lnTo>
                <a:lnTo>
                  <a:pt x="66" y="81"/>
                </a:lnTo>
                <a:lnTo>
                  <a:pt x="71" y="78"/>
                </a:lnTo>
                <a:lnTo>
                  <a:pt x="77" y="75"/>
                </a:lnTo>
                <a:lnTo>
                  <a:pt x="80" y="74"/>
                </a:lnTo>
                <a:lnTo>
                  <a:pt x="80" y="72"/>
                </a:lnTo>
                <a:lnTo>
                  <a:pt x="80" y="72"/>
                </a:lnTo>
                <a:lnTo>
                  <a:pt x="80" y="30"/>
                </a:lnTo>
                <a:lnTo>
                  <a:pt x="80" y="30"/>
                </a:lnTo>
                <a:lnTo>
                  <a:pt x="107" y="30"/>
                </a:lnTo>
                <a:lnTo>
                  <a:pt x="134" y="30"/>
                </a:lnTo>
                <a:lnTo>
                  <a:pt x="134" y="30"/>
                </a:lnTo>
                <a:lnTo>
                  <a:pt x="135" y="21"/>
                </a:lnTo>
                <a:lnTo>
                  <a:pt x="134" y="7"/>
                </a:lnTo>
                <a:lnTo>
                  <a:pt x="134" y="7"/>
                </a:lnTo>
                <a:lnTo>
                  <a:pt x="133" y="3"/>
                </a:lnTo>
                <a:lnTo>
                  <a:pt x="130" y="1"/>
                </a:lnTo>
                <a:lnTo>
                  <a:pt x="123" y="0"/>
                </a:lnTo>
                <a:lnTo>
                  <a:pt x="123" y="0"/>
                </a:lnTo>
                <a:lnTo>
                  <a:pt x="63" y="0"/>
                </a:lnTo>
                <a:lnTo>
                  <a:pt x="63" y="0"/>
                </a:lnTo>
                <a:lnTo>
                  <a:pt x="59" y="7"/>
                </a:lnTo>
                <a:lnTo>
                  <a:pt x="54" y="16"/>
                </a:lnTo>
                <a:lnTo>
                  <a:pt x="54" y="16"/>
                </a:lnTo>
                <a:lnTo>
                  <a:pt x="50" y="21"/>
                </a:lnTo>
                <a:lnTo>
                  <a:pt x="43" y="28"/>
                </a:lnTo>
                <a:lnTo>
                  <a:pt x="36" y="37"/>
                </a:lnTo>
                <a:lnTo>
                  <a:pt x="34" y="40"/>
                </a:lnTo>
                <a:lnTo>
                  <a:pt x="33" y="44"/>
                </a:lnTo>
                <a:lnTo>
                  <a:pt x="33" y="44"/>
                </a:lnTo>
                <a:lnTo>
                  <a:pt x="33" y="48"/>
                </a:lnTo>
                <a:lnTo>
                  <a:pt x="30" y="54"/>
                </a:lnTo>
                <a:lnTo>
                  <a:pt x="23" y="65"/>
                </a:lnTo>
                <a:lnTo>
                  <a:pt x="15" y="78"/>
                </a:lnTo>
                <a:lnTo>
                  <a:pt x="5" y="94"/>
                </a:lnTo>
                <a:lnTo>
                  <a:pt x="5" y="94"/>
                </a:lnTo>
                <a:lnTo>
                  <a:pt x="2" y="102"/>
                </a:lnTo>
                <a:lnTo>
                  <a:pt x="0" y="109"/>
                </a:lnTo>
                <a:lnTo>
                  <a:pt x="63" y="109"/>
                </a:lnTo>
                <a:lnTo>
                  <a:pt x="63" y="109"/>
                </a:lnTo>
                <a:lnTo>
                  <a:pt x="63" y="84"/>
                </a:lnTo>
                <a:lnTo>
                  <a:pt x="63" y="8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31" name="Freeform 218">
            <a:extLst>
              <a:ext uri="{FF2B5EF4-FFF2-40B4-BE49-F238E27FC236}">
                <a16:creationId xmlns:a16="http://schemas.microsoft.com/office/drawing/2014/main" id="{ECC5361B-3ADE-3FA7-0044-7A529D8E5D8B}"/>
              </a:ext>
            </a:extLst>
          </p:cNvPr>
          <p:cNvSpPr>
            <a:spLocks/>
          </p:cNvSpPr>
          <p:nvPr userDrawn="1"/>
        </p:nvSpPr>
        <p:spPr bwMode="gray">
          <a:xfrm>
            <a:off x="3997174" y="2759420"/>
            <a:ext cx="252299" cy="277008"/>
          </a:xfrm>
          <a:custGeom>
            <a:avLst/>
            <a:gdLst/>
            <a:ahLst/>
            <a:cxnLst>
              <a:cxn ang="0">
                <a:pos x="15" y="184"/>
              </a:cxn>
              <a:cxn ang="0">
                <a:pos x="29" y="184"/>
              </a:cxn>
              <a:cxn ang="0">
                <a:pos x="34" y="182"/>
              </a:cxn>
              <a:cxn ang="0">
                <a:pos x="42" y="182"/>
              </a:cxn>
              <a:cxn ang="0">
                <a:pos x="49" y="188"/>
              </a:cxn>
              <a:cxn ang="0">
                <a:pos x="57" y="191"/>
              </a:cxn>
              <a:cxn ang="0">
                <a:pos x="60" y="198"/>
              </a:cxn>
              <a:cxn ang="0">
                <a:pos x="67" y="205"/>
              </a:cxn>
              <a:cxn ang="0">
                <a:pos x="73" y="209"/>
              </a:cxn>
              <a:cxn ang="0">
                <a:pos x="76" y="213"/>
              </a:cxn>
              <a:cxn ang="0">
                <a:pos x="83" y="211"/>
              </a:cxn>
              <a:cxn ang="0">
                <a:pos x="84" y="208"/>
              </a:cxn>
              <a:cxn ang="0">
                <a:pos x="86" y="202"/>
              </a:cxn>
              <a:cxn ang="0">
                <a:pos x="93" y="203"/>
              </a:cxn>
              <a:cxn ang="0">
                <a:pos x="97" y="206"/>
              </a:cxn>
              <a:cxn ang="0">
                <a:pos x="101" y="202"/>
              </a:cxn>
              <a:cxn ang="0">
                <a:pos x="104" y="202"/>
              </a:cxn>
              <a:cxn ang="0">
                <a:pos x="113" y="203"/>
              </a:cxn>
              <a:cxn ang="0">
                <a:pos x="120" y="202"/>
              </a:cxn>
              <a:cxn ang="0">
                <a:pos x="123" y="201"/>
              </a:cxn>
              <a:cxn ang="0">
                <a:pos x="174" y="201"/>
              </a:cxn>
              <a:cxn ang="0">
                <a:pos x="185" y="199"/>
              </a:cxn>
              <a:cxn ang="0">
                <a:pos x="188" y="192"/>
              </a:cxn>
              <a:cxn ang="0">
                <a:pos x="182" y="181"/>
              </a:cxn>
              <a:cxn ang="0">
                <a:pos x="194" y="40"/>
              </a:cxn>
              <a:cxn ang="0">
                <a:pos x="138" y="3"/>
              </a:cxn>
              <a:cxn ang="0">
                <a:pos x="134" y="0"/>
              </a:cxn>
              <a:cxn ang="0">
                <a:pos x="135" y="14"/>
              </a:cxn>
              <a:cxn ang="0">
                <a:pos x="134" y="23"/>
              </a:cxn>
              <a:cxn ang="0">
                <a:pos x="80" y="23"/>
              </a:cxn>
              <a:cxn ang="0">
                <a:pos x="80" y="65"/>
              </a:cxn>
              <a:cxn ang="0">
                <a:pos x="80" y="67"/>
              </a:cxn>
              <a:cxn ang="0">
                <a:pos x="71" y="71"/>
              </a:cxn>
              <a:cxn ang="0">
                <a:pos x="64" y="75"/>
              </a:cxn>
              <a:cxn ang="0">
                <a:pos x="63" y="77"/>
              </a:cxn>
              <a:cxn ang="0">
                <a:pos x="0" y="102"/>
              </a:cxn>
              <a:cxn ang="0">
                <a:pos x="0" y="110"/>
              </a:cxn>
              <a:cxn ang="0">
                <a:pos x="9" y="121"/>
              </a:cxn>
              <a:cxn ang="0">
                <a:pos x="10" y="122"/>
              </a:cxn>
              <a:cxn ang="0">
                <a:pos x="10" y="132"/>
              </a:cxn>
              <a:cxn ang="0">
                <a:pos x="10" y="142"/>
              </a:cxn>
              <a:cxn ang="0">
                <a:pos x="13" y="147"/>
              </a:cxn>
              <a:cxn ang="0">
                <a:pos x="16" y="155"/>
              </a:cxn>
              <a:cxn ang="0">
                <a:pos x="12" y="172"/>
              </a:cxn>
              <a:cxn ang="0">
                <a:pos x="7" y="178"/>
              </a:cxn>
              <a:cxn ang="0">
                <a:pos x="5" y="192"/>
              </a:cxn>
              <a:cxn ang="0">
                <a:pos x="6" y="192"/>
              </a:cxn>
              <a:cxn ang="0">
                <a:pos x="9" y="189"/>
              </a:cxn>
              <a:cxn ang="0">
                <a:pos x="12" y="185"/>
              </a:cxn>
              <a:cxn ang="0">
                <a:pos x="15" y="184"/>
              </a:cxn>
            </a:cxnLst>
            <a:rect l="0" t="0" r="r" b="b"/>
            <a:pathLst>
              <a:path w="194" h="213">
                <a:moveTo>
                  <a:pt x="15" y="184"/>
                </a:moveTo>
                <a:lnTo>
                  <a:pt x="15" y="184"/>
                </a:lnTo>
                <a:lnTo>
                  <a:pt x="24" y="184"/>
                </a:lnTo>
                <a:lnTo>
                  <a:pt x="29" y="184"/>
                </a:lnTo>
                <a:lnTo>
                  <a:pt x="29" y="184"/>
                </a:lnTo>
                <a:lnTo>
                  <a:pt x="34" y="182"/>
                </a:lnTo>
                <a:lnTo>
                  <a:pt x="39" y="182"/>
                </a:lnTo>
                <a:lnTo>
                  <a:pt x="42" y="182"/>
                </a:lnTo>
                <a:lnTo>
                  <a:pt x="42" y="182"/>
                </a:lnTo>
                <a:lnTo>
                  <a:pt x="49" y="188"/>
                </a:lnTo>
                <a:lnTo>
                  <a:pt x="52" y="191"/>
                </a:lnTo>
                <a:lnTo>
                  <a:pt x="57" y="191"/>
                </a:lnTo>
                <a:lnTo>
                  <a:pt x="57" y="191"/>
                </a:lnTo>
                <a:lnTo>
                  <a:pt x="60" y="198"/>
                </a:lnTo>
                <a:lnTo>
                  <a:pt x="63" y="202"/>
                </a:lnTo>
                <a:lnTo>
                  <a:pt x="67" y="205"/>
                </a:lnTo>
                <a:lnTo>
                  <a:pt x="67" y="205"/>
                </a:lnTo>
                <a:lnTo>
                  <a:pt x="73" y="209"/>
                </a:lnTo>
                <a:lnTo>
                  <a:pt x="76" y="213"/>
                </a:lnTo>
                <a:lnTo>
                  <a:pt x="76" y="213"/>
                </a:lnTo>
                <a:lnTo>
                  <a:pt x="81" y="212"/>
                </a:lnTo>
                <a:lnTo>
                  <a:pt x="83" y="211"/>
                </a:lnTo>
                <a:lnTo>
                  <a:pt x="84" y="208"/>
                </a:lnTo>
                <a:lnTo>
                  <a:pt x="84" y="208"/>
                </a:lnTo>
                <a:lnTo>
                  <a:pt x="84" y="205"/>
                </a:lnTo>
                <a:lnTo>
                  <a:pt x="86" y="202"/>
                </a:lnTo>
                <a:lnTo>
                  <a:pt x="88" y="201"/>
                </a:lnTo>
                <a:lnTo>
                  <a:pt x="93" y="203"/>
                </a:lnTo>
                <a:lnTo>
                  <a:pt x="93" y="203"/>
                </a:lnTo>
                <a:lnTo>
                  <a:pt x="97" y="206"/>
                </a:lnTo>
                <a:lnTo>
                  <a:pt x="100" y="206"/>
                </a:lnTo>
                <a:lnTo>
                  <a:pt x="101" y="202"/>
                </a:lnTo>
                <a:lnTo>
                  <a:pt x="101" y="202"/>
                </a:lnTo>
                <a:lnTo>
                  <a:pt x="104" y="202"/>
                </a:lnTo>
                <a:lnTo>
                  <a:pt x="106" y="202"/>
                </a:lnTo>
                <a:lnTo>
                  <a:pt x="113" y="203"/>
                </a:lnTo>
                <a:lnTo>
                  <a:pt x="113" y="203"/>
                </a:lnTo>
                <a:lnTo>
                  <a:pt x="120" y="202"/>
                </a:lnTo>
                <a:lnTo>
                  <a:pt x="123" y="201"/>
                </a:lnTo>
                <a:lnTo>
                  <a:pt x="123" y="201"/>
                </a:lnTo>
                <a:lnTo>
                  <a:pt x="153" y="201"/>
                </a:lnTo>
                <a:lnTo>
                  <a:pt x="174" y="201"/>
                </a:lnTo>
                <a:lnTo>
                  <a:pt x="185" y="199"/>
                </a:lnTo>
                <a:lnTo>
                  <a:pt x="185" y="199"/>
                </a:lnTo>
                <a:lnTo>
                  <a:pt x="187" y="196"/>
                </a:lnTo>
                <a:lnTo>
                  <a:pt x="188" y="192"/>
                </a:lnTo>
                <a:lnTo>
                  <a:pt x="188" y="186"/>
                </a:lnTo>
                <a:lnTo>
                  <a:pt x="182" y="181"/>
                </a:lnTo>
                <a:lnTo>
                  <a:pt x="167" y="40"/>
                </a:lnTo>
                <a:lnTo>
                  <a:pt x="194" y="40"/>
                </a:lnTo>
                <a:lnTo>
                  <a:pt x="194" y="40"/>
                </a:lnTo>
                <a:lnTo>
                  <a:pt x="138" y="3"/>
                </a:lnTo>
                <a:lnTo>
                  <a:pt x="138" y="3"/>
                </a:lnTo>
                <a:lnTo>
                  <a:pt x="134" y="0"/>
                </a:lnTo>
                <a:lnTo>
                  <a:pt x="134" y="0"/>
                </a:lnTo>
                <a:lnTo>
                  <a:pt x="135" y="14"/>
                </a:lnTo>
                <a:lnTo>
                  <a:pt x="134" y="23"/>
                </a:lnTo>
                <a:lnTo>
                  <a:pt x="134" y="23"/>
                </a:lnTo>
                <a:lnTo>
                  <a:pt x="107" y="23"/>
                </a:lnTo>
                <a:lnTo>
                  <a:pt x="80" y="23"/>
                </a:lnTo>
                <a:lnTo>
                  <a:pt x="80" y="23"/>
                </a:lnTo>
                <a:lnTo>
                  <a:pt x="80" y="65"/>
                </a:lnTo>
                <a:lnTo>
                  <a:pt x="80" y="65"/>
                </a:lnTo>
                <a:lnTo>
                  <a:pt x="80" y="67"/>
                </a:lnTo>
                <a:lnTo>
                  <a:pt x="77" y="68"/>
                </a:lnTo>
                <a:lnTo>
                  <a:pt x="71" y="71"/>
                </a:lnTo>
                <a:lnTo>
                  <a:pt x="66" y="74"/>
                </a:lnTo>
                <a:lnTo>
                  <a:pt x="64" y="75"/>
                </a:lnTo>
                <a:lnTo>
                  <a:pt x="63" y="77"/>
                </a:lnTo>
                <a:lnTo>
                  <a:pt x="63" y="77"/>
                </a:lnTo>
                <a:lnTo>
                  <a:pt x="63" y="102"/>
                </a:lnTo>
                <a:lnTo>
                  <a:pt x="0" y="102"/>
                </a:lnTo>
                <a:lnTo>
                  <a:pt x="0" y="102"/>
                </a:lnTo>
                <a:lnTo>
                  <a:pt x="0" y="110"/>
                </a:lnTo>
                <a:lnTo>
                  <a:pt x="3" y="114"/>
                </a:lnTo>
                <a:lnTo>
                  <a:pt x="9" y="121"/>
                </a:lnTo>
                <a:lnTo>
                  <a:pt x="9" y="121"/>
                </a:lnTo>
                <a:lnTo>
                  <a:pt x="10" y="122"/>
                </a:lnTo>
                <a:lnTo>
                  <a:pt x="10" y="125"/>
                </a:lnTo>
                <a:lnTo>
                  <a:pt x="10" y="132"/>
                </a:lnTo>
                <a:lnTo>
                  <a:pt x="10" y="139"/>
                </a:lnTo>
                <a:lnTo>
                  <a:pt x="10" y="142"/>
                </a:lnTo>
                <a:lnTo>
                  <a:pt x="13" y="147"/>
                </a:lnTo>
                <a:lnTo>
                  <a:pt x="13" y="147"/>
                </a:lnTo>
                <a:lnTo>
                  <a:pt x="15" y="151"/>
                </a:lnTo>
                <a:lnTo>
                  <a:pt x="16" y="155"/>
                </a:lnTo>
                <a:lnTo>
                  <a:pt x="15" y="164"/>
                </a:lnTo>
                <a:lnTo>
                  <a:pt x="12" y="172"/>
                </a:lnTo>
                <a:lnTo>
                  <a:pt x="7" y="178"/>
                </a:lnTo>
                <a:lnTo>
                  <a:pt x="7" y="178"/>
                </a:lnTo>
                <a:lnTo>
                  <a:pt x="6" y="184"/>
                </a:lnTo>
                <a:lnTo>
                  <a:pt x="5" y="192"/>
                </a:lnTo>
                <a:lnTo>
                  <a:pt x="5" y="192"/>
                </a:lnTo>
                <a:lnTo>
                  <a:pt x="6" y="192"/>
                </a:lnTo>
                <a:lnTo>
                  <a:pt x="6" y="192"/>
                </a:lnTo>
                <a:lnTo>
                  <a:pt x="9" y="189"/>
                </a:lnTo>
                <a:lnTo>
                  <a:pt x="10" y="186"/>
                </a:lnTo>
                <a:lnTo>
                  <a:pt x="12" y="185"/>
                </a:lnTo>
                <a:lnTo>
                  <a:pt x="15" y="184"/>
                </a:lnTo>
                <a:lnTo>
                  <a:pt x="15" y="18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32" name="Freeform 219">
            <a:extLst>
              <a:ext uri="{FF2B5EF4-FFF2-40B4-BE49-F238E27FC236}">
                <a16:creationId xmlns:a16="http://schemas.microsoft.com/office/drawing/2014/main" id="{C0305799-CF37-AA50-6395-CD1A60F2B1AC}"/>
              </a:ext>
            </a:extLst>
          </p:cNvPr>
          <p:cNvSpPr>
            <a:spLocks/>
          </p:cNvSpPr>
          <p:nvPr userDrawn="1"/>
        </p:nvSpPr>
        <p:spPr bwMode="gray">
          <a:xfrm>
            <a:off x="4096013" y="2811441"/>
            <a:ext cx="347236" cy="323827"/>
          </a:xfrm>
          <a:custGeom>
            <a:avLst/>
            <a:gdLst/>
            <a:ahLst/>
            <a:cxnLst>
              <a:cxn ang="0">
                <a:pos x="250" y="91"/>
              </a:cxn>
              <a:cxn ang="0">
                <a:pos x="239" y="84"/>
              </a:cxn>
              <a:cxn ang="0">
                <a:pos x="224" y="75"/>
              </a:cxn>
              <a:cxn ang="0">
                <a:pos x="118" y="0"/>
              </a:cxn>
              <a:cxn ang="0">
                <a:pos x="112" y="146"/>
              </a:cxn>
              <a:cxn ang="0">
                <a:pos x="109" y="159"/>
              </a:cxn>
              <a:cxn ang="0">
                <a:pos x="47" y="161"/>
              </a:cxn>
              <a:cxn ang="0">
                <a:pos x="30" y="162"/>
              </a:cxn>
              <a:cxn ang="0">
                <a:pos x="24" y="166"/>
              </a:cxn>
              <a:cxn ang="0">
                <a:pos x="12" y="161"/>
              </a:cxn>
              <a:cxn ang="0">
                <a:pos x="8" y="168"/>
              </a:cxn>
              <a:cxn ang="0">
                <a:pos x="0" y="173"/>
              </a:cxn>
              <a:cxn ang="0">
                <a:pos x="4" y="185"/>
              </a:cxn>
              <a:cxn ang="0">
                <a:pos x="11" y="196"/>
              </a:cxn>
              <a:cxn ang="0">
                <a:pos x="15" y="215"/>
              </a:cxn>
              <a:cxn ang="0">
                <a:pos x="20" y="219"/>
              </a:cxn>
              <a:cxn ang="0">
                <a:pos x="28" y="217"/>
              </a:cxn>
              <a:cxn ang="0">
                <a:pos x="34" y="216"/>
              </a:cxn>
              <a:cxn ang="0">
                <a:pos x="45" y="213"/>
              </a:cxn>
              <a:cxn ang="0">
                <a:pos x="52" y="212"/>
              </a:cxn>
              <a:cxn ang="0">
                <a:pos x="58" y="225"/>
              </a:cxn>
              <a:cxn ang="0">
                <a:pos x="62" y="229"/>
              </a:cxn>
              <a:cxn ang="0">
                <a:pos x="61" y="235"/>
              </a:cxn>
              <a:cxn ang="0">
                <a:pos x="65" y="239"/>
              </a:cxn>
              <a:cxn ang="0">
                <a:pos x="68" y="246"/>
              </a:cxn>
              <a:cxn ang="0">
                <a:pos x="74" y="245"/>
              </a:cxn>
              <a:cxn ang="0">
                <a:pos x="82" y="247"/>
              </a:cxn>
              <a:cxn ang="0">
                <a:pos x="91" y="243"/>
              </a:cxn>
              <a:cxn ang="0">
                <a:pos x="98" y="240"/>
              </a:cxn>
              <a:cxn ang="0">
                <a:pos x="99" y="246"/>
              </a:cxn>
              <a:cxn ang="0">
                <a:pos x="106" y="243"/>
              </a:cxn>
              <a:cxn ang="0">
                <a:pos x="113" y="230"/>
              </a:cxn>
              <a:cxn ang="0">
                <a:pos x="113" y="220"/>
              </a:cxn>
              <a:cxn ang="0">
                <a:pos x="126" y="215"/>
              </a:cxn>
              <a:cxn ang="0">
                <a:pos x="131" y="205"/>
              </a:cxn>
              <a:cxn ang="0">
                <a:pos x="136" y="193"/>
              </a:cxn>
              <a:cxn ang="0">
                <a:pos x="146" y="193"/>
              </a:cxn>
              <a:cxn ang="0">
                <a:pos x="152" y="188"/>
              </a:cxn>
              <a:cxn ang="0">
                <a:pos x="156" y="182"/>
              </a:cxn>
              <a:cxn ang="0">
                <a:pos x="166" y="181"/>
              </a:cxn>
              <a:cxn ang="0">
                <a:pos x="172" y="176"/>
              </a:cxn>
              <a:cxn ang="0">
                <a:pos x="187" y="168"/>
              </a:cxn>
              <a:cxn ang="0">
                <a:pos x="196" y="169"/>
              </a:cxn>
              <a:cxn ang="0">
                <a:pos x="217" y="166"/>
              </a:cxn>
              <a:cxn ang="0">
                <a:pos x="232" y="165"/>
              </a:cxn>
              <a:cxn ang="0">
                <a:pos x="254" y="161"/>
              </a:cxn>
              <a:cxn ang="0">
                <a:pos x="263" y="149"/>
              </a:cxn>
              <a:cxn ang="0">
                <a:pos x="267" y="125"/>
              </a:cxn>
              <a:cxn ang="0">
                <a:pos x="253" y="104"/>
              </a:cxn>
            </a:cxnLst>
            <a:rect l="0" t="0" r="r" b="b"/>
            <a:pathLst>
              <a:path w="267" h="249">
                <a:moveTo>
                  <a:pt x="253" y="104"/>
                </a:moveTo>
                <a:lnTo>
                  <a:pt x="253" y="104"/>
                </a:lnTo>
                <a:lnTo>
                  <a:pt x="253" y="97"/>
                </a:lnTo>
                <a:lnTo>
                  <a:pt x="250" y="91"/>
                </a:lnTo>
                <a:lnTo>
                  <a:pt x="249" y="88"/>
                </a:lnTo>
                <a:lnTo>
                  <a:pt x="246" y="87"/>
                </a:lnTo>
                <a:lnTo>
                  <a:pt x="246" y="87"/>
                </a:lnTo>
                <a:lnTo>
                  <a:pt x="239" y="84"/>
                </a:lnTo>
                <a:lnTo>
                  <a:pt x="233" y="82"/>
                </a:lnTo>
                <a:lnTo>
                  <a:pt x="227" y="81"/>
                </a:lnTo>
                <a:lnTo>
                  <a:pt x="227" y="81"/>
                </a:lnTo>
                <a:lnTo>
                  <a:pt x="224" y="75"/>
                </a:lnTo>
                <a:lnTo>
                  <a:pt x="217" y="67"/>
                </a:lnTo>
                <a:lnTo>
                  <a:pt x="217" y="67"/>
                </a:lnTo>
                <a:lnTo>
                  <a:pt x="183" y="43"/>
                </a:lnTo>
                <a:lnTo>
                  <a:pt x="118" y="0"/>
                </a:lnTo>
                <a:lnTo>
                  <a:pt x="91" y="0"/>
                </a:lnTo>
                <a:lnTo>
                  <a:pt x="106" y="141"/>
                </a:lnTo>
                <a:lnTo>
                  <a:pt x="112" y="146"/>
                </a:lnTo>
                <a:lnTo>
                  <a:pt x="112" y="146"/>
                </a:lnTo>
                <a:lnTo>
                  <a:pt x="112" y="152"/>
                </a:lnTo>
                <a:lnTo>
                  <a:pt x="111" y="156"/>
                </a:lnTo>
                <a:lnTo>
                  <a:pt x="109" y="159"/>
                </a:lnTo>
                <a:lnTo>
                  <a:pt x="109" y="159"/>
                </a:lnTo>
                <a:lnTo>
                  <a:pt x="98" y="161"/>
                </a:lnTo>
                <a:lnTo>
                  <a:pt x="77" y="161"/>
                </a:lnTo>
                <a:lnTo>
                  <a:pt x="47" y="161"/>
                </a:lnTo>
                <a:lnTo>
                  <a:pt x="47" y="161"/>
                </a:lnTo>
                <a:lnTo>
                  <a:pt x="44" y="162"/>
                </a:lnTo>
                <a:lnTo>
                  <a:pt x="37" y="163"/>
                </a:lnTo>
                <a:lnTo>
                  <a:pt x="37" y="163"/>
                </a:lnTo>
                <a:lnTo>
                  <a:pt x="30" y="162"/>
                </a:lnTo>
                <a:lnTo>
                  <a:pt x="28" y="162"/>
                </a:lnTo>
                <a:lnTo>
                  <a:pt x="25" y="162"/>
                </a:lnTo>
                <a:lnTo>
                  <a:pt x="25" y="162"/>
                </a:lnTo>
                <a:lnTo>
                  <a:pt x="24" y="166"/>
                </a:lnTo>
                <a:lnTo>
                  <a:pt x="21" y="166"/>
                </a:lnTo>
                <a:lnTo>
                  <a:pt x="17" y="163"/>
                </a:lnTo>
                <a:lnTo>
                  <a:pt x="17" y="163"/>
                </a:lnTo>
                <a:lnTo>
                  <a:pt x="12" y="161"/>
                </a:lnTo>
                <a:lnTo>
                  <a:pt x="10" y="162"/>
                </a:lnTo>
                <a:lnTo>
                  <a:pt x="8" y="165"/>
                </a:lnTo>
                <a:lnTo>
                  <a:pt x="8" y="168"/>
                </a:lnTo>
                <a:lnTo>
                  <a:pt x="8" y="168"/>
                </a:lnTo>
                <a:lnTo>
                  <a:pt x="7" y="171"/>
                </a:lnTo>
                <a:lnTo>
                  <a:pt x="5" y="172"/>
                </a:lnTo>
                <a:lnTo>
                  <a:pt x="0" y="173"/>
                </a:lnTo>
                <a:lnTo>
                  <a:pt x="0" y="173"/>
                </a:lnTo>
                <a:lnTo>
                  <a:pt x="1" y="176"/>
                </a:lnTo>
                <a:lnTo>
                  <a:pt x="4" y="181"/>
                </a:lnTo>
                <a:lnTo>
                  <a:pt x="4" y="181"/>
                </a:lnTo>
                <a:lnTo>
                  <a:pt x="4" y="185"/>
                </a:lnTo>
                <a:lnTo>
                  <a:pt x="4" y="188"/>
                </a:lnTo>
                <a:lnTo>
                  <a:pt x="7" y="190"/>
                </a:lnTo>
                <a:lnTo>
                  <a:pt x="7" y="190"/>
                </a:lnTo>
                <a:lnTo>
                  <a:pt x="11" y="196"/>
                </a:lnTo>
                <a:lnTo>
                  <a:pt x="15" y="202"/>
                </a:lnTo>
                <a:lnTo>
                  <a:pt x="15" y="202"/>
                </a:lnTo>
                <a:lnTo>
                  <a:pt x="15" y="215"/>
                </a:lnTo>
                <a:lnTo>
                  <a:pt x="15" y="215"/>
                </a:lnTo>
                <a:lnTo>
                  <a:pt x="15" y="217"/>
                </a:lnTo>
                <a:lnTo>
                  <a:pt x="17" y="219"/>
                </a:lnTo>
                <a:lnTo>
                  <a:pt x="20" y="219"/>
                </a:lnTo>
                <a:lnTo>
                  <a:pt x="20" y="219"/>
                </a:lnTo>
                <a:lnTo>
                  <a:pt x="21" y="217"/>
                </a:lnTo>
                <a:lnTo>
                  <a:pt x="24" y="217"/>
                </a:lnTo>
                <a:lnTo>
                  <a:pt x="27" y="219"/>
                </a:lnTo>
                <a:lnTo>
                  <a:pt x="28" y="217"/>
                </a:lnTo>
                <a:lnTo>
                  <a:pt x="28" y="217"/>
                </a:lnTo>
                <a:lnTo>
                  <a:pt x="30" y="216"/>
                </a:lnTo>
                <a:lnTo>
                  <a:pt x="31" y="215"/>
                </a:lnTo>
                <a:lnTo>
                  <a:pt x="34" y="216"/>
                </a:lnTo>
                <a:lnTo>
                  <a:pt x="40" y="217"/>
                </a:lnTo>
                <a:lnTo>
                  <a:pt x="40" y="217"/>
                </a:lnTo>
                <a:lnTo>
                  <a:pt x="42" y="216"/>
                </a:lnTo>
                <a:lnTo>
                  <a:pt x="45" y="213"/>
                </a:lnTo>
                <a:lnTo>
                  <a:pt x="48" y="210"/>
                </a:lnTo>
                <a:lnTo>
                  <a:pt x="51" y="210"/>
                </a:lnTo>
                <a:lnTo>
                  <a:pt x="51" y="210"/>
                </a:lnTo>
                <a:lnTo>
                  <a:pt x="52" y="212"/>
                </a:lnTo>
                <a:lnTo>
                  <a:pt x="55" y="215"/>
                </a:lnTo>
                <a:lnTo>
                  <a:pt x="57" y="222"/>
                </a:lnTo>
                <a:lnTo>
                  <a:pt x="57" y="222"/>
                </a:lnTo>
                <a:lnTo>
                  <a:pt x="58" y="225"/>
                </a:lnTo>
                <a:lnTo>
                  <a:pt x="61" y="226"/>
                </a:lnTo>
                <a:lnTo>
                  <a:pt x="62" y="227"/>
                </a:lnTo>
                <a:lnTo>
                  <a:pt x="64" y="229"/>
                </a:lnTo>
                <a:lnTo>
                  <a:pt x="62" y="229"/>
                </a:lnTo>
                <a:lnTo>
                  <a:pt x="62" y="229"/>
                </a:lnTo>
                <a:lnTo>
                  <a:pt x="61" y="230"/>
                </a:lnTo>
                <a:lnTo>
                  <a:pt x="61" y="232"/>
                </a:lnTo>
                <a:lnTo>
                  <a:pt x="61" y="235"/>
                </a:lnTo>
                <a:lnTo>
                  <a:pt x="62" y="235"/>
                </a:lnTo>
                <a:lnTo>
                  <a:pt x="62" y="235"/>
                </a:lnTo>
                <a:lnTo>
                  <a:pt x="64" y="236"/>
                </a:lnTo>
                <a:lnTo>
                  <a:pt x="65" y="239"/>
                </a:lnTo>
                <a:lnTo>
                  <a:pt x="65" y="242"/>
                </a:lnTo>
                <a:lnTo>
                  <a:pt x="67" y="245"/>
                </a:lnTo>
                <a:lnTo>
                  <a:pt x="67" y="245"/>
                </a:lnTo>
                <a:lnTo>
                  <a:pt x="68" y="246"/>
                </a:lnTo>
                <a:lnTo>
                  <a:pt x="71" y="247"/>
                </a:lnTo>
                <a:lnTo>
                  <a:pt x="72" y="247"/>
                </a:lnTo>
                <a:lnTo>
                  <a:pt x="74" y="245"/>
                </a:lnTo>
                <a:lnTo>
                  <a:pt x="74" y="245"/>
                </a:lnTo>
                <a:lnTo>
                  <a:pt x="75" y="243"/>
                </a:lnTo>
                <a:lnTo>
                  <a:pt x="78" y="243"/>
                </a:lnTo>
                <a:lnTo>
                  <a:pt x="82" y="247"/>
                </a:lnTo>
                <a:lnTo>
                  <a:pt x="82" y="247"/>
                </a:lnTo>
                <a:lnTo>
                  <a:pt x="84" y="249"/>
                </a:lnTo>
                <a:lnTo>
                  <a:pt x="86" y="247"/>
                </a:lnTo>
                <a:lnTo>
                  <a:pt x="89" y="246"/>
                </a:lnTo>
                <a:lnTo>
                  <a:pt x="91" y="243"/>
                </a:lnTo>
                <a:lnTo>
                  <a:pt x="91" y="243"/>
                </a:lnTo>
                <a:lnTo>
                  <a:pt x="92" y="240"/>
                </a:lnTo>
                <a:lnTo>
                  <a:pt x="95" y="239"/>
                </a:lnTo>
                <a:lnTo>
                  <a:pt x="98" y="240"/>
                </a:lnTo>
                <a:lnTo>
                  <a:pt x="99" y="242"/>
                </a:lnTo>
                <a:lnTo>
                  <a:pt x="99" y="242"/>
                </a:lnTo>
                <a:lnTo>
                  <a:pt x="99" y="245"/>
                </a:lnTo>
                <a:lnTo>
                  <a:pt x="99" y="246"/>
                </a:lnTo>
                <a:lnTo>
                  <a:pt x="102" y="246"/>
                </a:lnTo>
                <a:lnTo>
                  <a:pt x="105" y="245"/>
                </a:lnTo>
                <a:lnTo>
                  <a:pt x="105" y="245"/>
                </a:lnTo>
                <a:lnTo>
                  <a:pt x="106" y="243"/>
                </a:lnTo>
                <a:lnTo>
                  <a:pt x="109" y="243"/>
                </a:lnTo>
                <a:lnTo>
                  <a:pt x="109" y="243"/>
                </a:lnTo>
                <a:lnTo>
                  <a:pt x="113" y="230"/>
                </a:lnTo>
                <a:lnTo>
                  <a:pt x="113" y="230"/>
                </a:lnTo>
                <a:lnTo>
                  <a:pt x="113" y="227"/>
                </a:lnTo>
                <a:lnTo>
                  <a:pt x="113" y="225"/>
                </a:lnTo>
                <a:lnTo>
                  <a:pt x="112" y="222"/>
                </a:lnTo>
                <a:lnTo>
                  <a:pt x="113" y="220"/>
                </a:lnTo>
                <a:lnTo>
                  <a:pt x="113" y="220"/>
                </a:lnTo>
                <a:lnTo>
                  <a:pt x="119" y="219"/>
                </a:lnTo>
                <a:lnTo>
                  <a:pt x="123" y="217"/>
                </a:lnTo>
                <a:lnTo>
                  <a:pt x="126" y="215"/>
                </a:lnTo>
                <a:lnTo>
                  <a:pt x="126" y="215"/>
                </a:lnTo>
                <a:lnTo>
                  <a:pt x="129" y="208"/>
                </a:lnTo>
                <a:lnTo>
                  <a:pt x="131" y="205"/>
                </a:lnTo>
                <a:lnTo>
                  <a:pt x="131" y="205"/>
                </a:lnTo>
                <a:lnTo>
                  <a:pt x="132" y="198"/>
                </a:lnTo>
                <a:lnTo>
                  <a:pt x="133" y="193"/>
                </a:lnTo>
                <a:lnTo>
                  <a:pt x="135" y="192"/>
                </a:lnTo>
                <a:lnTo>
                  <a:pt x="136" y="193"/>
                </a:lnTo>
                <a:lnTo>
                  <a:pt x="136" y="193"/>
                </a:lnTo>
                <a:lnTo>
                  <a:pt x="142" y="196"/>
                </a:lnTo>
                <a:lnTo>
                  <a:pt x="145" y="196"/>
                </a:lnTo>
                <a:lnTo>
                  <a:pt x="146" y="193"/>
                </a:lnTo>
                <a:lnTo>
                  <a:pt x="146" y="193"/>
                </a:lnTo>
                <a:lnTo>
                  <a:pt x="148" y="190"/>
                </a:lnTo>
                <a:lnTo>
                  <a:pt x="149" y="189"/>
                </a:lnTo>
                <a:lnTo>
                  <a:pt x="152" y="188"/>
                </a:lnTo>
                <a:lnTo>
                  <a:pt x="153" y="186"/>
                </a:lnTo>
                <a:lnTo>
                  <a:pt x="153" y="186"/>
                </a:lnTo>
                <a:lnTo>
                  <a:pt x="155" y="183"/>
                </a:lnTo>
                <a:lnTo>
                  <a:pt x="156" y="182"/>
                </a:lnTo>
                <a:lnTo>
                  <a:pt x="160" y="182"/>
                </a:lnTo>
                <a:lnTo>
                  <a:pt x="160" y="182"/>
                </a:lnTo>
                <a:lnTo>
                  <a:pt x="165" y="182"/>
                </a:lnTo>
                <a:lnTo>
                  <a:pt x="166" y="181"/>
                </a:lnTo>
                <a:lnTo>
                  <a:pt x="168" y="179"/>
                </a:lnTo>
                <a:lnTo>
                  <a:pt x="168" y="179"/>
                </a:lnTo>
                <a:lnTo>
                  <a:pt x="168" y="178"/>
                </a:lnTo>
                <a:lnTo>
                  <a:pt x="172" y="176"/>
                </a:lnTo>
                <a:lnTo>
                  <a:pt x="176" y="175"/>
                </a:lnTo>
                <a:lnTo>
                  <a:pt x="180" y="173"/>
                </a:lnTo>
                <a:lnTo>
                  <a:pt x="180" y="173"/>
                </a:lnTo>
                <a:lnTo>
                  <a:pt x="187" y="168"/>
                </a:lnTo>
                <a:lnTo>
                  <a:pt x="190" y="166"/>
                </a:lnTo>
                <a:lnTo>
                  <a:pt x="193" y="168"/>
                </a:lnTo>
                <a:lnTo>
                  <a:pt x="193" y="168"/>
                </a:lnTo>
                <a:lnTo>
                  <a:pt x="196" y="169"/>
                </a:lnTo>
                <a:lnTo>
                  <a:pt x="203" y="169"/>
                </a:lnTo>
                <a:lnTo>
                  <a:pt x="213" y="169"/>
                </a:lnTo>
                <a:lnTo>
                  <a:pt x="213" y="169"/>
                </a:lnTo>
                <a:lnTo>
                  <a:pt x="217" y="166"/>
                </a:lnTo>
                <a:lnTo>
                  <a:pt x="222" y="165"/>
                </a:lnTo>
                <a:lnTo>
                  <a:pt x="226" y="165"/>
                </a:lnTo>
                <a:lnTo>
                  <a:pt x="226" y="165"/>
                </a:lnTo>
                <a:lnTo>
                  <a:pt x="232" y="165"/>
                </a:lnTo>
                <a:lnTo>
                  <a:pt x="239" y="163"/>
                </a:lnTo>
                <a:lnTo>
                  <a:pt x="251" y="162"/>
                </a:lnTo>
                <a:lnTo>
                  <a:pt x="251" y="162"/>
                </a:lnTo>
                <a:lnTo>
                  <a:pt x="254" y="161"/>
                </a:lnTo>
                <a:lnTo>
                  <a:pt x="257" y="159"/>
                </a:lnTo>
                <a:lnTo>
                  <a:pt x="261" y="155"/>
                </a:lnTo>
                <a:lnTo>
                  <a:pt x="261" y="155"/>
                </a:lnTo>
                <a:lnTo>
                  <a:pt x="263" y="149"/>
                </a:lnTo>
                <a:lnTo>
                  <a:pt x="266" y="144"/>
                </a:lnTo>
                <a:lnTo>
                  <a:pt x="266" y="144"/>
                </a:lnTo>
                <a:lnTo>
                  <a:pt x="267" y="138"/>
                </a:lnTo>
                <a:lnTo>
                  <a:pt x="267" y="125"/>
                </a:lnTo>
                <a:lnTo>
                  <a:pt x="267" y="101"/>
                </a:lnTo>
                <a:lnTo>
                  <a:pt x="267" y="101"/>
                </a:lnTo>
                <a:lnTo>
                  <a:pt x="253" y="104"/>
                </a:lnTo>
                <a:lnTo>
                  <a:pt x="253" y="10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33" name="Freeform 220">
            <a:extLst>
              <a:ext uri="{FF2B5EF4-FFF2-40B4-BE49-F238E27FC236}">
                <a16:creationId xmlns:a16="http://schemas.microsoft.com/office/drawing/2014/main" id="{325947D7-273C-12DD-C539-3ACD9179B2C8}"/>
              </a:ext>
            </a:extLst>
          </p:cNvPr>
          <p:cNvSpPr>
            <a:spLocks/>
          </p:cNvSpPr>
          <p:nvPr userDrawn="1"/>
        </p:nvSpPr>
        <p:spPr bwMode="gray">
          <a:xfrm>
            <a:off x="4237769" y="3027325"/>
            <a:ext cx="170367" cy="117046"/>
          </a:xfrm>
          <a:custGeom>
            <a:avLst/>
            <a:gdLst/>
            <a:ahLst/>
            <a:cxnLst>
              <a:cxn ang="0">
                <a:pos x="127" y="50"/>
              </a:cxn>
              <a:cxn ang="0">
                <a:pos x="124" y="49"/>
              </a:cxn>
              <a:cxn ang="0">
                <a:pos x="124" y="40"/>
              </a:cxn>
              <a:cxn ang="0">
                <a:pos x="118" y="42"/>
              </a:cxn>
              <a:cxn ang="0">
                <a:pos x="114" y="40"/>
              </a:cxn>
              <a:cxn ang="0">
                <a:pos x="110" y="36"/>
              </a:cxn>
              <a:cxn ang="0">
                <a:pos x="107" y="34"/>
              </a:cxn>
              <a:cxn ang="0">
                <a:pos x="105" y="27"/>
              </a:cxn>
              <a:cxn ang="0">
                <a:pos x="98" y="22"/>
              </a:cxn>
              <a:cxn ang="0">
                <a:pos x="94" y="12"/>
              </a:cxn>
              <a:cxn ang="0">
                <a:pos x="94" y="3"/>
              </a:cxn>
              <a:cxn ang="0">
                <a:pos x="84" y="2"/>
              </a:cxn>
              <a:cxn ang="0">
                <a:pos x="78" y="2"/>
              </a:cxn>
              <a:cxn ang="0">
                <a:pos x="67" y="9"/>
              </a:cxn>
              <a:cxn ang="0">
                <a:pos x="59" y="13"/>
              </a:cxn>
              <a:cxn ang="0">
                <a:pos x="56" y="16"/>
              </a:cxn>
              <a:cxn ang="0">
                <a:pos x="47" y="16"/>
              </a:cxn>
              <a:cxn ang="0">
                <a:pos x="44" y="20"/>
              </a:cxn>
              <a:cxn ang="0">
                <a:pos x="39" y="24"/>
              </a:cxn>
              <a:cxn ang="0">
                <a:pos x="36" y="30"/>
              </a:cxn>
              <a:cxn ang="0">
                <a:pos x="27" y="27"/>
              </a:cxn>
              <a:cxn ang="0">
                <a:pos x="23" y="32"/>
              </a:cxn>
              <a:cxn ang="0">
                <a:pos x="20" y="42"/>
              </a:cxn>
              <a:cxn ang="0">
                <a:pos x="14" y="51"/>
              </a:cxn>
              <a:cxn ang="0">
                <a:pos x="4" y="54"/>
              </a:cxn>
              <a:cxn ang="0">
                <a:pos x="4" y="61"/>
              </a:cxn>
              <a:cxn ang="0">
                <a:pos x="0" y="77"/>
              </a:cxn>
              <a:cxn ang="0">
                <a:pos x="9" y="83"/>
              </a:cxn>
              <a:cxn ang="0">
                <a:pos x="14" y="88"/>
              </a:cxn>
              <a:cxn ang="0">
                <a:pos x="23" y="88"/>
              </a:cxn>
              <a:cxn ang="0">
                <a:pos x="33" y="84"/>
              </a:cxn>
              <a:cxn ang="0">
                <a:pos x="41" y="87"/>
              </a:cxn>
              <a:cxn ang="0">
                <a:pos x="46" y="87"/>
              </a:cxn>
              <a:cxn ang="0">
                <a:pos x="44" y="77"/>
              </a:cxn>
              <a:cxn ang="0">
                <a:pos x="44" y="69"/>
              </a:cxn>
              <a:cxn ang="0">
                <a:pos x="64" y="67"/>
              </a:cxn>
              <a:cxn ang="0">
                <a:pos x="84" y="70"/>
              </a:cxn>
              <a:cxn ang="0">
                <a:pos x="87" y="66"/>
              </a:cxn>
              <a:cxn ang="0">
                <a:pos x="98" y="67"/>
              </a:cxn>
              <a:cxn ang="0">
                <a:pos x="110" y="64"/>
              </a:cxn>
              <a:cxn ang="0">
                <a:pos x="114" y="61"/>
              </a:cxn>
              <a:cxn ang="0">
                <a:pos x="127" y="59"/>
              </a:cxn>
              <a:cxn ang="0">
                <a:pos x="131" y="54"/>
              </a:cxn>
              <a:cxn ang="0">
                <a:pos x="131" y="51"/>
              </a:cxn>
            </a:cxnLst>
            <a:rect l="0" t="0" r="r" b="b"/>
            <a:pathLst>
              <a:path w="131" h="90">
                <a:moveTo>
                  <a:pt x="131" y="51"/>
                </a:moveTo>
                <a:lnTo>
                  <a:pt x="131" y="51"/>
                </a:lnTo>
                <a:lnTo>
                  <a:pt x="127" y="50"/>
                </a:lnTo>
                <a:lnTo>
                  <a:pt x="125" y="49"/>
                </a:lnTo>
                <a:lnTo>
                  <a:pt x="125" y="49"/>
                </a:lnTo>
                <a:lnTo>
                  <a:pt x="124" y="49"/>
                </a:lnTo>
                <a:lnTo>
                  <a:pt x="124" y="46"/>
                </a:lnTo>
                <a:lnTo>
                  <a:pt x="124" y="40"/>
                </a:lnTo>
                <a:lnTo>
                  <a:pt x="124" y="40"/>
                </a:lnTo>
                <a:lnTo>
                  <a:pt x="123" y="40"/>
                </a:lnTo>
                <a:lnTo>
                  <a:pt x="121" y="42"/>
                </a:lnTo>
                <a:lnTo>
                  <a:pt x="118" y="42"/>
                </a:lnTo>
                <a:lnTo>
                  <a:pt x="115" y="42"/>
                </a:lnTo>
                <a:lnTo>
                  <a:pt x="115" y="42"/>
                </a:lnTo>
                <a:lnTo>
                  <a:pt x="114" y="40"/>
                </a:lnTo>
                <a:lnTo>
                  <a:pt x="113" y="39"/>
                </a:lnTo>
                <a:lnTo>
                  <a:pt x="111" y="36"/>
                </a:lnTo>
                <a:lnTo>
                  <a:pt x="110" y="36"/>
                </a:lnTo>
                <a:lnTo>
                  <a:pt x="110" y="36"/>
                </a:lnTo>
                <a:lnTo>
                  <a:pt x="108" y="36"/>
                </a:lnTo>
                <a:lnTo>
                  <a:pt x="107" y="34"/>
                </a:lnTo>
                <a:lnTo>
                  <a:pt x="107" y="30"/>
                </a:lnTo>
                <a:lnTo>
                  <a:pt x="107" y="30"/>
                </a:lnTo>
                <a:lnTo>
                  <a:pt x="105" y="27"/>
                </a:lnTo>
                <a:lnTo>
                  <a:pt x="104" y="24"/>
                </a:lnTo>
                <a:lnTo>
                  <a:pt x="98" y="22"/>
                </a:lnTo>
                <a:lnTo>
                  <a:pt x="98" y="22"/>
                </a:lnTo>
                <a:lnTo>
                  <a:pt x="97" y="19"/>
                </a:lnTo>
                <a:lnTo>
                  <a:pt x="96" y="16"/>
                </a:lnTo>
                <a:lnTo>
                  <a:pt x="94" y="12"/>
                </a:lnTo>
                <a:lnTo>
                  <a:pt x="94" y="12"/>
                </a:lnTo>
                <a:lnTo>
                  <a:pt x="93" y="9"/>
                </a:lnTo>
                <a:lnTo>
                  <a:pt x="94" y="3"/>
                </a:lnTo>
                <a:lnTo>
                  <a:pt x="94" y="3"/>
                </a:lnTo>
                <a:lnTo>
                  <a:pt x="87" y="3"/>
                </a:lnTo>
                <a:lnTo>
                  <a:pt x="84" y="2"/>
                </a:lnTo>
                <a:lnTo>
                  <a:pt x="84" y="2"/>
                </a:lnTo>
                <a:lnTo>
                  <a:pt x="81" y="0"/>
                </a:lnTo>
                <a:lnTo>
                  <a:pt x="78" y="2"/>
                </a:lnTo>
                <a:lnTo>
                  <a:pt x="71" y="7"/>
                </a:lnTo>
                <a:lnTo>
                  <a:pt x="71" y="7"/>
                </a:lnTo>
                <a:lnTo>
                  <a:pt x="67" y="9"/>
                </a:lnTo>
                <a:lnTo>
                  <a:pt x="63" y="10"/>
                </a:lnTo>
                <a:lnTo>
                  <a:pt x="59" y="12"/>
                </a:lnTo>
                <a:lnTo>
                  <a:pt x="59" y="13"/>
                </a:lnTo>
                <a:lnTo>
                  <a:pt x="59" y="13"/>
                </a:lnTo>
                <a:lnTo>
                  <a:pt x="57" y="15"/>
                </a:lnTo>
                <a:lnTo>
                  <a:pt x="56" y="16"/>
                </a:lnTo>
                <a:lnTo>
                  <a:pt x="51" y="16"/>
                </a:lnTo>
                <a:lnTo>
                  <a:pt x="51" y="16"/>
                </a:lnTo>
                <a:lnTo>
                  <a:pt x="47" y="16"/>
                </a:lnTo>
                <a:lnTo>
                  <a:pt x="46" y="17"/>
                </a:lnTo>
                <a:lnTo>
                  <a:pt x="44" y="20"/>
                </a:lnTo>
                <a:lnTo>
                  <a:pt x="44" y="20"/>
                </a:lnTo>
                <a:lnTo>
                  <a:pt x="43" y="22"/>
                </a:lnTo>
                <a:lnTo>
                  <a:pt x="40" y="23"/>
                </a:lnTo>
                <a:lnTo>
                  <a:pt x="39" y="24"/>
                </a:lnTo>
                <a:lnTo>
                  <a:pt x="37" y="27"/>
                </a:lnTo>
                <a:lnTo>
                  <a:pt x="37" y="27"/>
                </a:lnTo>
                <a:lnTo>
                  <a:pt x="36" y="30"/>
                </a:lnTo>
                <a:lnTo>
                  <a:pt x="33" y="30"/>
                </a:lnTo>
                <a:lnTo>
                  <a:pt x="27" y="27"/>
                </a:lnTo>
                <a:lnTo>
                  <a:pt x="27" y="27"/>
                </a:lnTo>
                <a:lnTo>
                  <a:pt x="26" y="26"/>
                </a:lnTo>
                <a:lnTo>
                  <a:pt x="24" y="27"/>
                </a:lnTo>
                <a:lnTo>
                  <a:pt x="23" y="32"/>
                </a:lnTo>
                <a:lnTo>
                  <a:pt x="22" y="39"/>
                </a:lnTo>
                <a:lnTo>
                  <a:pt x="22" y="39"/>
                </a:lnTo>
                <a:lnTo>
                  <a:pt x="20" y="42"/>
                </a:lnTo>
                <a:lnTo>
                  <a:pt x="17" y="49"/>
                </a:lnTo>
                <a:lnTo>
                  <a:pt x="17" y="49"/>
                </a:lnTo>
                <a:lnTo>
                  <a:pt x="14" y="51"/>
                </a:lnTo>
                <a:lnTo>
                  <a:pt x="10" y="53"/>
                </a:lnTo>
                <a:lnTo>
                  <a:pt x="4" y="54"/>
                </a:lnTo>
                <a:lnTo>
                  <a:pt x="4" y="54"/>
                </a:lnTo>
                <a:lnTo>
                  <a:pt x="3" y="56"/>
                </a:lnTo>
                <a:lnTo>
                  <a:pt x="4" y="59"/>
                </a:lnTo>
                <a:lnTo>
                  <a:pt x="4" y="61"/>
                </a:lnTo>
                <a:lnTo>
                  <a:pt x="4" y="64"/>
                </a:lnTo>
                <a:lnTo>
                  <a:pt x="4" y="64"/>
                </a:lnTo>
                <a:lnTo>
                  <a:pt x="0" y="77"/>
                </a:lnTo>
                <a:lnTo>
                  <a:pt x="0" y="77"/>
                </a:lnTo>
                <a:lnTo>
                  <a:pt x="4" y="79"/>
                </a:lnTo>
                <a:lnTo>
                  <a:pt x="9" y="83"/>
                </a:lnTo>
                <a:lnTo>
                  <a:pt x="9" y="83"/>
                </a:lnTo>
                <a:lnTo>
                  <a:pt x="10" y="84"/>
                </a:lnTo>
                <a:lnTo>
                  <a:pt x="14" y="88"/>
                </a:lnTo>
                <a:lnTo>
                  <a:pt x="19" y="90"/>
                </a:lnTo>
                <a:lnTo>
                  <a:pt x="20" y="90"/>
                </a:lnTo>
                <a:lnTo>
                  <a:pt x="23" y="88"/>
                </a:lnTo>
                <a:lnTo>
                  <a:pt x="23" y="88"/>
                </a:lnTo>
                <a:lnTo>
                  <a:pt x="27" y="86"/>
                </a:lnTo>
                <a:lnTo>
                  <a:pt x="33" y="84"/>
                </a:lnTo>
                <a:lnTo>
                  <a:pt x="37" y="86"/>
                </a:lnTo>
                <a:lnTo>
                  <a:pt x="41" y="87"/>
                </a:lnTo>
                <a:lnTo>
                  <a:pt x="41" y="87"/>
                </a:lnTo>
                <a:lnTo>
                  <a:pt x="43" y="88"/>
                </a:lnTo>
                <a:lnTo>
                  <a:pt x="44" y="88"/>
                </a:lnTo>
                <a:lnTo>
                  <a:pt x="46" y="87"/>
                </a:lnTo>
                <a:lnTo>
                  <a:pt x="47" y="86"/>
                </a:lnTo>
                <a:lnTo>
                  <a:pt x="47" y="86"/>
                </a:lnTo>
                <a:lnTo>
                  <a:pt x="44" y="77"/>
                </a:lnTo>
                <a:lnTo>
                  <a:pt x="43" y="73"/>
                </a:lnTo>
                <a:lnTo>
                  <a:pt x="44" y="69"/>
                </a:lnTo>
                <a:lnTo>
                  <a:pt x="44" y="69"/>
                </a:lnTo>
                <a:lnTo>
                  <a:pt x="46" y="69"/>
                </a:lnTo>
                <a:lnTo>
                  <a:pt x="50" y="67"/>
                </a:lnTo>
                <a:lnTo>
                  <a:pt x="64" y="67"/>
                </a:lnTo>
                <a:lnTo>
                  <a:pt x="77" y="69"/>
                </a:lnTo>
                <a:lnTo>
                  <a:pt x="84" y="70"/>
                </a:lnTo>
                <a:lnTo>
                  <a:pt x="84" y="70"/>
                </a:lnTo>
                <a:lnTo>
                  <a:pt x="84" y="70"/>
                </a:lnTo>
                <a:lnTo>
                  <a:pt x="86" y="69"/>
                </a:lnTo>
                <a:lnTo>
                  <a:pt x="87" y="66"/>
                </a:lnTo>
                <a:lnTo>
                  <a:pt x="90" y="66"/>
                </a:lnTo>
                <a:lnTo>
                  <a:pt x="90" y="66"/>
                </a:lnTo>
                <a:lnTo>
                  <a:pt x="98" y="67"/>
                </a:lnTo>
                <a:lnTo>
                  <a:pt x="105" y="67"/>
                </a:lnTo>
                <a:lnTo>
                  <a:pt x="105" y="67"/>
                </a:lnTo>
                <a:lnTo>
                  <a:pt x="110" y="64"/>
                </a:lnTo>
                <a:lnTo>
                  <a:pt x="111" y="61"/>
                </a:lnTo>
                <a:lnTo>
                  <a:pt x="114" y="61"/>
                </a:lnTo>
                <a:lnTo>
                  <a:pt x="114" y="61"/>
                </a:lnTo>
                <a:lnTo>
                  <a:pt x="121" y="61"/>
                </a:lnTo>
                <a:lnTo>
                  <a:pt x="124" y="60"/>
                </a:lnTo>
                <a:lnTo>
                  <a:pt x="127" y="59"/>
                </a:lnTo>
                <a:lnTo>
                  <a:pt x="127" y="59"/>
                </a:lnTo>
                <a:lnTo>
                  <a:pt x="130" y="56"/>
                </a:lnTo>
                <a:lnTo>
                  <a:pt x="131" y="54"/>
                </a:lnTo>
                <a:lnTo>
                  <a:pt x="131" y="53"/>
                </a:lnTo>
                <a:lnTo>
                  <a:pt x="131" y="53"/>
                </a:lnTo>
                <a:lnTo>
                  <a:pt x="131" y="51"/>
                </a:lnTo>
                <a:lnTo>
                  <a:pt x="131" y="51"/>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34" name="Freeform 221">
            <a:extLst>
              <a:ext uri="{FF2B5EF4-FFF2-40B4-BE49-F238E27FC236}">
                <a16:creationId xmlns:a16="http://schemas.microsoft.com/office/drawing/2014/main" id="{DE27AB1E-CDB9-A169-577F-8CFD008616D4}"/>
              </a:ext>
            </a:extLst>
          </p:cNvPr>
          <p:cNvSpPr>
            <a:spLocks/>
          </p:cNvSpPr>
          <p:nvPr userDrawn="1"/>
        </p:nvSpPr>
        <p:spPr bwMode="gray">
          <a:xfrm>
            <a:off x="4358716" y="2843953"/>
            <a:ext cx="321226" cy="252299"/>
          </a:xfrm>
          <a:custGeom>
            <a:avLst/>
            <a:gdLst/>
            <a:ahLst/>
            <a:cxnLst>
              <a:cxn ang="0">
                <a:pos x="237" y="8"/>
              </a:cxn>
              <a:cxn ang="0">
                <a:pos x="222" y="12"/>
              </a:cxn>
              <a:cxn ang="0">
                <a:pos x="207" y="2"/>
              </a:cxn>
              <a:cxn ang="0">
                <a:pos x="121" y="43"/>
              </a:cxn>
              <a:cxn ang="0">
                <a:pos x="82" y="70"/>
              </a:cxn>
              <a:cxn ang="0">
                <a:pos x="65" y="76"/>
              </a:cxn>
              <a:cxn ang="0">
                <a:pos x="65" y="113"/>
              </a:cxn>
              <a:cxn ang="0">
                <a:pos x="61" y="124"/>
              </a:cxn>
              <a:cxn ang="0">
                <a:pos x="55" y="134"/>
              </a:cxn>
              <a:cxn ang="0">
                <a:pos x="49" y="137"/>
              </a:cxn>
              <a:cxn ang="0">
                <a:pos x="24" y="140"/>
              </a:cxn>
              <a:cxn ang="0">
                <a:pos x="15" y="141"/>
              </a:cxn>
              <a:cxn ang="0">
                <a:pos x="1" y="144"/>
              </a:cxn>
              <a:cxn ang="0">
                <a:pos x="1" y="153"/>
              </a:cxn>
              <a:cxn ang="0">
                <a:pos x="4" y="160"/>
              </a:cxn>
              <a:cxn ang="0">
                <a:pos x="11" y="165"/>
              </a:cxn>
              <a:cxn ang="0">
                <a:pos x="14" y="171"/>
              </a:cxn>
              <a:cxn ang="0">
                <a:pos x="17" y="177"/>
              </a:cxn>
              <a:cxn ang="0">
                <a:pos x="20" y="180"/>
              </a:cxn>
              <a:cxn ang="0">
                <a:pos x="22" y="183"/>
              </a:cxn>
              <a:cxn ang="0">
                <a:pos x="30" y="181"/>
              </a:cxn>
              <a:cxn ang="0">
                <a:pos x="31" y="187"/>
              </a:cxn>
              <a:cxn ang="0">
                <a:pos x="32" y="190"/>
              </a:cxn>
              <a:cxn ang="0">
                <a:pos x="38" y="192"/>
              </a:cxn>
              <a:cxn ang="0">
                <a:pos x="41" y="185"/>
              </a:cxn>
              <a:cxn ang="0">
                <a:pos x="47" y="187"/>
              </a:cxn>
              <a:cxn ang="0">
                <a:pos x="49" y="194"/>
              </a:cxn>
              <a:cxn ang="0">
                <a:pos x="54" y="194"/>
              </a:cxn>
              <a:cxn ang="0">
                <a:pos x="57" y="191"/>
              </a:cxn>
              <a:cxn ang="0">
                <a:pos x="64" y="180"/>
              </a:cxn>
              <a:cxn ang="0">
                <a:pos x="65" y="170"/>
              </a:cxn>
              <a:cxn ang="0">
                <a:pos x="69" y="165"/>
              </a:cxn>
              <a:cxn ang="0">
                <a:pos x="82" y="167"/>
              </a:cxn>
              <a:cxn ang="0">
                <a:pos x="88" y="163"/>
              </a:cxn>
              <a:cxn ang="0">
                <a:pos x="94" y="164"/>
              </a:cxn>
              <a:cxn ang="0">
                <a:pos x="104" y="167"/>
              </a:cxn>
              <a:cxn ang="0">
                <a:pos x="109" y="175"/>
              </a:cxn>
              <a:cxn ang="0">
                <a:pos x="113" y="175"/>
              </a:cxn>
              <a:cxn ang="0">
                <a:pos x="126" y="171"/>
              </a:cxn>
              <a:cxn ang="0">
                <a:pos x="139" y="178"/>
              </a:cxn>
              <a:cxn ang="0">
                <a:pos x="150" y="180"/>
              </a:cxn>
              <a:cxn ang="0">
                <a:pos x="159" y="174"/>
              </a:cxn>
              <a:cxn ang="0">
                <a:pos x="166" y="171"/>
              </a:cxn>
              <a:cxn ang="0">
                <a:pos x="186" y="171"/>
              </a:cxn>
              <a:cxn ang="0">
                <a:pos x="196" y="174"/>
              </a:cxn>
              <a:cxn ang="0">
                <a:pos x="203" y="173"/>
              </a:cxn>
              <a:cxn ang="0">
                <a:pos x="212" y="164"/>
              </a:cxn>
              <a:cxn ang="0">
                <a:pos x="213" y="164"/>
              </a:cxn>
              <a:cxn ang="0">
                <a:pos x="213" y="154"/>
              </a:cxn>
              <a:cxn ang="0">
                <a:pos x="217" y="146"/>
              </a:cxn>
              <a:cxn ang="0">
                <a:pos x="222" y="137"/>
              </a:cxn>
              <a:cxn ang="0">
                <a:pos x="243" y="113"/>
              </a:cxn>
              <a:cxn ang="0">
                <a:pos x="244" y="73"/>
              </a:cxn>
              <a:cxn ang="0">
                <a:pos x="247" y="56"/>
              </a:cxn>
              <a:cxn ang="0">
                <a:pos x="246" y="49"/>
              </a:cxn>
              <a:cxn ang="0">
                <a:pos x="244" y="43"/>
              </a:cxn>
              <a:cxn ang="0">
                <a:pos x="239" y="32"/>
              </a:cxn>
            </a:cxnLst>
            <a:rect l="0" t="0" r="r" b="b"/>
            <a:pathLst>
              <a:path w="247" h="194">
                <a:moveTo>
                  <a:pt x="237" y="29"/>
                </a:moveTo>
                <a:lnTo>
                  <a:pt x="237" y="29"/>
                </a:lnTo>
                <a:lnTo>
                  <a:pt x="237" y="8"/>
                </a:lnTo>
                <a:lnTo>
                  <a:pt x="224" y="15"/>
                </a:lnTo>
                <a:lnTo>
                  <a:pt x="224" y="15"/>
                </a:lnTo>
                <a:lnTo>
                  <a:pt x="222" y="12"/>
                </a:lnTo>
                <a:lnTo>
                  <a:pt x="213" y="5"/>
                </a:lnTo>
                <a:lnTo>
                  <a:pt x="213" y="5"/>
                </a:lnTo>
                <a:lnTo>
                  <a:pt x="207" y="2"/>
                </a:lnTo>
                <a:lnTo>
                  <a:pt x="199" y="0"/>
                </a:lnTo>
                <a:lnTo>
                  <a:pt x="190" y="0"/>
                </a:lnTo>
                <a:lnTo>
                  <a:pt x="121" y="43"/>
                </a:lnTo>
                <a:lnTo>
                  <a:pt x="92" y="67"/>
                </a:lnTo>
                <a:lnTo>
                  <a:pt x="92" y="67"/>
                </a:lnTo>
                <a:lnTo>
                  <a:pt x="82" y="70"/>
                </a:lnTo>
                <a:lnTo>
                  <a:pt x="67" y="74"/>
                </a:lnTo>
                <a:lnTo>
                  <a:pt x="67" y="74"/>
                </a:lnTo>
                <a:lnTo>
                  <a:pt x="65" y="76"/>
                </a:lnTo>
                <a:lnTo>
                  <a:pt x="65" y="76"/>
                </a:lnTo>
                <a:lnTo>
                  <a:pt x="65" y="100"/>
                </a:lnTo>
                <a:lnTo>
                  <a:pt x="65" y="113"/>
                </a:lnTo>
                <a:lnTo>
                  <a:pt x="64" y="119"/>
                </a:lnTo>
                <a:lnTo>
                  <a:pt x="64" y="119"/>
                </a:lnTo>
                <a:lnTo>
                  <a:pt x="61" y="124"/>
                </a:lnTo>
                <a:lnTo>
                  <a:pt x="59" y="130"/>
                </a:lnTo>
                <a:lnTo>
                  <a:pt x="59" y="130"/>
                </a:lnTo>
                <a:lnTo>
                  <a:pt x="55" y="134"/>
                </a:lnTo>
                <a:lnTo>
                  <a:pt x="52" y="136"/>
                </a:lnTo>
                <a:lnTo>
                  <a:pt x="49" y="137"/>
                </a:lnTo>
                <a:lnTo>
                  <a:pt x="49" y="137"/>
                </a:lnTo>
                <a:lnTo>
                  <a:pt x="37" y="138"/>
                </a:lnTo>
                <a:lnTo>
                  <a:pt x="30" y="140"/>
                </a:lnTo>
                <a:lnTo>
                  <a:pt x="24" y="140"/>
                </a:lnTo>
                <a:lnTo>
                  <a:pt x="24" y="140"/>
                </a:lnTo>
                <a:lnTo>
                  <a:pt x="20" y="140"/>
                </a:lnTo>
                <a:lnTo>
                  <a:pt x="15" y="141"/>
                </a:lnTo>
                <a:lnTo>
                  <a:pt x="11" y="144"/>
                </a:lnTo>
                <a:lnTo>
                  <a:pt x="11" y="144"/>
                </a:lnTo>
                <a:lnTo>
                  <a:pt x="1" y="144"/>
                </a:lnTo>
                <a:lnTo>
                  <a:pt x="1" y="144"/>
                </a:lnTo>
                <a:lnTo>
                  <a:pt x="0" y="150"/>
                </a:lnTo>
                <a:lnTo>
                  <a:pt x="1" y="153"/>
                </a:lnTo>
                <a:lnTo>
                  <a:pt x="1" y="153"/>
                </a:lnTo>
                <a:lnTo>
                  <a:pt x="3" y="157"/>
                </a:lnTo>
                <a:lnTo>
                  <a:pt x="4" y="160"/>
                </a:lnTo>
                <a:lnTo>
                  <a:pt x="5" y="163"/>
                </a:lnTo>
                <a:lnTo>
                  <a:pt x="5" y="163"/>
                </a:lnTo>
                <a:lnTo>
                  <a:pt x="11" y="165"/>
                </a:lnTo>
                <a:lnTo>
                  <a:pt x="12" y="168"/>
                </a:lnTo>
                <a:lnTo>
                  <a:pt x="14" y="171"/>
                </a:lnTo>
                <a:lnTo>
                  <a:pt x="14" y="171"/>
                </a:lnTo>
                <a:lnTo>
                  <a:pt x="14" y="175"/>
                </a:lnTo>
                <a:lnTo>
                  <a:pt x="15" y="177"/>
                </a:lnTo>
                <a:lnTo>
                  <a:pt x="17" y="177"/>
                </a:lnTo>
                <a:lnTo>
                  <a:pt x="17" y="177"/>
                </a:lnTo>
                <a:lnTo>
                  <a:pt x="18" y="177"/>
                </a:lnTo>
                <a:lnTo>
                  <a:pt x="20" y="180"/>
                </a:lnTo>
                <a:lnTo>
                  <a:pt x="21" y="181"/>
                </a:lnTo>
                <a:lnTo>
                  <a:pt x="22" y="183"/>
                </a:lnTo>
                <a:lnTo>
                  <a:pt x="22" y="183"/>
                </a:lnTo>
                <a:lnTo>
                  <a:pt x="25" y="183"/>
                </a:lnTo>
                <a:lnTo>
                  <a:pt x="28" y="183"/>
                </a:lnTo>
                <a:lnTo>
                  <a:pt x="30" y="181"/>
                </a:lnTo>
                <a:lnTo>
                  <a:pt x="31" y="181"/>
                </a:lnTo>
                <a:lnTo>
                  <a:pt x="31" y="181"/>
                </a:lnTo>
                <a:lnTo>
                  <a:pt x="31" y="187"/>
                </a:lnTo>
                <a:lnTo>
                  <a:pt x="31" y="190"/>
                </a:lnTo>
                <a:lnTo>
                  <a:pt x="32" y="190"/>
                </a:lnTo>
                <a:lnTo>
                  <a:pt x="32" y="190"/>
                </a:lnTo>
                <a:lnTo>
                  <a:pt x="34" y="191"/>
                </a:lnTo>
                <a:lnTo>
                  <a:pt x="38" y="192"/>
                </a:lnTo>
                <a:lnTo>
                  <a:pt x="38" y="192"/>
                </a:lnTo>
                <a:lnTo>
                  <a:pt x="38" y="190"/>
                </a:lnTo>
                <a:lnTo>
                  <a:pt x="40" y="187"/>
                </a:lnTo>
                <a:lnTo>
                  <a:pt x="41" y="185"/>
                </a:lnTo>
                <a:lnTo>
                  <a:pt x="44" y="185"/>
                </a:lnTo>
                <a:lnTo>
                  <a:pt x="44" y="185"/>
                </a:lnTo>
                <a:lnTo>
                  <a:pt x="47" y="187"/>
                </a:lnTo>
                <a:lnTo>
                  <a:pt x="47" y="190"/>
                </a:lnTo>
                <a:lnTo>
                  <a:pt x="47" y="191"/>
                </a:lnTo>
                <a:lnTo>
                  <a:pt x="49" y="194"/>
                </a:lnTo>
                <a:lnTo>
                  <a:pt x="49" y="194"/>
                </a:lnTo>
                <a:lnTo>
                  <a:pt x="52" y="194"/>
                </a:lnTo>
                <a:lnTo>
                  <a:pt x="54" y="194"/>
                </a:lnTo>
                <a:lnTo>
                  <a:pt x="55" y="192"/>
                </a:lnTo>
                <a:lnTo>
                  <a:pt x="57" y="191"/>
                </a:lnTo>
                <a:lnTo>
                  <a:pt x="57" y="191"/>
                </a:lnTo>
                <a:lnTo>
                  <a:pt x="57" y="187"/>
                </a:lnTo>
                <a:lnTo>
                  <a:pt x="59" y="184"/>
                </a:lnTo>
                <a:lnTo>
                  <a:pt x="64" y="180"/>
                </a:lnTo>
                <a:lnTo>
                  <a:pt x="64" y="180"/>
                </a:lnTo>
                <a:lnTo>
                  <a:pt x="64" y="173"/>
                </a:lnTo>
                <a:lnTo>
                  <a:pt x="65" y="170"/>
                </a:lnTo>
                <a:lnTo>
                  <a:pt x="67" y="167"/>
                </a:lnTo>
                <a:lnTo>
                  <a:pt x="67" y="167"/>
                </a:lnTo>
                <a:lnTo>
                  <a:pt x="69" y="165"/>
                </a:lnTo>
                <a:lnTo>
                  <a:pt x="74" y="165"/>
                </a:lnTo>
                <a:lnTo>
                  <a:pt x="82" y="167"/>
                </a:lnTo>
                <a:lnTo>
                  <a:pt x="82" y="167"/>
                </a:lnTo>
                <a:lnTo>
                  <a:pt x="84" y="165"/>
                </a:lnTo>
                <a:lnTo>
                  <a:pt x="86" y="164"/>
                </a:lnTo>
                <a:lnTo>
                  <a:pt x="88" y="163"/>
                </a:lnTo>
                <a:lnTo>
                  <a:pt x="91" y="163"/>
                </a:lnTo>
                <a:lnTo>
                  <a:pt x="91" y="163"/>
                </a:lnTo>
                <a:lnTo>
                  <a:pt x="94" y="164"/>
                </a:lnTo>
                <a:lnTo>
                  <a:pt x="98" y="165"/>
                </a:lnTo>
                <a:lnTo>
                  <a:pt x="101" y="165"/>
                </a:lnTo>
                <a:lnTo>
                  <a:pt x="104" y="167"/>
                </a:lnTo>
                <a:lnTo>
                  <a:pt x="104" y="167"/>
                </a:lnTo>
                <a:lnTo>
                  <a:pt x="108" y="174"/>
                </a:lnTo>
                <a:lnTo>
                  <a:pt x="109" y="175"/>
                </a:lnTo>
                <a:lnTo>
                  <a:pt x="111" y="175"/>
                </a:lnTo>
                <a:lnTo>
                  <a:pt x="113" y="175"/>
                </a:lnTo>
                <a:lnTo>
                  <a:pt x="113" y="175"/>
                </a:lnTo>
                <a:lnTo>
                  <a:pt x="121" y="173"/>
                </a:lnTo>
                <a:lnTo>
                  <a:pt x="126" y="171"/>
                </a:lnTo>
                <a:lnTo>
                  <a:pt x="126" y="171"/>
                </a:lnTo>
                <a:lnTo>
                  <a:pt x="129" y="173"/>
                </a:lnTo>
                <a:lnTo>
                  <a:pt x="132" y="174"/>
                </a:lnTo>
                <a:lnTo>
                  <a:pt x="139" y="178"/>
                </a:lnTo>
                <a:lnTo>
                  <a:pt x="139" y="178"/>
                </a:lnTo>
                <a:lnTo>
                  <a:pt x="146" y="180"/>
                </a:lnTo>
                <a:lnTo>
                  <a:pt x="150" y="180"/>
                </a:lnTo>
                <a:lnTo>
                  <a:pt x="155" y="178"/>
                </a:lnTo>
                <a:lnTo>
                  <a:pt x="155" y="178"/>
                </a:lnTo>
                <a:lnTo>
                  <a:pt x="159" y="174"/>
                </a:lnTo>
                <a:lnTo>
                  <a:pt x="163" y="171"/>
                </a:lnTo>
                <a:lnTo>
                  <a:pt x="166" y="171"/>
                </a:lnTo>
                <a:lnTo>
                  <a:pt x="166" y="171"/>
                </a:lnTo>
                <a:lnTo>
                  <a:pt x="176" y="170"/>
                </a:lnTo>
                <a:lnTo>
                  <a:pt x="183" y="170"/>
                </a:lnTo>
                <a:lnTo>
                  <a:pt x="186" y="171"/>
                </a:lnTo>
                <a:lnTo>
                  <a:pt x="186" y="171"/>
                </a:lnTo>
                <a:lnTo>
                  <a:pt x="192" y="174"/>
                </a:lnTo>
                <a:lnTo>
                  <a:pt x="196" y="174"/>
                </a:lnTo>
                <a:lnTo>
                  <a:pt x="200" y="174"/>
                </a:lnTo>
                <a:lnTo>
                  <a:pt x="200" y="174"/>
                </a:lnTo>
                <a:lnTo>
                  <a:pt x="203" y="173"/>
                </a:lnTo>
                <a:lnTo>
                  <a:pt x="206" y="168"/>
                </a:lnTo>
                <a:lnTo>
                  <a:pt x="209" y="165"/>
                </a:lnTo>
                <a:lnTo>
                  <a:pt x="212" y="164"/>
                </a:lnTo>
                <a:lnTo>
                  <a:pt x="212" y="164"/>
                </a:lnTo>
                <a:lnTo>
                  <a:pt x="213" y="164"/>
                </a:lnTo>
                <a:lnTo>
                  <a:pt x="213" y="164"/>
                </a:lnTo>
                <a:lnTo>
                  <a:pt x="213" y="158"/>
                </a:lnTo>
                <a:lnTo>
                  <a:pt x="213" y="158"/>
                </a:lnTo>
                <a:lnTo>
                  <a:pt x="213" y="154"/>
                </a:lnTo>
                <a:lnTo>
                  <a:pt x="215" y="151"/>
                </a:lnTo>
                <a:lnTo>
                  <a:pt x="216" y="150"/>
                </a:lnTo>
                <a:lnTo>
                  <a:pt x="217" y="146"/>
                </a:lnTo>
                <a:lnTo>
                  <a:pt x="217" y="146"/>
                </a:lnTo>
                <a:lnTo>
                  <a:pt x="219" y="141"/>
                </a:lnTo>
                <a:lnTo>
                  <a:pt x="222" y="137"/>
                </a:lnTo>
                <a:lnTo>
                  <a:pt x="229" y="126"/>
                </a:lnTo>
                <a:lnTo>
                  <a:pt x="243" y="113"/>
                </a:lnTo>
                <a:lnTo>
                  <a:pt x="243" y="113"/>
                </a:lnTo>
                <a:lnTo>
                  <a:pt x="243" y="107"/>
                </a:lnTo>
                <a:lnTo>
                  <a:pt x="244" y="94"/>
                </a:lnTo>
                <a:lnTo>
                  <a:pt x="244" y="73"/>
                </a:lnTo>
                <a:lnTo>
                  <a:pt x="244" y="73"/>
                </a:lnTo>
                <a:lnTo>
                  <a:pt x="244" y="64"/>
                </a:lnTo>
                <a:lnTo>
                  <a:pt x="247" y="56"/>
                </a:lnTo>
                <a:lnTo>
                  <a:pt x="247" y="56"/>
                </a:lnTo>
                <a:lnTo>
                  <a:pt x="247" y="52"/>
                </a:lnTo>
                <a:lnTo>
                  <a:pt x="246" y="49"/>
                </a:lnTo>
                <a:lnTo>
                  <a:pt x="244" y="47"/>
                </a:lnTo>
                <a:lnTo>
                  <a:pt x="244" y="43"/>
                </a:lnTo>
                <a:lnTo>
                  <a:pt x="244" y="43"/>
                </a:lnTo>
                <a:lnTo>
                  <a:pt x="243" y="39"/>
                </a:lnTo>
                <a:lnTo>
                  <a:pt x="242" y="35"/>
                </a:lnTo>
                <a:lnTo>
                  <a:pt x="239" y="32"/>
                </a:lnTo>
                <a:lnTo>
                  <a:pt x="237" y="29"/>
                </a:lnTo>
                <a:lnTo>
                  <a:pt x="237" y="29"/>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35" name="Freeform 222">
            <a:extLst>
              <a:ext uri="{FF2B5EF4-FFF2-40B4-BE49-F238E27FC236}">
                <a16:creationId xmlns:a16="http://schemas.microsoft.com/office/drawing/2014/main" id="{7B797723-209F-5A96-5BDF-2E7A6982272D}"/>
              </a:ext>
            </a:extLst>
          </p:cNvPr>
          <p:cNvSpPr>
            <a:spLocks/>
          </p:cNvSpPr>
          <p:nvPr userDrawn="1"/>
        </p:nvSpPr>
        <p:spPr bwMode="gray">
          <a:xfrm>
            <a:off x="4635724" y="2843953"/>
            <a:ext cx="209383" cy="345935"/>
          </a:xfrm>
          <a:custGeom>
            <a:avLst/>
            <a:gdLst/>
            <a:ahLst/>
            <a:cxnLst>
              <a:cxn ang="0">
                <a:pos x="24" y="8"/>
              </a:cxn>
              <a:cxn ang="0">
                <a:pos x="24" y="29"/>
              </a:cxn>
              <a:cxn ang="0">
                <a:pos x="30" y="39"/>
              </a:cxn>
              <a:cxn ang="0">
                <a:pos x="31" y="47"/>
              </a:cxn>
              <a:cxn ang="0">
                <a:pos x="34" y="56"/>
              </a:cxn>
              <a:cxn ang="0">
                <a:pos x="31" y="73"/>
              </a:cxn>
              <a:cxn ang="0">
                <a:pos x="30" y="107"/>
              </a:cxn>
              <a:cxn ang="0">
                <a:pos x="16" y="126"/>
              </a:cxn>
              <a:cxn ang="0">
                <a:pos x="4" y="146"/>
              </a:cxn>
              <a:cxn ang="0">
                <a:pos x="2" y="151"/>
              </a:cxn>
              <a:cxn ang="0">
                <a:pos x="0" y="158"/>
              </a:cxn>
              <a:cxn ang="0">
                <a:pos x="4" y="167"/>
              </a:cxn>
              <a:cxn ang="0">
                <a:pos x="9" y="173"/>
              </a:cxn>
              <a:cxn ang="0">
                <a:pos x="14" y="175"/>
              </a:cxn>
              <a:cxn ang="0">
                <a:pos x="21" y="190"/>
              </a:cxn>
              <a:cxn ang="0">
                <a:pos x="21" y="195"/>
              </a:cxn>
              <a:cxn ang="0">
                <a:pos x="23" y="204"/>
              </a:cxn>
              <a:cxn ang="0">
                <a:pos x="27" y="221"/>
              </a:cxn>
              <a:cxn ang="0">
                <a:pos x="30" y="224"/>
              </a:cxn>
              <a:cxn ang="0">
                <a:pos x="23" y="225"/>
              </a:cxn>
              <a:cxn ang="0">
                <a:pos x="9" y="228"/>
              </a:cxn>
              <a:cxn ang="0">
                <a:pos x="10" y="235"/>
              </a:cxn>
              <a:cxn ang="0">
                <a:pos x="21" y="245"/>
              </a:cxn>
              <a:cxn ang="0">
                <a:pos x="26" y="252"/>
              </a:cxn>
              <a:cxn ang="0">
                <a:pos x="33" y="266"/>
              </a:cxn>
              <a:cxn ang="0">
                <a:pos x="38" y="265"/>
              </a:cxn>
              <a:cxn ang="0">
                <a:pos x="43" y="261"/>
              </a:cxn>
              <a:cxn ang="0">
                <a:pos x="48" y="264"/>
              </a:cxn>
              <a:cxn ang="0">
                <a:pos x="51" y="262"/>
              </a:cxn>
              <a:cxn ang="0">
                <a:pos x="70" y="257"/>
              </a:cxn>
              <a:cxn ang="0">
                <a:pos x="84" y="249"/>
              </a:cxn>
              <a:cxn ang="0">
                <a:pos x="83" y="245"/>
              </a:cxn>
              <a:cxn ang="0">
                <a:pos x="84" y="241"/>
              </a:cxn>
              <a:cxn ang="0">
                <a:pos x="103" y="239"/>
              </a:cxn>
              <a:cxn ang="0">
                <a:pos x="107" y="237"/>
              </a:cxn>
              <a:cxn ang="0">
                <a:pos x="122" y="220"/>
              </a:cxn>
              <a:cxn ang="0">
                <a:pos x="124" y="214"/>
              </a:cxn>
              <a:cxn ang="0">
                <a:pos x="132" y="208"/>
              </a:cxn>
              <a:cxn ang="0">
                <a:pos x="139" y="207"/>
              </a:cxn>
              <a:cxn ang="0">
                <a:pos x="141" y="207"/>
              </a:cxn>
              <a:cxn ang="0">
                <a:pos x="139" y="197"/>
              </a:cxn>
              <a:cxn ang="0">
                <a:pos x="135" y="190"/>
              </a:cxn>
              <a:cxn ang="0">
                <a:pos x="132" y="178"/>
              </a:cxn>
              <a:cxn ang="0">
                <a:pos x="128" y="175"/>
              </a:cxn>
              <a:cxn ang="0">
                <a:pos x="131" y="170"/>
              </a:cxn>
              <a:cxn ang="0">
                <a:pos x="130" y="163"/>
              </a:cxn>
              <a:cxn ang="0">
                <a:pos x="131" y="157"/>
              </a:cxn>
              <a:cxn ang="0">
                <a:pos x="135" y="156"/>
              </a:cxn>
              <a:cxn ang="0">
                <a:pos x="137" y="147"/>
              </a:cxn>
              <a:cxn ang="0">
                <a:pos x="141" y="144"/>
              </a:cxn>
              <a:cxn ang="0">
                <a:pos x="145" y="136"/>
              </a:cxn>
              <a:cxn ang="0">
                <a:pos x="151" y="130"/>
              </a:cxn>
              <a:cxn ang="0">
                <a:pos x="159" y="124"/>
              </a:cxn>
              <a:cxn ang="0">
                <a:pos x="161" y="66"/>
              </a:cxn>
            </a:cxnLst>
            <a:rect l="0" t="0" r="r" b="b"/>
            <a:pathLst>
              <a:path w="161" h="266">
                <a:moveTo>
                  <a:pt x="161" y="66"/>
                </a:moveTo>
                <a:lnTo>
                  <a:pt x="38" y="0"/>
                </a:lnTo>
                <a:lnTo>
                  <a:pt x="24" y="8"/>
                </a:lnTo>
                <a:lnTo>
                  <a:pt x="24" y="8"/>
                </a:lnTo>
                <a:lnTo>
                  <a:pt x="24" y="29"/>
                </a:lnTo>
                <a:lnTo>
                  <a:pt x="24" y="29"/>
                </a:lnTo>
                <a:lnTo>
                  <a:pt x="26" y="32"/>
                </a:lnTo>
                <a:lnTo>
                  <a:pt x="29" y="35"/>
                </a:lnTo>
                <a:lnTo>
                  <a:pt x="30" y="39"/>
                </a:lnTo>
                <a:lnTo>
                  <a:pt x="31" y="43"/>
                </a:lnTo>
                <a:lnTo>
                  <a:pt x="31" y="43"/>
                </a:lnTo>
                <a:lnTo>
                  <a:pt x="31" y="47"/>
                </a:lnTo>
                <a:lnTo>
                  <a:pt x="33" y="49"/>
                </a:lnTo>
                <a:lnTo>
                  <a:pt x="34" y="52"/>
                </a:lnTo>
                <a:lnTo>
                  <a:pt x="34" y="56"/>
                </a:lnTo>
                <a:lnTo>
                  <a:pt x="34" y="56"/>
                </a:lnTo>
                <a:lnTo>
                  <a:pt x="31" y="64"/>
                </a:lnTo>
                <a:lnTo>
                  <a:pt x="31" y="73"/>
                </a:lnTo>
                <a:lnTo>
                  <a:pt x="31" y="73"/>
                </a:lnTo>
                <a:lnTo>
                  <a:pt x="31" y="94"/>
                </a:lnTo>
                <a:lnTo>
                  <a:pt x="30" y="107"/>
                </a:lnTo>
                <a:lnTo>
                  <a:pt x="30" y="113"/>
                </a:lnTo>
                <a:lnTo>
                  <a:pt x="30" y="113"/>
                </a:lnTo>
                <a:lnTo>
                  <a:pt x="16" y="126"/>
                </a:lnTo>
                <a:lnTo>
                  <a:pt x="9" y="137"/>
                </a:lnTo>
                <a:lnTo>
                  <a:pt x="6" y="141"/>
                </a:lnTo>
                <a:lnTo>
                  <a:pt x="4" y="146"/>
                </a:lnTo>
                <a:lnTo>
                  <a:pt x="4" y="146"/>
                </a:lnTo>
                <a:lnTo>
                  <a:pt x="3" y="150"/>
                </a:lnTo>
                <a:lnTo>
                  <a:pt x="2" y="151"/>
                </a:lnTo>
                <a:lnTo>
                  <a:pt x="0" y="154"/>
                </a:lnTo>
                <a:lnTo>
                  <a:pt x="0" y="158"/>
                </a:lnTo>
                <a:lnTo>
                  <a:pt x="0" y="158"/>
                </a:lnTo>
                <a:lnTo>
                  <a:pt x="0" y="164"/>
                </a:lnTo>
                <a:lnTo>
                  <a:pt x="0" y="164"/>
                </a:lnTo>
                <a:lnTo>
                  <a:pt x="4" y="167"/>
                </a:lnTo>
                <a:lnTo>
                  <a:pt x="4" y="167"/>
                </a:lnTo>
                <a:lnTo>
                  <a:pt x="6" y="171"/>
                </a:lnTo>
                <a:lnTo>
                  <a:pt x="9" y="173"/>
                </a:lnTo>
                <a:lnTo>
                  <a:pt x="11" y="174"/>
                </a:lnTo>
                <a:lnTo>
                  <a:pt x="11" y="174"/>
                </a:lnTo>
                <a:lnTo>
                  <a:pt x="14" y="175"/>
                </a:lnTo>
                <a:lnTo>
                  <a:pt x="17" y="180"/>
                </a:lnTo>
                <a:lnTo>
                  <a:pt x="20" y="185"/>
                </a:lnTo>
                <a:lnTo>
                  <a:pt x="21" y="190"/>
                </a:lnTo>
                <a:lnTo>
                  <a:pt x="21" y="190"/>
                </a:lnTo>
                <a:lnTo>
                  <a:pt x="21" y="192"/>
                </a:lnTo>
                <a:lnTo>
                  <a:pt x="21" y="195"/>
                </a:lnTo>
                <a:lnTo>
                  <a:pt x="23" y="198"/>
                </a:lnTo>
                <a:lnTo>
                  <a:pt x="23" y="204"/>
                </a:lnTo>
                <a:lnTo>
                  <a:pt x="23" y="204"/>
                </a:lnTo>
                <a:lnTo>
                  <a:pt x="23" y="210"/>
                </a:lnTo>
                <a:lnTo>
                  <a:pt x="24" y="215"/>
                </a:lnTo>
                <a:lnTo>
                  <a:pt x="27" y="221"/>
                </a:lnTo>
                <a:lnTo>
                  <a:pt x="30" y="224"/>
                </a:lnTo>
                <a:lnTo>
                  <a:pt x="30" y="224"/>
                </a:lnTo>
                <a:lnTo>
                  <a:pt x="30" y="224"/>
                </a:lnTo>
                <a:lnTo>
                  <a:pt x="29" y="225"/>
                </a:lnTo>
                <a:lnTo>
                  <a:pt x="23" y="225"/>
                </a:lnTo>
                <a:lnTo>
                  <a:pt x="23" y="225"/>
                </a:lnTo>
                <a:lnTo>
                  <a:pt x="14" y="225"/>
                </a:lnTo>
                <a:lnTo>
                  <a:pt x="10" y="227"/>
                </a:lnTo>
                <a:lnTo>
                  <a:pt x="9" y="228"/>
                </a:lnTo>
                <a:lnTo>
                  <a:pt x="9" y="228"/>
                </a:lnTo>
                <a:lnTo>
                  <a:pt x="9" y="232"/>
                </a:lnTo>
                <a:lnTo>
                  <a:pt x="10" y="235"/>
                </a:lnTo>
                <a:lnTo>
                  <a:pt x="13" y="239"/>
                </a:lnTo>
                <a:lnTo>
                  <a:pt x="13" y="239"/>
                </a:lnTo>
                <a:lnTo>
                  <a:pt x="21" y="245"/>
                </a:lnTo>
                <a:lnTo>
                  <a:pt x="24" y="248"/>
                </a:lnTo>
                <a:lnTo>
                  <a:pt x="26" y="252"/>
                </a:lnTo>
                <a:lnTo>
                  <a:pt x="26" y="252"/>
                </a:lnTo>
                <a:lnTo>
                  <a:pt x="29" y="261"/>
                </a:lnTo>
                <a:lnTo>
                  <a:pt x="33" y="266"/>
                </a:lnTo>
                <a:lnTo>
                  <a:pt x="33" y="266"/>
                </a:lnTo>
                <a:lnTo>
                  <a:pt x="34" y="266"/>
                </a:lnTo>
                <a:lnTo>
                  <a:pt x="36" y="266"/>
                </a:lnTo>
                <a:lnTo>
                  <a:pt x="38" y="265"/>
                </a:lnTo>
                <a:lnTo>
                  <a:pt x="41" y="262"/>
                </a:lnTo>
                <a:lnTo>
                  <a:pt x="41" y="262"/>
                </a:lnTo>
                <a:lnTo>
                  <a:pt x="43" y="261"/>
                </a:lnTo>
                <a:lnTo>
                  <a:pt x="44" y="261"/>
                </a:lnTo>
                <a:lnTo>
                  <a:pt x="47" y="262"/>
                </a:lnTo>
                <a:lnTo>
                  <a:pt x="48" y="264"/>
                </a:lnTo>
                <a:lnTo>
                  <a:pt x="50" y="264"/>
                </a:lnTo>
                <a:lnTo>
                  <a:pt x="51" y="262"/>
                </a:lnTo>
                <a:lnTo>
                  <a:pt x="51" y="262"/>
                </a:lnTo>
                <a:lnTo>
                  <a:pt x="56" y="259"/>
                </a:lnTo>
                <a:lnTo>
                  <a:pt x="60" y="258"/>
                </a:lnTo>
                <a:lnTo>
                  <a:pt x="70" y="257"/>
                </a:lnTo>
                <a:lnTo>
                  <a:pt x="70" y="257"/>
                </a:lnTo>
                <a:lnTo>
                  <a:pt x="77" y="254"/>
                </a:lnTo>
                <a:lnTo>
                  <a:pt x="84" y="249"/>
                </a:lnTo>
                <a:lnTo>
                  <a:pt x="84" y="249"/>
                </a:lnTo>
                <a:lnTo>
                  <a:pt x="84" y="248"/>
                </a:lnTo>
                <a:lnTo>
                  <a:pt x="83" y="245"/>
                </a:lnTo>
                <a:lnTo>
                  <a:pt x="83" y="242"/>
                </a:lnTo>
                <a:lnTo>
                  <a:pt x="84" y="241"/>
                </a:lnTo>
                <a:lnTo>
                  <a:pt x="84" y="241"/>
                </a:lnTo>
                <a:lnTo>
                  <a:pt x="88" y="239"/>
                </a:lnTo>
                <a:lnTo>
                  <a:pt x="95" y="239"/>
                </a:lnTo>
                <a:lnTo>
                  <a:pt x="103" y="239"/>
                </a:lnTo>
                <a:lnTo>
                  <a:pt x="105" y="238"/>
                </a:lnTo>
                <a:lnTo>
                  <a:pt x="107" y="237"/>
                </a:lnTo>
                <a:lnTo>
                  <a:pt x="107" y="237"/>
                </a:lnTo>
                <a:lnTo>
                  <a:pt x="115" y="227"/>
                </a:lnTo>
                <a:lnTo>
                  <a:pt x="122" y="220"/>
                </a:lnTo>
                <a:lnTo>
                  <a:pt x="122" y="220"/>
                </a:lnTo>
                <a:lnTo>
                  <a:pt x="124" y="218"/>
                </a:lnTo>
                <a:lnTo>
                  <a:pt x="124" y="217"/>
                </a:lnTo>
                <a:lnTo>
                  <a:pt x="124" y="214"/>
                </a:lnTo>
                <a:lnTo>
                  <a:pt x="127" y="212"/>
                </a:lnTo>
                <a:lnTo>
                  <a:pt x="127" y="212"/>
                </a:lnTo>
                <a:lnTo>
                  <a:pt x="132" y="208"/>
                </a:lnTo>
                <a:lnTo>
                  <a:pt x="137" y="207"/>
                </a:lnTo>
                <a:lnTo>
                  <a:pt x="139" y="207"/>
                </a:lnTo>
                <a:lnTo>
                  <a:pt x="139" y="207"/>
                </a:lnTo>
                <a:lnTo>
                  <a:pt x="142" y="208"/>
                </a:lnTo>
                <a:lnTo>
                  <a:pt x="142" y="208"/>
                </a:lnTo>
                <a:lnTo>
                  <a:pt x="141" y="207"/>
                </a:lnTo>
                <a:lnTo>
                  <a:pt x="144" y="200"/>
                </a:lnTo>
                <a:lnTo>
                  <a:pt x="144" y="200"/>
                </a:lnTo>
                <a:lnTo>
                  <a:pt x="139" y="197"/>
                </a:lnTo>
                <a:lnTo>
                  <a:pt x="137" y="194"/>
                </a:lnTo>
                <a:lnTo>
                  <a:pt x="135" y="190"/>
                </a:lnTo>
                <a:lnTo>
                  <a:pt x="135" y="190"/>
                </a:lnTo>
                <a:lnTo>
                  <a:pt x="137" y="183"/>
                </a:lnTo>
                <a:lnTo>
                  <a:pt x="135" y="180"/>
                </a:lnTo>
                <a:lnTo>
                  <a:pt x="132" y="178"/>
                </a:lnTo>
                <a:lnTo>
                  <a:pt x="132" y="178"/>
                </a:lnTo>
                <a:lnTo>
                  <a:pt x="130" y="178"/>
                </a:lnTo>
                <a:lnTo>
                  <a:pt x="128" y="175"/>
                </a:lnTo>
                <a:lnTo>
                  <a:pt x="128" y="173"/>
                </a:lnTo>
                <a:lnTo>
                  <a:pt x="131" y="170"/>
                </a:lnTo>
                <a:lnTo>
                  <a:pt x="131" y="170"/>
                </a:lnTo>
                <a:lnTo>
                  <a:pt x="131" y="168"/>
                </a:lnTo>
                <a:lnTo>
                  <a:pt x="131" y="165"/>
                </a:lnTo>
                <a:lnTo>
                  <a:pt x="130" y="163"/>
                </a:lnTo>
                <a:lnTo>
                  <a:pt x="130" y="158"/>
                </a:lnTo>
                <a:lnTo>
                  <a:pt x="130" y="158"/>
                </a:lnTo>
                <a:lnTo>
                  <a:pt x="131" y="157"/>
                </a:lnTo>
                <a:lnTo>
                  <a:pt x="131" y="157"/>
                </a:lnTo>
                <a:lnTo>
                  <a:pt x="134" y="157"/>
                </a:lnTo>
                <a:lnTo>
                  <a:pt x="135" y="156"/>
                </a:lnTo>
                <a:lnTo>
                  <a:pt x="135" y="153"/>
                </a:lnTo>
                <a:lnTo>
                  <a:pt x="137" y="148"/>
                </a:lnTo>
                <a:lnTo>
                  <a:pt x="137" y="147"/>
                </a:lnTo>
                <a:lnTo>
                  <a:pt x="138" y="146"/>
                </a:lnTo>
                <a:lnTo>
                  <a:pt x="138" y="146"/>
                </a:lnTo>
                <a:lnTo>
                  <a:pt x="141" y="144"/>
                </a:lnTo>
                <a:lnTo>
                  <a:pt x="144" y="143"/>
                </a:lnTo>
                <a:lnTo>
                  <a:pt x="145" y="136"/>
                </a:lnTo>
                <a:lnTo>
                  <a:pt x="145" y="136"/>
                </a:lnTo>
                <a:lnTo>
                  <a:pt x="145" y="134"/>
                </a:lnTo>
                <a:lnTo>
                  <a:pt x="147" y="133"/>
                </a:lnTo>
                <a:lnTo>
                  <a:pt x="151" y="130"/>
                </a:lnTo>
                <a:lnTo>
                  <a:pt x="158" y="127"/>
                </a:lnTo>
                <a:lnTo>
                  <a:pt x="158" y="127"/>
                </a:lnTo>
                <a:lnTo>
                  <a:pt x="159" y="124"/>
                </a:lnTo>
                <a:lnTo>
                  <a:pt x="161" y="119"/>
                </a:lnTo>
                <a:lnTo>
                  <a:pt x="161" y="110"/>
                </a:lnTo>
                <a:lnTo>
                  <a:pt x="161" y="66"/>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36" name="Freeform 223">
            <a:extLst>
              <a:ext uri="{FF2B5EF4-FFF2-40B4-BE49-F238E27FC236}">
                <a16:creationId xmlns:a16="http://schemas.microsoft.com/office/drawing/2014/main" id="{31BB4678-CF0C-3475-6C61-AD67AC05B709}"/>
              </a:ext>
            </a:extLst>
          </p:cNvPr>
          <p:cNvSpPr>
            <a:spLocks/>
          </p:cNvSpPr>
          <p:nvPr userDrawn="1"/>
        </p:nvSpPr>
        <p:spPr bwMode="gray">
          <a:xfrm>
            <a:off x="4862013" y="2652778"/>
            <a:ext cx="221087" cy="226288"/>
          </a:xfrm>
          <a:custGeom>
            <a:avLst/>
            <a:gdLst/>
            <a:ahLst/>
            <a:cxnLst>
              <a:cxn ang="0">
                <a:pos x="149" y="9"/>
              </a:cxn>
              <a:cxn ang="0">
                <a:pos x="148" y="12"/>
              </a:cxn>
              <a:cxn ang="0">
                <a:pos x="145" y="12"/>
              </a:cxn>
              <a:cxn ang="0">
                <a:pos x="135" y="11"/>
              </a:cxn>
              <a:cxn ang="0">
                <a:pos x="131" y="11"/>
              </a:cxn>
              <a:cxn ang="0">
                <a:pos x="119" y="11"/>
              </a:cxn>
              <a:cxn ang="0">
                <a:pos x="109" y="7"/>
              </a:cxn>
              <a:cxn ang="0">
                <a:pos x="102" y="5"/>
              </a:cxn>
              <a:cxn ang="0">
                <a:pos x="82" y="9"/>
              </a:cxn>
              <a:cxn ang="0">
                <a:pos x="76" y="12"/>
              </a:cxn>
              <a:cxn ang="0">
                <a:pos x="74" y="15"/>
              </a:cxn>
              <a:cxn ang="0">
                <a:pos x="64" y="15"/>
              </a:cxn>
              <a:cxn ang="0">
                <a:pos x="58" y="14"/>
              </a:cxn>
              <a:cxn ang="0">
                <a:pos x="38" y="7"/>
              </a:cxn>
              <a:cxn ang="0">
                <a:pos x="30" y="5"/>
              </a:cxn>
              <a:cxn ang="0">
                <a:pos x="8" y="2"/>
              </a:cxn>
              <a:cxn ang="0">
                <a:pos x="5" y="0"/>
              </a:cxn>
              <a:cxn ang="0">
                <a:pos x="2" y="4"/>
              </a:cxn>
              <a:cxn ang="0">
                <a:pos x="2" y="15"/>
              </a:cxn>
              <a:cxn ang="0">
                <a:pos x="1" y="24"/>
              </a:cxn>
              <a:cxn ang="0">
                <a:pos x="0" y="28"/>
              </a:cxn>
              <a:cxn ang="0">
                <a:pos x="1" y="39"/>
              </a:cxn>
              <a:cxn ang="0">
                <a:pos x="1" y="48"/>
              </a:cxn>
              <a:cxn ang="0">
                <a:pos x="99" y="172"/>
              </a:cxn>
              <a:cxn ang="0">
                <a:pos x="105" y="167"/>
              </a:cxn>
              <a:cxn ang="0">
                <a:pos x="108" y="167"/>
              </a:cxn>
              <a:cxn ang="0">
                <a:pos x="112" y="170"/>
              </a:cxn>
              <a:cxn ang="0">
                <a:pos x="133" y="170"/>
              </a:cxn>
              <a:cxn ang="0">
                <a:pos x="139" y="174"/>
              </a:cxn>
              <a:cxn ang="0">
                <a:pos x="142" y="174"/>
              </a:cxn>
              <a:cxn ang="0">
                <a:pos x="145" y="172"/>
              </a:cxn>
              <a:cxn ang="0">
                <a:pos x="152" y="167"/>
              </a:cxn>
              <a:cxn ang="0">
                <a:pos x="153" y="167"/>
              </a:cxn>
              <a:cxn ang="0">
                <a:pos x="158" y="162"/>
              </a:cxn>
              <a:cxn ang="0">
                <a:pos x="160" y="156"/>
              </a:cxn>
              <a:cxn ang="0">
                <a:pos x="162" y="156"/>
              </a:cxn>
              <a:cxn ang="0">
                <a:pos x="170" y="150"/>
              </a:cxn>
              <a:cxn ang="0">
                <a:pos x="170" y="149"/>
              </a:cxn>
              <a:cxn ang="0">
                <a:pos x="170" y="143"/>
              </a:cxn>
              <a:cxn ang="0">
                <a:pos x="170" y="139"/>
              </a:cxn>
              <a:cxn ang="0">
                <a:pos x="166" y="132"/>
              </a:cxn>
              <a:cxn ang="0">
                <a:pos x="163" y="125"/>
              </a:cxn>
              <a:cxn ang="0">
                <a:pos x="153" y="108"/>
              </a:cxn>
              <a:cxn ang="0">
                <a:pos x="146" y="92"/>
              </a:cxn>
              <a:cxn ang="0">
                <a:pos x="145" y="88"/>
              </a:cxn>
              <a:cxn ang="0">
                <a:pos x="139" y="81"/>
              </a:cxn>
              <a:cxn ang="0">
                <a:pos x="139" y="76"/>
              </a:cxn>
              <a:cxn ang="0">
                <a:pos x="136" y="69"/>
              </a:cxn>
              <a:cxn ang="0">
                <a:pos x="128" y="58"/>
              </a:cxn>
              <a:cxn ang="0">
                <a:pos x="121" y="41"/>
              </a:cxn>
              <a:cxn ang="0">
                <a:pos x="121" y="29"/>
              </a:cxn>
              <a:cxn ang="0">
                <a:pos x="122" y="31"/>
              </a:cxn>
              <a:cxn ang="0">
                <a:pos x="131" y="49"/>
              </a:cxn>
              <a:cxn ang="0">
                <a:pos x="138" y="62"/>
              </a:cxn>
              <a:cxn ang="0">
                <a:pos x="145" y="71"/>
              </a:cxn>
              <a:cxn ang="0">
                <a:pos x="148" y="71"/>
              </a:cxn>
              <a:cxn ang="0">
                <a:pos x="150" y="66"/>
              </a:cxn>
              <a:cxn ang="0">
                <a:pos x="155" y="51"/>
              </a:cxn>
              <a:cxn ang="0">
                <a:pos x="158" y="48"/>
              </a:cxn>
              <a:cxn ang="0">
                <a:pos x="158" y="45"/>
              </a:cxn>
            </a:cxnLst>
            <a:rect l="0" t="0" r="r" b="b"/>
            <a:pathLst>
              <a:path w="170" h="174">
                <a:moveTo>
                  <a:pt x="160" y="38"/>
                </a:moveTo>
                <a:lnTo>
                  <a:pt x="149" y="9"/>
                </a:lnTo>
                <a:lnTo>
                  <a:pt x="149" y="9"/>
                </a:lnTo>
                <a:lnTo>
                  <a:pt x="148" y="12"/>
                </a:lnTo>
                <a:lnTo>
                  <a:pt x="148" y="12"/>
                </a:lnTo>
                <a:lnTo>
                  <a:pt x="145" y="12"/>
                </a:lnTo>
                <a:lnTo>
                  <a:pt x="140" y="12"/>
                </a:lnTo>
                <a:lnTo>
                  <a:pt x="135" y="11"/>
                </a:lnTo>
                <a:lnTo>
                  <a:pt x="131" y="11"/>
                </a:lnTo>
                <a:lnTo>
                  <a:pt x="131" y="11"/>
                </a:lnTo>
                <a:lnTo>
                  <a:pt x="125" y="12"/>
                </a:lnTo>
                <a:lnTo>
                  <a:pt x="119" y="11"/>
                </a:lnTo>
                <a:lnTo>
                  <a:pt x="109" y="7"/>
                </a:lnTo>
                <a:lnTo>
                  <a:pt x="109" y="7"/>
                </a:lnTo>
                <a:lnTo>
                  <a:pt x="106" y="7"/>
                </a:lnTo>
                <a:lnTo>
                  <a:pt x="102" y="5"/>
                </a:lnTo>
                <a:lnTo>
                  <a:pt x="92" y="7"/>
                </a:lnTo>
                <a:lnTo>
                  <a:pt x="82" y="9"/>
                </a:lnTo>
                <a:lnTo>
                  <a:pt x="78" y="11"/>
                </a:lnTo>
                <a:lnTo>
                  <a:pt x="76" y="12"/>
                </a:lnTo>
                <a:lnTo>
                  <a:pt x="76" y="12"/>
                </a:lnTo>
                <a:lnTo>
                  <a:pt x="74" y="15"/>
                </a:lnTo>
                <a:lnTo>
                  <a:pt x="69" y="17"/>
                </a:lnTo>
                <a:lnTo>
                  <a:pt x="64" y="15"/>
                </a:lnTo>
                <a:lnTo>
                  <a:pt x="58" y="14"/>
                </a:lnTo>
                <a:lnTo>
                  <a:pt x="58" y="14"/>
                </a:lnTo>
                <a:lnTo>
                  <a:pt x="45" y="9"/>
                </a:lnTo>
                <a:lnTo>
                  <a:pt x="38" y="7"/>
                </a:lnTo>
                <a:lnTo>
                  <a:pt x="30" y="5"/>
                </a:lnTo>
                <a:lnTo>
                  <a:pt x="30" y="5"/>
                </a:lnTo>
                <a:lnTo>
                  <a:pt x="12" y="4"/>
                </a:lnTo>
                <a:lnTo>
                  <a:pt x="8" y="2"/>
                </a:lnTo>
                <a:lnTo>
                  <a:pt x="5" y="0"/>
                </a:lnTo>
                <a:lnTo>
                  <a:pt x="5" y="0"/>
                </a:lnTo>
                <a:lnTo>
                  <a:pt x="2" y="4"/>
                </a:lnTo>
                <a:lnTo>
                  <a:pt x="2" y="4"/>
                </a:lnTo>
                <a:lnTo>
                  <a:pt x="2" y="11"/>
                </a:lnTo>
                <a:lnTo>
                  <a:pt x="2" y="15"/>
                </a:lnTo>
                <a:lnTo>
                  <a:pt x="2" y="19"/>
                </a:lnTo>
                <a:lnTo>
                  <a:pt x="1" y="24"/>
                </a:lnTo>
                <a:lnTo>
                  <a:pt x="1" y="24"/>
                </a:lnTo>
                <a:lnTo>
                  <a:pt x="0" y="28"/>
                </a:lnTo>
                <a:lnTo>
                  <a:pt x="0" y="34"/>
                </a:lnTo>
                <a:lnTo>
                  <a:pt x="1" y="39"/>
                </a:lnTo>
                <a:lnTo>
                  <a:pt x="1" y="48"/>
                </a:lnTo>
                <a:lnTo>
                  <a:pt x="1" y="48"/>
                </a:lnTo>
                <a:lnTo>
                  <a:pt x="1" y="172"/>
                </a:lnTo>
                <a:lnTo>
                  <a:pt x="99" y="172"/>
                </a:lnTo>
                <a:lnTo>
                  <a:pt x="99" y="172"/>
                </a:lnTo>
                <a:lnTo>
                  <a:pt x="105" y="167"/>
                </a:lnTo>
                <a:lnTo>
                  <a:pt x="105" y="167"/>
                </a:lnTo>
                <a:lnTo>
                  <a:pt x="108" y="167"/>
                </a:lnTo>
                <a:lnTo>
                  <a:pt x="109" y="167"/>
                </a:lnTo>
                <a:lnTo>
                  <a:pt x="112" y="170"/>
                </a:lnTo>
                <a:lnTo>
                  <a:pt x="133" y="170"/>
                </a:lnTo>
                <a:lnTo>
                  <a:pt x="133" y="170"/>
                </a:lnTo>
                <a:lnTo>
                  <a:pt x="136" y="173"/>
                </a:lnTo>
                <a:lnTo>
                  <a:pt x="139" y="174"/>
                </a:lnTo>
                <a:lnTo>
                  <a:pt x="142" y="174"/>
                </a:lnTo>
                <a:lnTo>
                  <a:pt x="142" y="174"/>
                </a:lnTo>
                <a:lnTo>
                  <a:pt x="145" y="173"/>
                </a:lnTo>
                <a:lnTo>
                  <a:pt x="145" y="172"/>
                </a:lnTo>
                <a:lnTo>
                  <a:pt x="148" y="169"/>
                </a:lnTo>
                <a:lnTo>
                  <a:pt x="152" y="167"/>
                </a:lnTo>
                <a:lnTo>
                  <a:pt x="152" y="167"/>
                </a:lnTo>
                <a:lnTo>
                  <a:pt x="153" y="167"/>
                </a:lnTo>
                <a:lnTo>
                  <a:pt x="155" y="166"/>
                </a:lnTo>
                <a:lnTo>
                  <a:pt x="158" y="162"/>
                </a:lnTo>
                <a:lnTo>
                  <a:pt x="159" y="157"/>
                </a:lnTo>
                <a:lnTo>
                  <a:pt x="160" y="156"/>
                </a:lnTo>
                <a:lnTo>
                  <a:pt x="162" y="156"/>
                </a:lnTo>
                <a:lnTo>
                  <a:pt x="162" y="156"/>
                </a:lnTo>
                <a:lnTo>
                  <a:pt x="166" y="156"/>
                </a:lnTo>
                <a:lnTo>
                  <a:pt x="170" y="150"/>
                </a:lnTo>
                <a:lnTo>
                  <a:pt x="170" y="150"/>
                </a:lnTo>
                <a:lnTo>
                  <a:pt x="170" y="149"/>
                </a:lnTo>
                <a:lnTo>
                  <a:pt x="170" y="149"/>
                </a:lnTo>
                <a:lnTo>
                  <a:pt x="170" y="143"/>
                </a:lnTo>
                <a:lnTo>
                  <a:pt x="170" y="143"/>
                </a:lnTo>
                <a:lnTo>
                  <a:pt x="170" y="139"/>
                </a:lnTo>
                <a:lnTo>
                  <a:pt x="169" y="135"/>
                </a:lnTo>
                <a:lnTo>
                  <a:pt x="166" y="132"/>
                </a:lnTo>
                <a:lnTo>
                  <a:pt x="163" y="125"/>
                </a:lnTo>
                <a:lnTo>
                  <a:pt x="163" y="125"/>
                </a:lnTo>
                <a:lnTo>
                  <a:pt x="159" y="116"/>
                </a:lnTo>
                <a:lnTo>
                  <a:pt x="153" y="108"/>
                </a:lnTo>
                <a:lnTo>
                  <a:pt x="149" y="99"/>
                </a:lnTo>
                <a:lnTo>
                  <a:pt x="146" y="92"/>
                </a:lnTo>
                <a:lnTo>
                  <a:pt x="146" y="92"/>
                </a:lnTo>
                <a:lnTo>
                  <a:pt x="145" y="88"/>
                </a:lnTo>
                <a:lnTo>
                  <a:pt x="142" y="85"/>
                </a:lnTo>
                <a:lnTo>
                  <a:pt x="139" y="81"/>
                </a:lnTo>
                <a:lnTo>
                  <a:pt x="139" y="76"/>
                </a:lnTo>
                <a:lnTo>
                  <a:pt x="139" y="76"/>
                </a:lnTo>
                <a:lnTo>
                  <a:pt x="138" y="72"/>
                </a:lnTo>
                <a:lnTo>
                  <a:pt x="136" y="69"/>
                </a:lnTo>
                <a:lnTo>
                  <a:pt x="128" y="58"/>
                </a:lnTo>
                <a:lnTo>
                  <a:pt x="128" y="58"/>
                </a:lnTo>
                <a:lnTo>
                  <a:pt x="123" y="49"/>
                </a:lnTo>
                <a:lnTo>
                  <a:pt x="121" y="41"/>
                </a:lnTo>
                <a:lnTo>
                  <a:pt x="119" y="32"/>
                </a:lnTo>
                <a:lnTo>
                  <a:pt x="121" y="29"/>
                </a:lnTo>
                <a:lnTo>
                  <a:pt x="121" y="29"/>
                </a:lnTo>
                <a:lnTo>
                  <a:pt x="122" y="31"/>
                </a:lnTo>
                <a:lnTo>
                  <a:pt x="126" y="36"/>
                </a:lnTo>
                <a:lnTo>
                  <a:pt x="131" y="49"/>
                </a:lnTo>
                <a:lnTo>
                  <a:pt x="131" y="49"/>
                </a:lnTo>
                <a:lnTo>
                  <a:pt x="138" y="62"/>
                </a:lnTo>
                <a:lnTo>
                  <a:pt x="142" y="68"/>
                </a:lnTo>
                <a:lnTo>
                  <a:pt x="145" y="71"/>
                </a:lnTo>
                <a:lnTo>
                  <a:pt x="148" y="71"/>
                </a:lnTo>
                <a:lnTo>
                  <a:pt x="148" y="71"/>
                </a:lnTo>
                <a:lnTo>
                  <a:pt x="149" y="69"/>
                </a:lnTo>
                <a:lnTo>
                  <a:pt x="150" y="66"/>
                </a:lnTo>
                <a:lnTo>
                  <a:pt x="153" y="59"/>
                </a:lnTo>
                <a:lnTo>
                  <a:pt x="155" y="51"/>
                </a:lnTo>
                <a:lnTo>
                  <a:pt x="158" y="48"/>
                </a:lnTo>
                <a:lnTo>
                  <a:pt x="158" y="48"/>
                </a:lnTo>
                <a:lnTo>
                  <a:pt x="158" y="49"/>
                </a:lnTo>
                <a:lnTo>
                  <a:pt x="158" y="45"/>
                </a:lnTo>
                <a:lnTo>
                  <a:pt x="160" y="38"/>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37" name="Freeform 224">
            <a:extLst>
              <a:ext uri="{FF2B5EF4-FFF2-40B4-BE49-F238E27FC236}">
                <a16:creationId xmlns:a16="http://schemas.microsoft.com/office/drawing/2014/main" id="{726D4FF0-23CB-5586-E26C-3DCFEC2DE73E}"/>
              </a:ext>
            </a:extLst>
          </p:cNvPr>
          <p:cNvSpPr>
            <a:spLocks/>
          </p:cNvSpPr>
          <p:nvPr userDrawn="1"/>
        </p:nvSpPr>
        <p:spPr bwMode="gray">
          <a:xfrm>
            <a:off x="4539487" y="3297831"/>
            <a:ext cx="114444" cy="131352"/>
          </a:xfrm>
          <a:custGeom>
            <a:avLst/>
            <a:gdLst/>
            <a:ahLst/>
            <a:cxnLst>
              <a:cxn ang="0">
                <a:pos x="44" y="97"/>
              </a:cxn>
              <a:cxn ang="0">
                <a:pos x="48" y="92"/>
              </a:cxn>
              <a:cxn ang="0">
                <a:pos x="46" y="84"/>
              </a:cxn>
              <a:cxn ang="0">
                <a:pos x="46" y="80"/>
              </a:cxn>
              <a:cxn ang="0">
                <a:pos x="51" y="77"/>
              </a:cxn>
              <a:cxn ang="0">
                <a:pos x="56" y="77"/>
              </a:cxn>
              <a:cxn ang="0">
                <a:pos x="58" y="75"/>
              </a:cxn>
              <a:cxn ang="0">
                <a:pos x="60" y="70"/>
              </a:cxn>
              <a:cxn ang="0">
                <a:pos x="63" y="68"/>
              </a:cxn>
              <a:cxn ang="0">
                <a:pos x="67" y="73"/>
              </a:cxn>
              <a:cxn ang="0">
                <a:pos x="70" y="77"/>
              </a:cxn>
              <a:cxn ang="0">
                <a:pos x="71" y="78"/>
              </a:cxn>
              <a:cxn ang="0">
                <a:pos x="77" y="78"/>
              </a:cxn>
              <a:cxn ang="0">
                <a:pos x="84" y="80"/>
              </a:cxn>
              <a:cxn ang="0">
                <a:pos x="85" y="78"/>
              </a:cxn>
              <a:cxn ang="0">
                <a:pos x="88" y="73"/>
              </a:cxn>
              <a:cxn ang="0">
                <a:pos x="88" y="61"/>
              </a:cxn>
              <a:cxn ang="0">
                <a:pos x="87" y="47"/>
              </a:cxn>
              <a:cxn ang="0">
                <a:pos x="84" y="44"/>
              </a:cxn>
              <a:cxn ang="0">
                <a:pos x="78" y="37"/>
              </a:cxn>
              <a:cxn ang="0">
                <a:pos x="81" y="31"/>
              </a:cxn>
              <a:cxn ang="0">
                <a:pos x="85" y="28"/>
              </a:cxn>
              <a:cxn ang="0">
                <a:pos x="85" y="21"/>
              </a:cxn>
              <a:cxn ang="0">
                <a:pos x="84" y="18"/>
              </a:cxn>
              <a:cxn ang="0">
                <a:pos x="78" y="17"/>
              </a:cxn>
              <a:cxn ang="0">
                <a:pos x="70" y="18"/>
              </a:cxn>
              <a:cxn ang="0">
                <a:pos x="67" y="18"/>
              </a:cxn>
              <a:cxn ang="0">
                <a:pos x="70" y="1"/>
              </a:cxn>
              <a:cxn ang="0">
                <a:pos x="46" y="0"/>
              </a:cxn>
              <a:cxn ang="0">
                <a:pos x="43" y="1"/>
              </a:cxn>
              <a:cxn ang="0">
                <a:pos x="41" y="21"/>
              </a:cxn>
              <a:cxn ang="0">
                <a:pos x="20" y="23"/>
              </a:cxn>
              <a:cxn ang="0">
                <a:pos x="13" y="24"/>
              </a:cxn>
              <a:cxn ang="0">
                <a:pos x="10" y="27"/>
              </a:cxn>
              <a:cxn ang="0">
                <a:pos x="10" y="28"/>
              </a:cxn>
              <a:cxn ang="0">
                <a:pos x="14" y="33"/>
              </a:cxn>
              <a:cxn ang="0">
                <a:pos x="16" y="36"/>
              </a:cxn>
              <a:cxn ang="0">
                <a:pos x="16" y="37"/>
              </a:cxn>
              <a:cxn ang="0">
                <a:pos x="9" y="40"/>
              </a:cxn>
              <a:cxn ang="0">
                <a:pos x="7" y="43"/>
              </a:cxn>
              <a:cxn ang="0">
                <a:pos x="7" y="46"/>
              </a:cxn>
              <a:cxn ang="0">
                <a:pos x="2" y="53"/>
              </a:cxn>
              <a:cxn ang="0">
                <a:pos x="0" y="54"/>
              </a:cxn>
              <a:cxn ang="0">
                <a:pos x="3" y="60"/>
              </a:cxn>
              <a:cxn ang="0">
                <a:pos x="9" y="67"/>
              </a:cxn>
              <a:cxn ang="0">
                <a:pos x="9" y="68"/>
              </a:cxn>
              <a:cxn ang="0">
                <a:pos x="20" y="81"/>
              </a:cxn>
              <a:cxn ang="0">
                <a:pos x="24" y="87"/>
              </a:cxn>
              <a:cxn ang="0">
                <a:pos x="30" y="95"/>
              </a:cxn>
              <a:cxn ang="0">
                <a:pos x="36" y="101"/>
              </a:cxn>
              <a:cxn ang="0">
                <a:pos x="44" y="97"/>
              </a:cxn>
            </a:cxnLst>
            <a:rect l="0" t="0" r="r" b="b"/>
            <a:pathLst>
              <a:path w="88" h="101">
                <a:moveTo>
                  <a:pt x="44" y="97"/>
                </a:moveTo>
                <a:lnTo>
                  <a:pt x="44" y="97"/>
                </a:lnTo>
                <a:lnTo>
                  <a:pt x="48" y="95"/>
                </a:lnTo>
                <a:lnTo>
                  <a:pt x="48" y="92"/>
                </a:lnTo>
                <a:lnTo>
                  <a:pt x="48" y="88"/>
                </a:lnTo>
                <a:lnTo>
                  <a:pt x="46" y="84"/>
                </a:lnTo>
                <a:lnTo>
                  <a:pt x="46" y="84"/>
                </a:lnTo>
                <a:lnTo>
                  <a:pt x="46" y="80"/>
                </a:lnTo>
                <a:lnTo>
                  <a:pt x="47" y="77"/>
                </a:lnTo>
                <a:lnTo>
                  <a:pt x="51" y="77"/>
                </a:lnTo>
                <a:lnTo>
                  <a:pt x="56" y="77"/>
                </a:lnTo>
                <a:lnTo>
                  <a:pt x="56" y="77"/>
                </a:lnTo>
                <a:lnTo>
                  <a:pt x="57" y="77"/>
                </a:lnTo>
                <a:lnTo>
                  <a:pt x="58" y="75"/>
                </a:lnTo>
                <a:lnTo>
                  <a:pt x="60" y="73"/>
                </a:lnTo>
                <a:lnTo>
                  <a:pt x="60" y="70"/>
                </a:lnTo>
                <a:lnTo>
                  <a:pt x="63" y="68"/>
                </a:lnTo>
                <a:lnTo>
                  <a:pt x="63" y="68"/>
                </a:lnTo>
                <a:lnTo>
                  <a:pt x="66" y="70"/>
                </a:lnTo>
                <a:lnTo>
                  <a:pt x="67" y="73"/>
                </a:lnTo>
                <a:lnTo>
                  <a:pt x="68" y="77"/>
                </a:lnTo>
                <a:lnTo>
                  <a:pt x="70" y="77"/>
                </a:lnTo>
                <a:lnTo>
                  <a:pt x="71" y="78"/>
                </a:lnTo>
                <a:lnTo>
                  <a:pt x="71" y="78"/>
                </a:lnTo>
                <a:lnTo>
                  <a:pt x="74" y="78"/>
                </a:lnTo>
                <a:lnTo>
                  <a:pt x="77" y="78"/>
                </a:lnTo>
                <a:lnTo>
                  <a:pt x="80" y="80"/>
                </a:lnTo>
                <a:lnTo>
                  <a:pt x="84" y="80"/>
                </a:lnTo>
                <a:lnTo>
                  <a:pt x="84" y="80"/>
                </a:lnTo>
                <a:lnTo>
                  <a:pt x="85" y="78"/>
                </a:lnTo>
                <a:lnTo>
                  <a:pt x="87" y="77"/>
                </a:lnTo>
                <a:lnTo>
                  <a:pt x="88" y="73"/>
                </a:lnTo>
                <a:lnTo>
                  <a:pt x="88" y="61"/>
                </a:lnTo>
                <a:lnTo>
                  <a:pt x="88" y="61"/>
                </a:lnTo>
                <a:lnTo>
                  <a:pt x="88" y="50"/>
                </a:lnTo>
                <a:lnTo>
                  <a:pt x="87" y="47"/>
                </a:lnTo>
                <a:lnTo>
                  <a:pt x="84" y="44"/>
                </a:lnTo>
                <a:lnTo>
                  <a:pt x="84" y="44"/>
                </a:lnTo>
                <a:lnTo>
                  <a:pt x="81" y="41"/>
                </a:lnTo>
                <a:lnTo>
                  <a:pt x="78" y="37"/>
                </a:lnTo>
                <a:lnTo>
                  <a:pt x="78" y="34"/>
                </a:lnTo>
                <a:lnTo>
                  <a:pt x="81" y="31"/>
                </a:lnTo>
                <a:lnTo>
                  <a:pt x="81" y="31"/>
                </a:lnTo>
                <a:lnTo>
                  <a:pt x="85" y="28"/>
                </a:lnTo>
                <a:lnTo>
                  <a:pt x="87" y="24"/>
                </a:lnTo>
                <a:lnTo>
                  <a:pt x="85" y="21"/>
                </a:lnTo>
                <a:lnTo>
                  <a:pt x="84" y="18"/>
                </a:lnTo>
                <a:lnTo>
                  <a:pt x="84" y="18"/>
                </a:lnTo>
                <a:lnTo>
                  <a:pt x="81" y="17"/>
                </a:lnTo>
                <a:lnTo>
                  <a:pt x="78" y="17"/>
                </a:lnTo>
                <a:lnTo>
                  <a:pt x="74" y="18"/>
                </a:lnTo>
                <a:lnTo>
                  <a:pt x="70" y="18"/>
                </a:lnTo>
                <a:lnTo>
                  <a:pt x="68" y="18"/>
                </a:lnTo>
                <a:lnTo>
                  <a:pt x="67" y="18"/>
                </a:lnTo>
                <a:lnTo>
                  <a:pt x="67" y="18"/>
                </a:lnTo>
                <a:lnTo>
                  <a:pt x="70" y="1"/>
                </a:lnTo>
                <a:lnTo>
                  <a:pt x="70" y="1"/>
                </a:lnTo>
                <a:lnTo>
                  <a:pt x="46" y="0"/>
                </a:lnTo>
                <a:lnTo>
                  <a:pt x="43" y="1"/>
                </a:lnTo>
                <a:lnTo>
                  <a:pt x="43" y="1"/>
                </a:lnTo>
                <a:lnTo>
                  <a:pt x="43" y="16"/>
                </a:lnTo>
                <a:lnTo>
                  <a:pt x="41" y="21"/>
                </a:lnTo>
                <a:lnTo>
                  <a:pt x="41" y="21"/>
                </a:lnTo>
                <a:lnTo>
                  <a:pt x="20" y="23"/>
                </a:lnTo>
                <a:lnTo>
                  <a:pt x="20" y="23"/>
                </a:lnTo>
                <a:lnTo>
                  <a:pt x="13" y="24"/>
                </a:lnTo>
                <a:lnTo>
                  <a:pt x="13" y="24"/>
                </a:lnTo>
                <a:lnTo>
                  <a:pt x="10" y="27"/>
                </a:lnTo>
                <a:lnTo>
                  <a:pt x="10" y="27"/>
                </a:lnTo>
                <a:lnTo>
                  <a:pt x="10" y="28"/>
                </a:lnTo>
                <a:lnTo>
                  <a:pt x="11" y="31"/>
                </a:lnTo>
                <a:lnTo>
                  <a:pt x="14" y="33"/>
                </a:lnTo>
                <a:lnTo>
                  <a:pt x="16" y="36"/>
                </a:lnTo>
                <a:lnTo>
                  <a:pt x="16" y="36"/>
                </a:lnTo>
                <a:lnTo>
                  <a:pt x="16" y="37"/>
                </a:lnTo>
                <a:lnTo>
                  <a:pt x="16" y="37"/>
                </a:lnTo>
                <a:lnTo>
                  <a:pt x="11" y="38"/>
                </a:lnTo>
                <a:lnTo>
                  <a:pt x="9" y="40"/>
                </a:lnTo>
                <a:lnTo>
                  <a:pt x="7" y="41"/>
                </a:lnTo>
                <a:lnTo>
                  <a:pt x="7" y="43"/>
                </a:lnTo>
                <a:lnTo>
                  <a:pt x="7" y="43"/>
                </a:lnTo>
                <a:lnTo>
                  <a:pt x="7" y="46"/>
                </a:lnTo>
                <a:lnTo>
                  <a:pt x="6" y="48"/>
                </a:lnTo>
                <a:lnTo>
                  <a:pt x="2" y="53"/>
                </a:lnTo>
                <a:lnTo>
                  <a:pt x="2" y="53"/>
                </a:lnTo>
                <a:lnTo>
                  <a:pt x="0" y="54"/>
                </a:lnTo>
                <a:lnTo>
                  <a:pt x="2" y="55"/>
                </a:lnTo>
                <a:lnTo>
                  <a:pt x="3" y="60"/>
                </a:lnTo>
                <a:lnTo>
                  <a:pt x="7" y="63"/>
                </a:lnTo>
                <a:lnTo>
                  <a:pt x="9" y="67"/>
                </a:lnTo>
                <a:lnTo>
                  <a:pt x="9" y="67"/>
                </a:lnTo>
                <a:lnTo>
                  <a:pt x="9" y="68"/>
                </a:lnTo>
                <a:lnTo>
                  <a:pt x="11" y="71"/>
                </a:lnTo>
                <a:lnTo>
                  <a:pt x="20" y="81"/>
                </a:lnTo>
                <a:lnTo>
                  <a:pt x="20" y="81"/>
                </a:lnTo>
                <a:lnTo>
                  <a:pt x="24" y="87"/>
                </a:lnTo>
                <a:lnTo>
                  <a:pt x="27" y="91"/>
                </a:lnTo>
                <a:lnTo>
                  <a:pt x="30" y="95"/>
                </a:lnTo>
                <a:lnTo>
                  <a:pt x="36" y="101"/>
                </a:lnTo>
                <a:lnTo>
                  <a:pt x="36" y="101"/>
                </a:lnTo>
                <a:lnTo>
                  <a:pt x="39" y="98"/>
                </a:lnTo>
                <a:lnTo>
                  <a:pt x="44" y="97"/>
                </a:lnTo>
                <a:lnTo>
                  <a:pt x="44" y="97"/>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38" name="Freeform 225">
            <a:extLst>
              <a:ext uri="{FF2B5EF4-FFF2-40B4-BE49-F238E27FC236}">
                <a16:creationId xmlns:a16="http://schemas.microsoft.com/office/drawing/2014/main" id="{F6DE5C53-AB04-6696-AEA3-C98FDC4138CC}"/>
              </a:ext>
            </a:extLst>
          </p:cNvPr>
          <p:cNvSpPr>
            <a:spLocks/>
          </p:cNvSpPr>
          <p:nvPr userDrawn="1"/>
        </p:nvSpPr>
        <p:spPr bwMode="gray">
          <a:xfrm>
            <a:off x="4551191" y="3299131"/>
            <a:ext cx="44217" cy="29912"/>
          </a:xfrm>
          <a:custGeom>
            <a:avLst/>
            <a:gdLst/>
            <a:ahLst/>
            <a:cxnLst>
              <a:cxn ang="0">
                <a:pos x="32" y="20"/>
              </a:cxn>
              <a:cxn ang="0">
                <a:pos x="32" y="20"/>
              </a:cxn>
              <a:cxn ang="0">
                <a:pos x="34" y="15"/>
              </a:cxn>
              <a:cxn ang="0">
                <a:pos x="34" y="0"/>
              </a:cxn>
              <a:cxn ang="0">
                <a:pos x="30" y="2"/>
              </a:cxn>
              <a:cxn ang="0">
                <a:pos x="7" y="2"/>
              </a:cxn>
              <a:cxn ang="0">
                <a:pos x="7" y="2"/>
              </a:cxn>
              <a:cxn ang="0">
                <a:pos x="8" y="2"/>
              </a:cxn>
              <a:cxn ang="0">
                <a:pos x="8" y="2"/>
              </a:cxn>
              <a:cxn ang="0">
                <a:pos x="8" y="5"/>
              </a:cxn>
              <a:cxn ang="0">
                <a:pos x="8" y="8"/>
              </a:cxn>
              <a:cxn ang="0">
                <a:pos x="7" y="10"/>
              </a:cxn>
              <a:cxn ang="0">
                <a:pos x="4" y="12"/>
              </a:cxn>
              <a:cxn ang="0">
                <a:pos x="4" y="12"/>
              </a:cxn>
              <a:cxn ang="0">
                <a:pos x="1" y="15"/>
              </a:cxn>
              <a:cxn ang="0">
                <a:pos x="0" y="16"/>
              </a:cxn>
              <a:cxn ang="0">
                <a:pos x="1" y="17"/>
              </a:cxn>
              <a:cxn ang="0">
                <a:pos x="2" y="19"/>
              </a:cxn>
              <a:cxn ang="0">
                <a:pos x="2" y="19"/>
              </a:cxn>
              <a:cxn ang="0">
                <a:pos x="4" y="19"/>
              </a:cxn>
              <a:cxn ang="0">
                <a:pos x="5" y="20"/>
              </a:cxn>
              <a:cxn ang="0">
                <a:pos x="4" y="23"/>
              </a:cxn>
              <a:cxn ang="0">
                <a:pos x="4" y="23"/>
              </a:cxn>
              <a:cxn ang="0">
                <a:pos x="11" y="22"/>
              </a:cxn>
              <a:cxn ang="0">
                <a:pos x="11" y="22"/>
              </a:cxn>
              <a:cxn ang="0">
                <a:pos x="32" y="20"/>
              </a:cxn>
              <a:cxn ang="0">
                <a:pos x="32" y="20"/>
              </a:cxn>
            </a:cxnLst>
            <a:rect l="0" t="0" r="r" b="b"/>
            <a:pathLst>
              <a:path w="34" h="23">
                <a:moveTo>
                  <a:pt x="32" y="20"/>
                </a:moveTo>
                <a:lnTo>
                  <a:pt x="32" y="20"/>
                </a:lnTo>
                <a:lnTo>
                  <a:pt x="34" y="15"/>
                </a:lnTo>
                <a:lnTo>
                  <a:pt x="34" y="0"/>
                </a:lnTo>
                <a:lnTo>
                  <a:pt x="30" y="2"/>
                </a:lnTo>
                <a:lnTo>
                  <a:pt x="7" y="2"/>
                </a:lnTo>
                <a:lnTo>
                  <a:pt x="7" y="2"/>
                </a:lnTo>
                <a:lnTo>
                  <a:pt x="8" y="2"/>
                </a:lnTo>
                <a:lnTo>
                  <a:pt x="8" y="2"/>
                </a:lnTo>
                <a:lnTo>
                  <a:pt x="8" y="5"/>
                </a:lnTo>
                <a:lnTo>
                  <a:pt x="8" y="8"/>
                </a:lnTo>
                <a:lnTo>
                  <a:pt x="7" y="10"/>
                </a:lnTo>
                <a:lnTo>
                  <a:pt x="4" y="12"/>
                </a:lnTo>
                <a:lnTo>
                  <a:pt x="4" y="12"/>
                </a:lnTo>
                <a:lnTo>
                  <a:pt x="1" y="15"/>
                </a:lnTo>
                <a:lnTo>
                  <a:pt x="0" y="16"/>
                </a:lnTo>
                <a:lnTo>
                  <a:pt x="1" y="17"/>
                </a:lnTo>
                <a:lnTo>
                  <a:pt x="2" y="19"/>
                </a:lnTo>
                <a:lnTo>
                  <a:pt x="2" y="19"/>
                </a:lnTo>
                <a:lnTo>
                  <a:pt x="4" y="19"/>
                </a:lnTo>
                <a:lnTo>
                  <a:pt x="5" y="20"/>
                </a:lnTo>
                <a:lnTo>
                  <a:pt x="4" y="23"/>
                </a:lnTo>
                <a:lnTo>
                  <a:pt x="4" y="23"/>
                </a:lnTo>
                <a:lnTo>
                  <a:pt x="11" y="22"/>
                </a:lnTo>
                <a:lnTo>
                  <a:pt x="11" y="22"/>
                </a:lnTo>
                <a:lnTo>
                  <a:pt x="32" y="20"/>
                </a:lnTo>
                <a:lnTo>
                  <a:pt x="32" y="2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39" name="Freeform 226">
            <a:extLst>
              <a:ext uri="{FF2B5EF4-FFF2-40B4-BE49-F238E27FC236}">
                <a16:creationId xmlns:a16="http://schemas.microsoft.com/office/drawing/2014/main" id="{4685F834-1BF3-F2F4-2735-73DFBDC3F76E}"/>
              </a:ext>
            </a:extLst>
          </p:cNvPr>
          <p:cNvSpPr>
            <a:spLocks/>
          </p:cNvSpPr>
          <p:nvPr userDrawn="1"/>
        </p:nvSpPr>
        <p:spPr bwMode="gray">
          <a:xfrm>
            <a:off x="4586305" y="3267919"/>
            <a:ext cx="145657" cy="184672"/>
          </a:xfrm>
          <a:custGeom>
            <a:avLst/>
            <a:gdLst/>
            <a:ahLst/>
            <a:cxnLst>
              <a:cxn ang="0">
                <a:pos x="35" y="137"/>
              </a:cxn>
              <a:cxn ang="0">
                <a:pos x="41" y="135"/>
              </a:cxn>
              <a:cxn ang="0">
                <a:pos x="54" y="134"/>
              </a:cxn>
              <a:cxn ang="0">
                <a:pos x="55" y="138"/>
              </a:cxn>
              <a:cxn ang="0">
                <a:pos x="61" y="135"/>
              </a:cxn>
              <a:cxn ang="0">
                <a:pos x="71" y="131"/>
              </a:cxn>
              <a:cxn ang="0">
                <a:pos x="72" y="121"/>
              </a:cxn>
              <a:cxn ang="0">
                <a:pos x="76" y="114"/>
              </a:cxn>
              <a:cxn ang="0">
                <a:pos x="78" y="87"/>
              </a:cxn>
              <a:cxn ang="0">
                <a:pos x="85" y="80"/>
              </a:cxn>
              <a:cxn ang="0">
                <a:pos x="92" y="70"/>
              </a:cxn>
              <a:cxn ang="0">
                <a:pos x="98" y="54"/>
              </a:cxn>
              <a:cxn ang="0">
                <a:pos x="104" y="36"/>
              </a:cxn>
              <a:cxn ang="0">
                <a:pos x="109" y="19"/>
              </a:cxn>
              <a:cxn ang="0">
                <a:pos x="112" y="7"/>
              </a:cxn>
              <a:cxn ang="0">
                <a:pos x="98" y="0"/>
              </a:cxn>
              <a:cxn ang="0">
                <a:pos x="82" y="4"/>
              </a:cxn>
              <a:cxn ang="0">
                <a:pos x="79" y="16"/>
              </a:cxn>
              <a:cxn ang="0">
                <a:pos x="75" y="26"/>
              </a:cxn>
              <a:cxn ang="0">
                <a:pos x="65" y="29"/>
              </a:cxn>
              <a:cxn ang="0">
                <a:pos x="52" y="24"/>
              </a:cxn>
              <a:cxn ang="0">
                <a:pos x="31" y="41"/>
              </a:cxn>
              <a:cxn ang="0">
                <a:pos x="34" y="41"/>
              </a:cxn>
              <a:cxn ang="0">
                <a:pos x="45" y="40"/>
              </a:cxn>
              <a:cxn ang="0">
                <a:pos x="49" y="44"/>
              </a:cxn>
              <a:cxn ang="0">
                <a:pos x="45" y="54"/>
              </a:cxn>
              <a:cxn ang="0">
                <a:pos x="42" y="60"/>
              </a:cxn>
              <a:cxn ang="0">
                <a:pos x="48" y="67"/>
              </a:cxn>
              <a:cxn ang="0">
                <a:pos x="52" y="84"/>
              </a:cxn>
              <a:cxn ang="0">
                <a:pos x="51" y="100"/>
              </a:cxn>
              <a:cxn ang="0">
                <a:pos x="48" y="103"/>
              </a:cxn>
              <a:cxn ang="0">
                <a:pos x="38" y="101"/>
              </a:cxn>
              <a:cxn ang="0">
                <a:pos x="34" y="100"/>
              </a:cxn>
              <a:cxn ang="0">
                <a:pos x="30" y="93"/>
              </a:cxn>
              <a:cxn ang="0">
                <a:pos x="24" y="93"/>
              </a:cxn>
              <a:cxn ang="0">
                <a:pos x="21" y="100"/>
              </a:cxn>
              <a:cxn ang="0">
                <a:pos x="15" y="100"/>
              </a:cxn>
              <a:cxn ang="0">
                <a:pos x="10" y="107"/>
              </a:cxn>
              <a:cxn ang="0">
                <a:pos x="12" y="115"/>
              </a:cxn>
              <a:cxn ang="0">
                <a:pos x="8" y="120"/>
              </a:cxn>
              <a:cxn ang="0">
                <a:pos x="0" y="124"/>
              </a:cxn>
              <a:cxn ang="0">
                <a:pos x="10" y="134"/>
              </a:cxn>
              <a:cxn ang="0">
                <a:pos x="25" y="137"/>
              </a:cxn>
            </a:cxnLst>
            <a:rect l="0" t="0" r="r" b="b"/>
            <a:pathLst>
              <a:path w="112" h="142">
                <a:moveTo>
                  <a:pt x="31" y="134"/>
                </a:moveTo>
                <a:lnTo>
                  <a:pt x="31" y="134"/>
                </a:lnTo>
                <a:lnTo>
                  <a:pt x="35" y="137"/>
                </a:lnTo>
                <a:lnTo>
                  <a:pt x="38" y="137"/>
                </a:lnTo>
                <a:lnTo>
                  <a:pt x="41" y="135"/>
                </a:lnTo>
                <a:lnTo>
                  <a:pt x="41" y="135"/>
                </a:lnTo>
                <a:lnTo>
                  <a:pt x="47" y="133"/>
                </a:lnTo>
                <a:lnTo>
                  <a:pt x="51" y="133"/>
                </a:lnTo>
                <a:lnTo>
                  <a:pt x="54" y="134"/>
                </a:lnTo>
                <a:lnTo>
                  <a:pt x="54" y="137"/>
                </a:lnTo>
                <a:lnTo>
                  <a:pt x="54" y="137"/>
                </a:lnTo>
                <a:lnTo>
                  <a:pt x="55" y="138"/>
                </a:lnTo>
                <a:lnTo>
                  <a:pt x="57" y="140"/>
                </a:lnTo>
                <a:lnTo>
                  <a:pt x="61" y="135"/>
                </a:lnTo>
                <a:lnTo>
                  <a:pt x="61" y="135"/>
                </a:lnTo>
                <a:lnTo>
                  <a:pt x="65" y="133"/>
                </a:lnTo>
                <a:lnTo>
                  <a:pt x="68" y="133"/>
                </a:lnTo>
                <a:lnTo>
                  <a:pt x="71" y="131"/>
                </a:lnTo>
                <a:lnTo>
                  <a:pt x="71" y="127"/>
                </a:lnTo>
                <a:lnTo>
                  <a:pt x="71" y="127"/>
                </a:lnTo>
                <a:lnTo>
                  <a:pt x="72" y="121"/>
                </a:lnTo>
                <a:lnTo>
                  <a:pt x="74" y="121"/>
                </a:lnTo>
                <a:lnTo>
                  <a:pt x="76" y="120"/>
                </a:lnTo>
                <a:lnTo>
                  <a:pt x="76" y="114"/>
                </a:lnTo>
                <a:lnTo>
                  <a:pt x="76" y="114"/>
                </a:lnTo>
                <a:lnTo>
                  <a:pt x="78" y="87"/>
                </a:lnTo>
                <a:lnTo>
                  <a:pt x="78" y="87"/>
                </a:lnTo>
                <a:lnTo>
                  <a:pt x="79" y="86"/>
                </a:lnTo>
                <a:lnTo>
                  <a:pt x="81" y="84"/>
                </a:lnTo>
                <a:lnTo>
                  <a:pt x="85" y="80"/>
                </a:lnTo>
                <a:lnTo>
                  <a:pt x="89" y="76"/>
                </a:lnTo>
                <a:lnTo>
                  <a:pt x="92" y="73"/>
                </a:lnTo>
                <a:lnTo>
                  <a:pt x="92" y="70"/>
                </a:lnTo>
                <a:lnTo>
                  <a:pt x="92" y="70"/>
                </a:lnTo>
                <a:lnTo>
                  <a:pt x="94" y="63"/>
                </a:lnTo>
                <a:lnTo>
                  <a:pt x="98" y="54"/>
                </a:lnTo>
                <a:lnTo>
                  <a:pt x="102" y="44"/>
                </a:lnTo>
                <a:lnTo>
                  <a:pt x="104" y="36"/>
                </a:lnTo>
                <a:lnTo>
                  <a:pt x="104" y="36"/>
                </a:lnTo>
                <a:lnTo>
                  <a:pt x="105" y="30"/>
                </a:lnTo>
                <a:lnTo>
                  <a:pt x="106" y="26"/>
                </a:lnTo>
                <a:lnTo>
                  <a:pt x="109" y="19"/>
                </a:lnTo>
                <a:lnTo>
                  <a:pt x="109" y="19"/>
                </a:lnTo>
                <a:lnTo>
                  <a:pt x="112" y="12"/>
                </a:lnTo>
                <a:lnTo>
                  <a:pt x="112" y="7"/>
                </a:lnTo>
                <a:lnTo>
                  <a:pt x="112" y="3"/>
                </a:lnTo>
                <a:lnTo>
                  <a:pt x="112" y="3"/>
                </a:lnTo>
                <a:lnTo>
                  <a:pt x="98" y="0"/>
                </a:lnTo>
                <a:lnTo>
                  <a:pt x="92" y="3"/>
                </a:lnTo>
                <a:lnTo>
                  <a:pt x="82" y="4"/>
                </a:lnTo>
                <a:lnTo>
                  <a:pt x="82" y="4"/>
                </a:lnTo>
                <a:lnTo>
                  <a:pt x="82" y="9"/>
                </a:lnTo>
                <a:lnTo>
                  <a:pt x="82" y="13"/>
                </a:lnTo>
                <a:lnTo>
                  <a:pt x="79" y="16"/>
                </a:lnTo>
                <a:lnTo>
                  <a:pt x="79" y="16"/>
                </a:lnTo>
                <a:lnTo>
                  <a:pt x="78" y="22"/>
                </a:lnTo>
                <a:lnTo>
                  <a:pt x="75" y="26"/>
                </a:lnTo>
                <a:lnTo>
                  <a:pt x="75" y="33"/>
                </a:lnTo>
                <a:lnTo>
                  <a:pt x="75" y="33"/>
                </a:lnTo>
                <a:lnTo>
                  <a:pt x="65" y="29"/>
                </a:lnTo>
                <a:lnTo>
                  <a:pt x="58" y="26"/>
                </a:lnTo>
                <a:lnTo>
                  <a:pt x="52" y="24"/>
                </a:lnTo>
                <a:lnTo>
                  <a:pt x="52" y="24"/>
                </a:lnTo>
                <a:lnTo>
                  <a:pt x="34" y="24"/>
                </a:lnTo>
                <a:lnTo>
                  <a:pt x="34" y="24"/>
                </a:lnTo>
                <a:lnTo>
                  <a:pt x="31" y="41"/>
                </a:lnTo>
                <a:lnTo>
                  <a:pt x="31" y="41"/>
                </a:lnTo>
                <a:lnTo>
                  <a:pt x="32" y="41"/>
                </a:lnTo>
                <a:lnTo>
                  <a:pt x="34" y="41"/>
                </a:lnTo>
                <a:lnTo>
                  <a:pt x="38" y="41"/>
                </a:lnTo>
                <a:lnTo>
                  <a:pt x="42" y="40"/>
                </a:lnTo>
                <a:lnTo>
                  <a:pt x="45" y="40"/>
                </a:lnTo>
                <a:lnTo>
                  <a:pt x="48" y="41"/>
                </a:lnTo>
                <a:lnTo>
                  <a:pt x="48" y="41"/>
                </a:lnTo>
                <a:lnTo>
                  <a:pt x="49" y="44"/>
                </a:lnTo>
                <a:lnTo>
                  <a:pt x="51" y="47"/>
                </a:lnTo>
                <a:lnTo>
                  <a:pt x="49" y="51"/>
                </a:lnTo>
                <a:lnTo>
                  <a:pt x="45" y="54"/>
                </a:lnTo>
                <a:lnTo>
                  <a:pt x="45" y="54"/>
                </a:lnTo>
                <a:lnTo>
                  <a:pt x="42" y="57"/>
                </a:lnTo>
                <a:lnTo>
                  <a:pt x="42" y="60"/>
                </a:lnTo>
                <a:lnTo>
                  <a:pt x="45" y="64"/>
                </a:lnTo>
                <a:lnTo>
                  <a:pt x="48" y="67"/>
                </a:lnTo>
                <a:lnTo>
                  <a:pt x="48" y="67"/>
                </a:lnTo>
                <a:lnTo>
                  <a:pt x="51" y="70"/>
                </a:lnTo>
                <a:lnTo>
                  <a:pt x="52" y="73"/>
                </a:lnTo>
                <a:lnTo>
                  <a:pt x="52" y="84"/>
                </a:lnTo>
                <a:lnTo>
                  <a:pt x="52" y="84"/>
                </a:lnTo>
                <a:lnTo>
                  <a:pt x="52" y="96"/>
                </a:lnTo>
                <a:lnTo>
                  <a:pt x="51" y="100"/>
                </a:lnTo>
                <a:lnTo>
                  <a:pt x="49" y="101"/>
                </a:lnTo>
                <a:lnTo>
                  <a:pt x="48" y="103"/>
                </a:lnTo>
                <a:lnTo>
                  <a:pt x="48" y="103"/>
                </a:lnTo>
                <a:lnTo>
                  <a:pt x="44" y="103"/>
                </a:lnTo>
                <a:lnTo>
                  <a:pt x="41" y="101"/>
                </a:lnTo>
                <a:lnTo>
                  <a:pt x="38" y="101"/>
                </a:lnTo>
                <a:lnTo>
                  <a:pt x="35" y="101"/>
                </a:lnTo>
                <a:lnTo>
                  <a:pt x="35" y="101"/>
                </a:lnTo>
                <a:lnTo>
                  <a:pt x="34" y="100"/>
                </a:lnTo>
                <a:lnTo>
                  <a:pt x="32" y="100"/>
                </a:lnTo>
                <a:lnTo>
                  <a:pt x="31" y="96"/>
                </a:lnTo>
                <a:lnTo>
                  <a:pt x="30" y="93"/>
                </a:lnTo>
                <a:lnTo>
                  <a:pt x="27" y="91"/>
                </a:lnTo>
                <a:lnTo>
                  <a:pt x="27" y="91"/>
                </a:lnTo>
                <a:lnTo>
                  <a:pt x="24" y="93"/>
                </a:lnTo>
                <a:lnTo>
                  <a:pt x="24" y="96"/>
                </a:lnTo>
                <a:lnTo>
                  <a:pt x="22" y="98"/>
                </a:lnTo>
                <a:lnTo>
                  <a:pt x="21" y="100"/>
                </a:lnTo>
                <a:lnTo>
                  <a:pt x="20" y="100"/>
                </a:lnTo>
                <a:lnTo>
                  <a:pt x="20" y="100"/>
                </a:lnTo>
                <a:lnTo>
                  <a:pt x="15" y="100"/>
                </a:lnTo>
                <a:lnTo>
                  <a:pt x="11" y="100"/>
                </a:lnTo>
                <a:lnTo>
                  <a:pt x="10" y="103"/>
                </a:lnTo>
                <a:lnTo>
                  <a:pt x="10" y="107"/>
                </a:lnTo>
                <a:lnTo>
                  <a:pt x="10" y="107"/>
                </a:lnTo>
                <a:lnTo>
                  <a:pt x="12" y="111"/>
                </a:lnTo>
                <a:lnTo>
                  <a:pt x="12" y="115"/>
                </a:lnTo>
                <a:lnTo>
                  <a:pt x="12" y="118"/>
                </a:lnTo>
                <a:lnTo>
                  <a:pt x="8" y="120"/>
                </a:lnTo>
                <a:lnTo>
                  <a:pt x="8" y="120"/>
                </a:lnTo>
                <a:lnTo>
                  <a:pt x="3" y="121"/>
                </a:lnTo>
                <a:lnTo>
                  <a:pt x="0" y="124"/>
                </a:lnTo>
                <a:lnTo>
                  <a:pt x="0" y="124"/>
                </a:lnTo>
                <a:lnTo>
                  <a:pt x="3" y="125"/>
                </a:lnTo>
                <a:lnTo>
                  <a:pt x="3" y="125"/>
                </a:lnTo>
                <a:lnTo>
                  <a:pt x="10" y="134"/>
                </a:lnTo>
                <a:lnTo>
                  <a:pt x="15" y="142"/>
                </a:lnTo>
                <a:lnTo>
                  <a:pt x="15" y="142"/>
                </a:lnTo>
                <a:lnTo>
                  <a:pt x="25" y="137"/>
                </a:lnTo>
                <a:lnTo>
                  <a:pt x="31" y="134"/>
                </a:lnTo>
                <a:lnTo>
                  <a:pt x="31" y="13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40" name="Freeform 227">
            <a:extLst>
              <a:ext uri="{FF2B5EF4-FFF2-40B4-BE49-F238E27FC236}">
                <a16:creationId xmlns:a16="http://schemas.microsoft.com/office/drawing/2014/main" id="{CD7A60A8-9747-7B05-64CC-3E5C75B86555}"/>
              </a:ext>
            </a:extLst>
          </p:cNvPr>
          <p:cNvSpPr>
            <a:spLocks/>
          </p:cNvSpPr>
          <p:nvPr userDrawn="1"/>
        </p:nvSpPr>
        <p:spPr bwMode="gray">
          <a:xfrm>
            <a:off x="4802190" y="2846553"/>
            <a:ext cx="342034" cy="425267"/>
          </a:xfrm>
          <a:custGeom>
            <a:avLst/>
            <a:gdLst/>
            <a:ahLst/>
            <a:cxnLst>
              <a:cxn ang="0">
                <a:pos x="204" y="13"/>
              </a:cxn>
              <a:cxn ang="0">
                <a:pos x="194" y="20"/>
              </a:cxn>
              <a:cxn ang="0">
                <a:pos x="185" y="25"/>
              </a:cxn>
              <a:cxn ang="0">
                <a:pos x="155" y="18"/>
              </a:cxn>
              <a:cxn ang="0">
                <a:pos x="47" y="23"/>
              </a:cxn>
              <a:cxn ang="0">
                <a:pos x="33" y="108"/>
              </a:cxn>
              <a:cxn ang="0">
                <a:pos x="23" y="128"/>
              </a:cxn>
              <a:cxn ang="0">
                <a:pos x="16" y="141"/>
              </a:cxn>
              <a:cxn ang="0">
                <a:pos x="9" y="146"/>
              </a:cxn>
              <a:cxn ang="0">
                <a:pos x="3" y="155"/>
              </a:cxn>
              <a:cxn ang="0">
                <a:pos x="3" y="166"/>
              </a:cxn>
              <a:cxn ang="0">
                <a:pos x="2" y="176"/>
              </a:cxn>
              <a:cxn ang="0">
                <a:pos x="7" y="188"/>
              </a:cxn>
              <a:cxn ang="0">
                <a:pos x="13" y="205"/>
              </a:cxn>
              <a:cxn ang="0">
                <a:pos x="29" y="227"/>
              </a:cxn>
              <a:cxn ang="0">
                <a:pos x="24" y="237"/>
              </a:cxn>
              <a:cxn ang="0">
                <a:pos x="33" y="246"/>
              </a:cxn>
              <a:cxn ang="0">
                <a:pos x="51" y="259"/>
              </a:cxn>
              <a:cxn ang="0">
                <a:pos x="56" y="266"/>
              </a:cxn>
              <a:cxn ang="0">
                <a:pos x="68" y="282"/>
              </a:cxn>
              <a:cxn ang="0">
                <a:pos x="84" y="300"/>
              </a:cxn>
              <a:cxn ang="0">
                <a:pos x="90" y="307"/>
              </a:cxn>
              <a:cxn ang="0">
                <a:pos x="101" y="313"/>
              </a:cxn>
              <a:cxn ang="0">
                <a:pos x="114" y="313"/>
              </a:cxn>
              <a:cxn ang="0">
                <a:pos x="121" y="310"/>
              </a:cxn>
              <a:cxn ang="0">
                <a:pos x="152" y="323"/>
              </a:cxn>
              <a:cxn ang="0">
                <a:pos x="162" y="326"/>
              </a:cxn>
              <a:cxn ang="0">
                <a:pos x="179" y="323"/>
              </a:cxn>
              <a:cxn ang="0">
                <a:pos x="189" y="317"/>
              </a:cxn>
              <a:cxn ang="0">
                <a:pos x="196" y="309"/>
              </a:cxn>
              <a:cxn ang="0">
                <a:pos x="213" y="306"/>
              </a:cxn>
              <a:cxn ang="0">
                <a:pos x="219" y="296"/>
              </a:cxn>
              <a:cxn ang="0">
                <a:pos x="206" y="289"/>
              </a:cxn>
              <a:cxn ang="0">
                <a:pos x="191" y="269"/>
              </a:cxn>
              <a:cxn ang="0">
                <a:pos x="177" y="259"/>
              </a:cxn>
              <a:cxn ang="0">
                <a:pos x="177" y="252"/>
              </a:cxn>
              <a:cxn ang="0">
                <a:pos x="184" y="245"/>
              </a:cxn>
              <a:cxn ang="0">
                <a:pos x="192" y="227"/>
              </a:cxn>
              <a:cxn ang="0">
                <a:pos x="196" y="212"/>
              </a:cxn>
              <a:cxn ang="0">
                <a:pos x="204" y="205"/>
              </a:cxn>
              <a:cxn ang="0">
                <a:pos x="209" y="189"/>
              </a:cxn>
              <a:cxn ang="0">
                <a:pos x="221" y="178"/>
              </a:cxn>
              <a:cxn ang="0">
                <a:pos x="226" y="166"/>
              </a:cxn>
              <a:cxn ang="0">
                <a:pos x="229" y="139"/>
              </a:cxn>
              <a:cxn ang="0">
                <a:pos x="239" y="117"/>
              </a:cxn>
              <a:cxn ang="0">
                <a:pos x="248" y="104"/>
              </a:cxn>
              <a:cxn ang="0">
                <a:pos x="263" y="89"/>
              </a:cxn>
              <a:cxn ang="0">
                <a:pos x="246" y="72"/>
              </a:cxn>
              <a:cxn ang="0">
                <a:pos x="242" y="40"/>
              </a:cxn>
              <a:cxn ang="0">
                <a:pos x="231" y="17"/>
              </a:cxn>
              <a:cxn ang="0">
                <a:pos x="218" y="4"/>
              </a:cxn>
              <a:cxn ang="0">
                <a:pos x="212" y="7"/>
              </a:cxn>
            </a:cxnLst>
            <a:rect l="0" t="0" r="r" b="b"/>
            <a:pathLst>
              <a:path w="263" h="327">
                <a:moveTo>
                  <a:pt x="208" y="7"/>
                </a:moveTo>
                <a:lnTo>
                  <a:pt x="208" y="7"/>
                </a:lnTo>
                <a:lnTo>
                  <a:pt x="206" y="7"/>
                </a:lnTo>
                <a:lnTo>
                  <a:pt x="205" y="8"/>
                </a:lnTo>
                <a:lnTo>
                  <a:pt x="204" y="13"/>
                </a:lnTo>
                <a:lnTo>
                  <a:pt x="201" y="17"/>
                </a:lnTo>
                <a:lnTo>
                  <a:pt x="199" y="18"/>
                </a:lnTo>
                <a:lnTo>
                  <a:pt x="198" y="18"/>
                </a:lnTo>
                <a:lnTo>
                  <a:pt x="198" y="18"/>
                </a:lnTo>
                <a:lnTo>
                  <a:pt x="194" y="20"/>
                </a:lnTo>
                <a:lnTo>
                  <a:pt x="191" y="23"/>
                </a:lnTo>
                <a:lnTo>
                  <a:pt x="191" y="24"/>
                </a:lnTo>
                <a:lnTo>
                  <a:pt x="188" y="25"/>
                </a:lnTo>
                <a:lnTo>
                  <a:pt x="188" y="25"/>
                </a:lnTo>
                <a:lnTo>
                  <a:pt x="185" y="25"/>
                </a:lnTo>
                <a:lnTo>
                  <a:pt x="182" y="24"/>
                </a:lnTo>
                <a:lnTo>
                  <a:pt x="179" y="21"/>
                </a:lnTo>
                <a:lnTo>
                  <a:pt x="158" y="21"/>
                </a:lnTo>
                <a:lnTo>
                  <a:pt x="158" y="21"/>
                </a:lnTo>
                <a:lnTo>
                  <a:pt x="155" y="18"/>
                </a:lnTo>
                <a:lnTo>
                  <a:pt x="154" y="18"/>
                </a:lnTo>
                <a:lnTo>
                  <a:pt x="151" y="18"/>
                </a:lnTo>
                <a:lnTo>
                  <a:pt x="151" y="18"/>
                </a:lnTo>
                <a:lnTo>
                  <a:pt x="145" y="23"/>
                </a:lnTo>
                <a:lnTo>
                  <a:pt x="47" y="23"/>
                </a:lnTo>
                <a:lnTo>
                  <a:pt x="47" y="23"/>
                </a:lnTo>
                <a:lnTo>
                  <a:pt x="47" y="55"/>
                </a:lnTo>
                <a:lnTo>
                  <a:pt x="33" y="55"/>
                </a:lnTo>
                <a:lnTo>
                  <a:pt x="33" y="108"/>
                </a:lnTo>
                <a:lnTo>
                  <a:pt x="33" y="108"/>
                </a:lnTo>
                <a:lnTo>
                  <a:pt x="33" y="117"/>
                </a:lnTo>
                <a:lnTo>
                  <a:pt x="31" y="122"/>
                </a:lnTo>
                <a:lnTo>
                  <a:pt x="30" y="125"/>
                </a:lnTo>
                <a:lnTo>
                  <a:pt x="30" y="125"/>
                </a:lnTo>
                <a:lnTo>
                  <a:pt x="23" y="128"/>
                </a:lnTo>
                <a:lnTo>
                  <a:pt x="19" y="131"/>
                </a:lnTo>
                <a:lnTo>
                  <a:pt x="17" y="132"/>
                </a:lnTo>
                <a:lnTo>
                  <a:pt x="17" y="134"/>
                </a:lnTo>
                <a:lnTo>
                  <a:pt x="17" y="134"/>
                </a:lnTo>
                <a:lnTo>
                  <a:pt x="16" y="141"/>
                </a:lnTo>
                <a:lnTo>
                  <a:pt x="13" y="142"/>
                </a:lnTo>
                <a:lnTo>
                  <a:pt x="10" y="144"/>
                </a:lnTo>
                <a:lnTo>
                  <a:pt x="10" y="144"/>
                </a:lnTo>
                <a:lnTo>
                  <a:pt x="9" y="145"/>
                </a:lnTo>
                <a:lnTo>
                  <a:pt x="9" y="146"/>
                </a:lnTo>
                <a:lnTo>
                  <a:pt x="7" y="151"/>
                </a:lnTo>
                <a:lnTo>
                  <a:pt x="7" y="154"/>
                </a:lnTo>
                <a:lnTo>
                  <a:pt x="6" y="155"/>
                </a:lnTo>
                <a:lnTo>
                  <a:pt x="3" y="155"/>
                </a:lnTo>
                <a:lnTo>
                  <a:pt x="3" y="155"/>
                </a:lnTo>
                <a:lnTo>
                  <a:pt x="2" y="156"/>
                </a:lnTo>
                <a:lnTo>
                  <a:pt x="2" y="156"/>
                </a:lnTo>
                <a:lnTo>
                  <a:pt x="2" y="161"/>
                </a:lnTo>
                <a:lnTo>
                  <a:pt x="3" y="163"/>
                </a:lnTo>
                <a:lnTo>
                  <a:pt x="3" y="166"/>
                </a:lnTo>
                <a:lnTo>
                  <a:pt x="3" y="168"/>
                </a:lnTo>
                <a:lnTo>
                  <a:pt x="3" y="168"/>
                </a:lnTo>
                <a:lnTo>
                  <a:pt x="0" y="171"/>
                </a:lnTo>
                <a:lnTo>
                  <a:pt x="0" y="173"/>
                </a:lnTo>
                <a:lnTo>
                  <a:pt x="2" y="176"/>
                </a:lnTo>
                <a:lnTo>
                  <a:pt x="4" y="176"/>
                </a:lnTo>
                <a:lnTo>
                  <a:pt x="4" y="176"/>
                </a:lnTo>
                <a:lnTo>
                  <a:pt x="7" y="178"/>
                </a:lnTo>
                <a:lnTo>
                  <a:pt x="9" y="181"/>
                </a:lnTo>
                <a:lnTo>
                  <a:pt x="7" y="188"/>
                </a:lnTo>
                <a:lnTo>
                  <a:pt x="7" y="188"/>
                </a:lnTo>
                <a:lnTo>
                  <a:pt x="9" y="192"/>
                </a:lnTo>
                <a:lnTo>
                  <a:pt x="11" y="195"/>
                </a:lnTo>
                <a:lnTo>
                  <a:pt x="16" y="198"/>
                </a:lnTo>
                <a:lnTo>
                  <a:pt x="13" y="205"/>
                </a:lnTo>
                <a:lnTo>
                  <a:pt x="13" y="205"/>
                </a:lnTo>
                <a:lnTo>
                  <a:pt x="19" y="212"/>
                </a:lnTo>
                <a:lnTo>
                  <a:pt x="26" y="220"/>
                </a:lnTo>
                <a:lnTo>
                  <a:pt x="26" y="220"/>
                </a:lnTo>
                <a:lnTo>
                  <a:pt x="29" y="227"/>
                </a:lnTo>
                <a:lnTo>
                  <a:pt x="29" y="232"/>
                </a:lnTo>
                <a:lnTo>
                  <a:pt x="29" y="233"/>
                </a:lnTo>
                <a:lnTo>
                  <a:pt x="26" y="235"/>
                </a:lnTo>
                <a:lnTo>
                  <a:pt x="26" y="235"/>
                </a:lnTo>
                <a:lnTo>
                  <a:pt x="24" y="237"/>
                </a:lnTo>
                <a:lnTo>
                  <a:pt x="23" y="239"/>
                </a:lnTo>
                <a:lnTo>
                  <a:pt x="24" y="240"/>
                </a:lnTo>
                <a:lnTo>
                  <a:pt x="31" y="242"/>
                </a:lnTo>
                <a:lnTo>
                  <a:pt x="33" y="246"/>
                </a:lnTo>
                <a:lnTo>
                  <a:pt x="33" y="246"/>
                </a:lnTo>
                <a:lnTo>
                  <a:pt x="39" y="247"/>
                </a:lnTo>
                <a:lnTo>
                  <a:pt x="43" y="249"/>
                </a:lnTo>
                <a:lnTo>
                  <a:pt x="46" y="253"/>
                </a:lnTo>
                <a:lnTo>
                  <a:pt x="46" y="253"/>
                </a:lnTo>
                <a:lnTo>
                  <a:pt x="51" y="259"/>
                </a:lnTo>
                <a:lnTo>
                  <a:pt x="53" y="260"/>
                </a:lnTo>
                <a:lnTo>
                  <a:pt x="53" y="263"/>
                </a:lnTo>
                <a:lnTo>
                  <a:pt x="53" y="263"/>
                </a:lnTo>
                <a:lnTo>
                  <a:pt x="54" y="264"/>
                </a:lnTo>
                <a:lnTo>
                  <a:pt x="56" y="266"/>
                </a:lnTo>
                <a:lnTo>
                  <a:pt x="63" y="272"/>
                </a:lnTo>
                <a:lnTo>
                  <a:pt x="63" y="272"/>
                </a:lnTo>
                <a:lnTo>
                  <a:pt x="67" y="274"/>
                </a:lnTo>
                <a:lnTo>
                  <a:pt x="68" y="277"/>
                </a:lnTo>
                <a:lnTo>
                  <a:pt x="68" y="282"/>
                </a:lnTo>
                <a:lnTo>
                  <a:pt x="68" y="282"/>
                </a:lnTo>
                <a:lnTo>
                  <a:pt x="71" y="284"/>
                </a:lnTo>
                <a:lnTo>
                  <a:pt x="74" y="287"/>
                </a:lnTo>
                <a:lnTo>
                  <a:pt x="80" y="290"/>
                </a:lnTo>
                <a:lnTo>
                  <a:pt x="84" y="300"/>
                </a:lnTo>
                <a:lnTo>
                  <a:pt x="84" y="300"/>
                </a:lnTo>
                <a:lnTo>
                  <a:pt x="85" y="301"/>
                </a:lnTo>
                <a:lnTo>
                  <a:pt x="88" y="303"/>
                </a:lnTo>
                <a:lnTo>
                  <a:pt x="88" y="303"/>
                </a:lnTo>
                <a:lnTo>
                  <a:pt x="90" y="307"/>
                </a:lnTo>
                <a:lnTo>
                  <a:pt x="93" y="310"/>
                </a:lnTo>
                <a:lnTo>
                  <a:pt x="94" y="311"/>
                </a:lnTo>
                <a:lnTo>
                  <a:pt x="94" y="311"/>
                </a:lnTo>
                <a:lnTo>
                  <a:pt x="98" y="313"/>
                </a:lnTo>
                <a:lnTo>
                  <a:pt x="101" y="313"/>
                </a:lnTo>
                <a:lnTo>
                  <a:pt x="104" y="311"/>
                </a:lnTo>
                <a:lnTo>
                  <a:pt x="104" y="311"/>
                </a:lnTo>
                <a:lnTo>
                  <a:pt x="108" y="310"/>
                </a:lnTo>
                <a:lnTo>
                  <a:pt x="111" y="310"/>
                </a:lnTo>
                <a:lnTo>
                  <a:pt x="114" y="313"/>
                </a:lnTo>
                <a:lnTo>
                  <a:pt x="114" y="313"/>
                </a:lnTo>
                <a:lnTo>
                  <a:pt x="117" y="311"/>
                </a:lnTo>
                <a:lnTo>
                  <a:pt x="118" y="310"/>
                </a:lnTo>
                <a:lnTo>
                  <a:pt x="121" y="310"/>
                </a:lnTo>
                <a:lnTo>
                  <a:pt x="121" y="310"/>
                </a:lnTo>
                <a:lnTo>
                  <a:pt x="140" y="326"/>
                </a:lnTo>
                <a:lnTo>
                  <a:pt x="140" y="326"/>
                </a:lnTo>
                <a:lnTo>
                  <a:pt x="145" y="324"/>
                </a:lnTo>
                <a:lnTo>
                  <a:pt x="152" y="323"/>
                </a:lnTo>
                <a:lnTo>
                  <a:pt x="152" y="323"/>
                </a:lnTo>
                <a:lnTo>
                  <a:pt x="155" y="323"/>
                </a:lnTo>
                <a:lnTo>
                  <a:pt x="158" y="326"/>
                </a:lnTo>
                <a:lnTo>
                  <a:pt x="159" y="327"/>
                </a:lnTo>
                <a:lnTo>
                  <a:pt x="162" y="326"/>
                </a:lnTo>
                <a:lnTo>
                  <a:pt x="162" y="326"/>
                </a:lnTo>
                <a:lnTo>
                  <a:pt x="167" y="323"/>
                </a:lnTo>
                <a:lnTo>
                  <a:pt x="171" y="321"/>
                </a:lnTo>
                <a:lnTo>
                  <a:pt x="174" y="323"/>
                </a:lnTo>
                <a:lnTo>
                  <a:pt x="174" y="323"/>
                </a:lnTo>
                <a:lnTo>
                  <a:pt x="179" y="323"/>
                </a:lnTo>
                <a:lnTo>
                  <a:pt x="182" y="323"/>
                </a:lnTo>
                <a:lnTo>
                  <a:pt x="184" y="321"/>
                </a:lnTo>
                <a:lnTo>
                  <a:pt x="184" y="321"/>
                </a:lnTo>
                <a:lnTo>
                  <a:pt x="185" y="319"/>
                </a:lnTo>
                <a:lnTo>
                  <a:pt x="189" y="317"/>
                </a:lnTo>
                <a:lnTo>
                  <a:pt x="189" y="317"/>
                </a:lnTo>
                <a:lnTo>
                  <a:pt x="191" y="314"/>
                </a:lnTo>
                <a:lnTo>
                  <a:pt x="191" y="314"/>
                </a:lnTo>
                <a:lnTo>
                  <a:pt x="192" y="311"/>
                </a:lnTo>
                <a:lnTo>
                  <a:pt x="196" y="309"/>
                </a:lnTo>
                <a:lnTo>
                  <a:pt x="204" y="306"/>
                </a:lnTo>
                <a:lnTo>
                  <a:pt x="204" y="306"/>
                </a:lnTo>
                <a:lnTo>
                  <a:pt x="209" y="304"/>
                </a:lnTo>
                <a:lnTo>
                  <a:pt x="212" y="306"/>
                </a:lnTo>
                <a:lnTo>
                  <a:pt x="213" y="306"/>
                </a:lnTo>
                <a:lnTo>
                  <a:pt x="213" y="306"/>
                </a:lnTo>
                <a:lnTo>
                  <a:pt x="218" y="309"/>
                </a:lnTo>
                <a:lnTo>
                  <a:pt x="218" y="309"/>
                </a:lnTo>
                <a:lnTo>
                  <a:pt x="219" y="299"/>
                </a:lnTo>
                <a:lnTo>
                  <a:pt x="219" y="296"/>
                </a:lnTo>
                <a:lnTo>
                  <a:pt x="218" y="294"/>
                </a:lnTo>
                <a:lnTo>
                  <a:pt x="218" y="294"/>
                </a:lnTo>
                <a:lnTo>
                  <a:pt x="213" y="294"/>
                </a:lnTo>
                <a:lnTo>
                  <a:pt x="209" y="292"/>
                </a:lnTo>
                <a:lnTo>
                  <a:pt x="206" y="289"/>
                </a:lnTo>
                <a:lnTo>
                  <a:pt x="202" y="283"/>
                </a:lnTo>
                <a:lnTo>
                  <a:pt x="202" y="283"/>
                </a:lnTo>
                <a:lnTo>
                  <a:pt x="199" y="277"/>
                </a:lnTo>
                <a:lnTo>
                  <a:pt x="195" y="273"/>
                </a:lnTo>
                <a:lnTo>
                  <a:pt x="191" y="269"/>
                </a:lnTo>
                <a:lnTo>
                  <a:pt x="189" y="264"/>
                </a:lnTo>
                <a:lnTo>
                  <a:pt x="189" y="264"/>
                </a:lnTo>
                <a:lnTo>
                  <a:pt x="186" y="262"/>
                </a:lnTo>
                <a:lnTo>
                  <a:pt x="181" y="260"/>
                </a:lnTo>
                <a:lnTo>
                  <a:pt x="177" y="259"/>
                </a:lnTo>
                <a:lnTo>
                  <a:pt x="174" y="257"/>
                </a:lnTo>
                <a:lnTo>
                  <a:pt x="174" y="257"/>
                </a:lnTo>
                <a:lnTo>
                  <a:pt x="174" y="255"/>
                </a:lnTo>
                <a:lnTo>
                  <a:pt x="175" y="253"/>
                </a:lnTo>
                <a:lnTo>
                  <a:pt x="177" y="252"/>
                </a:lnTo>
                <a:lnTo>
                  <a:pt x="177" y="247"/>
                </a:lnTo>
                <a:lnTo>
                  <a:pt x="177" y="247"/>
                </a:lnTo>
                <a:lnTo>
                  <a:pt x="178" y="246"/>
                </a:lnTo>
                <a:lnTo>
                  <a:pt x="179" y="246"/>
                </a:lnTo>
                <a:lnTo>
                  <a:pt x="184" y="245"/>
                </a:lnTo>
                <a:lnTo>
                  <a:pt x="189" y="245"/>
                </a:lnTo>
                <a:lnTo>
                  <a:pt x="189" y="245"/>
                </a:lnTo>
                <a:lnTo>
                  <a:pt x="191" y="237"/>
                </a:lnTo>
                <a:lnTo>
                  <a:pt x="192" y="227"/>
                </a:lnTo>
                <a:lnTo>
                  <a:pt x="192" y="227"/>
                </a:lnTo>
                <a:lnTo>
                  <a:pt x="194" y="223"/>
                </a:lnTo>
                <a:lnTo>
                  <a:pt x="195" y="219"/>
                </a:lnTo>
                <a:lnTo>
                  <a:pt x="198" y="215"/>
                </a:lnTo>
                <a:lnTo>
                  <a:pt x="198" y="213"/>
                </a:lnTo>
                <a:lnTo>
                  <a:pt x="196" y="212"/>
                </a:lnTo>
                <a:lnTo>
                  <a:pt x="196" y="212"/>
                </a:lnTo>
                <a:lnTo>
                  <a:pt x="196" y="210"/>
                </a:lnTo>
                <a:lnTo>
                  <a:pt x="198" y="209"/>
                </a:lnTo>
                <a:lnTo>
                  <a:pt x="204" y="205"/>
                </a:lnTo>
                <a:lnTo>
                  <a:pt x="204" y="205"/>
                </a:lnTo>
                <a:lnTo>
                  <a:pt x="205" y="202"/>
                </a:lnTo>
                <a:lnTo>
                  <a:pt x="206" y="198"/>
                </a:lnTo>
                <a:lnTo>
                  <a:pt x="206" y="193"/>
                </a:lnTo>
                <a:lnTo>
                  <a:pt x="209" y="189"/>
                </a:lnTo>
                <a:lnTo>
                  <a:pt x="209" y="189"/>
                </a:lnTo>
                <a:lnTo>
                  <a:pt x="213" y="182"/>
                </a:lnTo>
                <a:lnTo>
                  <a:pt x="216" y="179"/>
                </a:lnTo>
                <a:lnTo>
                  <a:pt x="219" y="178"/>
                </a:lnTo>
                <a:lnTo>
                  <a:pt x="219" y="178"/>
                </a:lnTo>
                <a:lnTo>
                  <a:pt x="221" y="178"/>
                </a:lnTo>
                <a:lnTo>
                  <a:pt x="223" y="175"/>
                </a:lnTo>
                <a:lnTo>
                  <a:pt x="225" y="172"/>
                </a:lnTo>
                <a:lnTo>
                  <a:pt x="225" y="169"/>
                </a:lnTo>
                <a:lnTo>
                  <a:pt x="225" y="169"/>
                </a:lnTo>
                <a:lnTo>
                  <a:pt x="226" y="166"/>
                </a:lnTo>
                <a:lnTo>
                  <a:pt x="229" y="162"/>
                </a:lnTo>
                <a:lnTo>
                  <a:pt x="231" y="156"/>
                </a:lnTo>
                <a:lnTo>
                  <a:pt x="232" y="151"/>
                </a:lnTo>
                <a:lnTo>
                  <a:pt x="232" y="151"/>
                </a:lnTo>
                <a:lnTo>
                  <a:pt x="229" y="139"/>
                </a:lnTo>
                <a:lnTo>
                  <a:pt x="231" y="134"/>
                </a:lnTo>
                <a:lnTo>
                  <a:pt x="232" y="129"/>
                </a:lnTo>
                <a:lnTo>
                  <a:pt x="232" y="129"/>
                </a:lnTo>
                <a:lnTo>
                  <a:pt x="238" y="121"/>
                </a:lnTo>
                <a:lnTo>
                  <a:pt x="239" y="117"/>
                </a:lnTo>
                <a:lnTo>
                  <a:pt x="238" y="114"/>
                </a:lnTo>
                <a:lnTo>
                  <a:pt x="238" y="114"/>
                </a:lnTo>
                <a:lnTo>
                  <a:pt x="239" y="111"/>
                </a:lnTo>
                <a:lnTo>
                  <a:pt x="242" y="108"/>
                </a:lnTo>
                <a:lnTo>
                  <a:pt x="248" y="104"/>
                </a:lnTo>
                <a:lnTo>
                  <a:pt x="248" y="104"/>
                </a:lnTo>
                <a:lnTo>
                  <a:pt x="253" y="99"/>
                </a:lnTo>
                <a:lnTo>
                  <a:pt x="258" y="95"/>
                </a:lnTo>
                <a:lnTo>
                  <a:pt x="263" y="89"/>
                </a:lnTo>
                <a:lnTo>
                  <a:pt x="263" y="89"/>
                </a:lnTo>
                <a:lnTo>
                  <a:pt x="258" y="84"/>
                </a:lnTo>
                <a:lnTo>
                  <a:pt x="253" y="81"/>
                </a:lnTo>
                <a:lnTo>
                  <a:pt x="253" y="81"/>
                </a:lnTo>
                <a:lnTo>
                  <a:pt x="249" y="78"/>
                </a:lnTo>
                <a:lnTo>
                  <a:pt x="246" y="72"/>
                </a:lnTo>
                <a:lnTo>
                  <a:pt x="243" y="64"/>
                </a:lnTo>
                <a:lnTo>
                  <a:pt x="243" y="55"/>
                </a:lnTo>
                <a:lnTo>
                  <a:pt x="243" y="55"/>
                </a:lnTo>
                <a:lnTo>
                  <a:pt x="243" y="47"/>
                </a:lnTo>
                <a:lnTo>
                  <a:pt x="242" y="40"/>
                </a:lnTo>
                <a:lnTo>
                  <a:pt x="239" y="30"/>
                </a:lnTo>
                <a:lnTo>
                  <a:pt x="239" y="30"/>
                </a:lnTo>
                <a:lnTo>
                  <a:pt x="238" y="25"/>
                </a:lnTo>
                <a:lnTo>
                  <a:pt x="235" y="21"/>
                </a:lnTo>
                <a:lnTo>
                  <a:pt x="231" y="17"/>
                </a:lnTo>
                <a:lnTo>
                  <a:pt x="226" y="13"/>
                </a:lnTo>
                <a:lnTo>
                  <a:pt x="226" y="13"/>
                </a:lnTo>
                <a:lnTo>
                  <a:pt x="222" y="10"/>
                </a:lnTo>
                <a:lnTo>
                  <a:pt x="219" y="7"/>
                </a:lnTo>
                <a:lnTo>
                  <a:pt x="218" y="4"/>
                </a:lnTo>
                <a:lnTo>
                  <a:pt x="216" y="0"/>
                </a:lnTo>
                <a:lnTo>
                  <a:pt x="216" y="0"/>
                </a:lnTo>
                <a:lnTo>
                  <a:pt x="216" y="1"/>
                </a:lnTo>
                <a:lnTo>
                  <a:pt x="216" y="1"/>
                </a:lnTo>
                <a:lnTo>
                  <a:pt x="212" y="7"/>
                </a:lnTo>
                <a:lnTo>
                  <a:pt x="208" y="7"/>
                </a:lnTo>
                <a:lnTo>
                  <a:pt x="208" y="7"/>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41" name="Freeform 228">
            <a:extLst>
              <a:ext uri="{FF2B5EF4-FFF2-40B4-BE49-F238E27FC236}">
                <a16:creationId xmlns:a16="http://schemas.microsoft.com/office/drawing/2014/main" id="{66CE2FB4-9910-E794-D0F5-2F2500E081FA}"/>
              </a:ext>
            </a:extLst>
          </p:cNvPr>
          <p:cNvSpPr>
            <a:spLocks/>
          </p:cNvSpPr>
          <p:nvPr userDrawn="1"/>
        </p:nvSpPr>
        <p:spPr bwMode="gray">
          <a:xfrm>
            <a:off x="5210549" y="3078044"/>
            <a:ext cx="36415" cy="40316"/>
          </a:xfrm>
          <a:custGeom>
            <a:avLst/>
            <a:gdLst/>
            <a:ahLst/>
            <a:cxnLst>
              <a:cxn ang="0">
                <a:pos x="10" y="4"/>
              </a:cxn>
              <a:cxn ang="0">
                <a:pos x="10" y="4"/>
              </a:cxn>
              <a:cxn ang="0">
                <a:pos x="2" y="15"/>
              </a:cxn>
              <a:cxn ang="0">
                <a:pos x="2" y="15"/>
              </a:cxn>
              <a:cxn ang="0">
                <a:pos x="0" y="18"/>
              </a:cxn>
              <a:cxn ang="0">
                <a:pos x="0" y="22"/>
              </a:cxn>
              <a:cxn ang="0">
                <a:pos x="2" y="28"/>
              </a:cxn>
              <a:cxn ang="0">
                <a:pos x="2" y="28"/>
              </a:cxn>
              <a:cxn ang="0">
                <a:pos x="3" y="30"/>
              </a:cxn>
              <a:cxn ang="0">
                <a:pos x="6" y="30"/>
              </a:cxn>
              <a:cxn ang="0">
                <a:pos x="10" y="28"/>
              </a:cxn>
              <a:cxn ang="0">
                <a:pos x="10" y="28"/>
              </a:cxn>
              <a:cxn ang="0">
                <a:pos x="12" y="27"/>
              </a:cxn>
              <a:cxn ang="0">
                <a:pos x="15" y="28"/>
              </a:cxn>
              <a:cxn ang="0">
                <a:pos x="19" y="31"/>
              </a:cxn>
              <a:cxn ang="0">
                <a:pos x="19" y="31"/>
              </a:cxn>
              <a:cxn ang="0">
                <a:pos x="25" y="22"/>
              </a:cxn>
              <a:cxn ang="0">
                <a:pos x="25" y="22"/>
              </a:cxn>
              <a:cxn ang="0">
                <a:pos x="16" y="20"/>
              </a:cxn>
              <a:cxn ang="0">
                <a:pos x="16" y="20"/>
              </a:cxn>
              <a:cxn ang="0">
                <a:pos x="16" y="17"/>
              </a:cxn>
              <a:cxn ang="0">
                <a:pos x="19" y="15"/>
              </a:cxn>
              <a:cxn ang="0">
                <a:pos x="26" y="11"/>
              </a:cxn>
              <a:cxn ang="0">
                <a:pos x="26" y="11"/>
              </a:cxn>
              <a:cxn ang="0">
                <a:pos x="28" y="10"/>
              </a:cxn>
              <a:cxn ang="0">
                <a:pos x="28" y="8"/>
              </a:cxn>
              <a:cxn ang="0">
                <a:pos x="26" y="5"/>
              </a:cxn>
              <a:cxn ang="0">
                <a:pos x="25" y="3"/>
              </a:cxn>
              <a:cxn ang="0">
                <a:pos x="25" y="3"/>
              </a:cxn>
              <a:cxn ang="0">
                <a:pos x="22" y="0"/>
              </a:cxn>
              <a:cxn ang="0">
                <a:pos x="22" y="0"/>
              </a:cxn>
              <a:cxn ang="0">
                <a:pos x="18" y="4"/>
              </a:cxn>
              <a:cxn ang="0">
                <a:pos x="18" y="4"/>
              </a:cxn>
              <a:cxn ang="0">
                <a:pos x="15" y="4"/>
              </a:cxn>
              <a:cxn ang="0">
                <a:pos x="10" y="4"/>
              </a:cxn>
              <a:cxn ang="0">
                <a:pos x="10" y="4"/>
              </a:cxn>
            </a:cxnLst>
            <a:rect l="0" t="0" r="r" b="b"/>
            <a:pathLst>
              <a:path w="28" h="31">
                <a:moveTo>
                  <a:pt x="10" y="4"/>
                </a:moveTo>
                <a:lnTo>
                  <a:pt x="10" y="4"/>
                </a:lnTo>
                <a:lnTo>
                  <a:pt x="2" y="15"/>
                </a:lnTo>
                <a:lnTo>
                  <a:pt x="2" y="15"/>
                </a:lnTo>
                <a:lnTo>
                  <a:pt x="0" y="18"/>
                </a:lnTo>
                <a:lnTo>
                  <a:pt x="0" y="22"/>
                </a:lnTo>
                <a:lnTo>
                  <a:pt x="2" y="28"/>
                </a:lnTo>
                <a:lnTo>
                  <a:pt x="2" y="28"/>
                </a:lnTo>
                <a:lnTo>
                  <a:pt x="3" y="30"/>
                </a:lnTo>
                <a:lnTo>
                  <a:pt x="6" y="30"/>
                </a:lnTo>
                <a:lnTo>
                  <a:pt x="10" y="28"/>
                </a:lnTo>
                <a:lnTo>
                  <a:pt x="10" y="28"/>
                </a:lnTo>
                <a:lnTo>
                  <a:pt x="12" y="27"/>
                </a:lnTo>
                <a:lnTo>
                  <a:pt x="15" y="28"/>
                </a:lnTo>
                <a:lnTo>
                  <a:pt x="19" y="31"/>
                </a:lnTo>
                <a:lnTo>
                  <a:pt x="19" y="31"/>
                </a:lnTo>
                <a:lnTo>
                  <a:pt x="25" y="22"/>
                </a:lnTo>
                <a:lnTo>
                  <a:pt x="25" y="22"/>
                </a:lnTo>
                <a:lnTo>
                  <a:pt x="16" y="20"/>
                </a:lnTo>
                <a:lnTo>
                  <a:pt x="16" y="20"/>
                </a:lnTo>
                <a:lnTo>
                  <a:pt x="16" y="17"/>
                </a:lnTo>
                <a:lnTo>
                  <a:pt x="19" y="15"/>
                </a:lnTo>
                <a:lnTo>
                  <a:pt x="26" y="11"/>
                </a:lnTo>
                <a:lnTo>
                  <a:pt x="26" y="11"/>
                </a:lnTo>
                <a:lnTo>
                  <a:pt x="28" y="10"/>
                </a:lnTo>
                <a:lnTo>
                  <a:pt x="28" y="8"/>
                </a:lnTo>
                <a:lnTo>
                  <a:pt x="26" y="5"/>
                </a:lnTo>
                <a:lnTo>
                  <a:pt x="25" y="3"/>
                </a:lnTo>
                <a:lnTo>
                  <a:pt x="25" y="3"/>
                </a:lnTo>
                <a:lnTo>
                  <a:pt x="22" y="0"/>
                </a:lnTo>
                <a:lnTo>
                  <a:pt x="22" y="0"/>
                </a:lnTo>
                <a:lnTo>
                  <a:pt x="18" y="4"/>
                </a:lnTo>
                <a:lnTo>
                  <a:pt x="18" y="4"/>
                </a:lnTo>
                <a:lnTo>
                  <a:pt x="15" y="4"/>
                </a:lnTo>
                <a:lnTo>
                  <a:pt x="10" y="4"/>
                </a:lnTo>
                <a:lnTo>
                  <a:pt x="10" y="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42" name="Freeform 229">
            <a:extLst>
              <a:ext uri="{FF2B5EF4-FFF2-40B4-BE49-F238E27FC236}">
                <a16:creationId xmlns:a16="http://schemas.microsoft.com/office/drawing/2014/main" id="{7E4BCADC-9AB3-8500-5A2F-E5993842EF67}"/>
              </a:ext>
            </a:extLst>
          </p:cNvPr>
          <p:cNvSpPr>
            <a:spLocks/>
          </p:cNvSpPr>
          <p:nvPr userDrawn="1"/>
        </p:nvSpPr>
        <p:spPr bwMode="gray">
          <a:xfrm>
            <a:off x="5100005" y="2962300"/>
            <a:ext cx="139155" cy="120948"/>
          </a:xfrm>
          <a:custGeom>
            <a:avLst/>
            <a:gdLst/>
            <a:ahLst/>
            <a:cxnLst>
              <a:cxn ang="0">
                <a:pos x="19" y="15"/>
              </a:cxn>
              <a:cxn ang="0">
                <a:pos x="10" y="22"/>
              </a:cxn>
              <a:cxn ang="0">
                <a:pos x="9" y="25"/>
              </a:cxn>
              <a:cxn ang="0">
                <a:pos x="9" y="32"/>
              </a:cxn>
              <a:cxn ang="0">
                <a:pos x="3" y="40"/>
              </a:cxn>
              <a:cxn ang="0">
                <a:pos x="0" y="50"/>
              </a:cxn>
              <a:cxn ang="0">
                <a:pos x="3" y="62"/>
              </a:cxn>
              <a:cxn ang="0">
                <a:pos x="16" y="63"/>
              </a:cxn>
              <a:cxn ang="0">
                <a:pos x="17" y="63"/>
              </a:cxn>
              <a:cxn ang="0">
                <a:pos x="21" y="57"/>
              </a:cxn>
              <a:cxn ang="0">
                <a:pos x="23" y="55"/>
              </a:cxn>
              <a:cxn ang="0">
                <a:pos x="26" y="55"/>
              </a:cxn>
              <a:cxn ang="0">
                <a:pos x="29" y="56"/>
              </a:cxn>
              <a:cxn ang="0">
                <a:pos x="36" y="60"/>
              </a:cxn>
              <a:cxn ang="0">
                <a:pos x="39" y="59"/>
              </a:cxn>
              <a:cxn ang="0">
                <a:pos x="46" y="59"/>
              </a:cxn>
              <a:cxn ang="0">
                <a:pos x="53" y="60"/>
              </a:cxn>
              <a:cxn ang="0">
                <a:pos x="61" y="59"/>
              </a:cxn>
              <a:cxn ang="0">
                <a:pos x="80" y="76"/>
              </a:cxn>
              <a:cxn ang="0">
                <a:pos x="95" y="93"/>
              </a:cxn>
              <a:cxn ang="0">
                <a:pos x="95" y="93"/>
              </a:cxn>
              <a:cxn ang="0">
                <a:pos x="103" y="93"/>
              </a:cxn>
              <a:cxn ang="0">
                <a:pos x="107" y="89"/>
              </a:cxn>
              <a:cxn ang="0">
                <a:pos x="100" y="82"/>
              </a:cxn>
              <a:cxn ang="0">
                <a:pos x="90" y="70"/>
              </a:cxn>
              <a:cxn ang="0">
                <a:pos x="76" y="57"/>
              </a:cxn>
              <a:cxn ang="0">
                <a:pos x="64" y="53"/>
              </a:cxn>
              <a:cxn ang="0">
                <a:pos x="63" y="52"/>
              </a:cxn>
              <a:cxn ang="0">
                <a:pos x="58" y="47"/>
              </a:cxn>
              <a:cxn ang="0">
                <a:pos x="54" y="42"/>
              </a:cxn>
              <a:cxn ang="0">
                <a:pos x="51" y="40"/>
              </a:cxn>
              <a:cxn ang="0">
                <a:pos x="44" y="26"/>
              </a:cxn>
              <a:cxn ang="0">
                <a:pos x="43" y="19"/>
              </a:cxn>
              <a:cxn ang="0">
                <a:pos x="40" y="10"/>
              </a:cxn>
              <a:cxn ang="0">
                <a:pos x="34" y="0"/>
              </a:cxn>
              <a:cxn ang="0">
                <a:pos x="24" y="10"/>
              </a:cxn>
              <a:cxn ang="0">
                <a:pos x="19" y="15"/>
              </a:cxn>
            </a:cxnLst>
            <a:rect l="0" t="0" r="r" b="b"/>
            <a:pathLst>
              <a:path w="107" h="93">
                <a:moveTo>
                  <a:pt x="19" y="15"/>
                </a:moveTo>
                <a:lnTo>
                  <a:pt x="19" y="15"/>
                </a:lnTo>
                <a:lnTo>
                  <a:pt x="13" y="19"/>
                </a:lnTo>
                <a:lnTo>
                  <a:pt x="10" y="22"/>
                </a:lnTo>
                <a:lnTo>
                  <a:pt x="9" y="25"/>
                </a:lnTo>
                <a:lnTo>
                  <a:pt x="9" y="25"/>
                </a:lnTo>
                <a:lnTo>
                  <a:pt x="10" y="28"/>
                </a:lnTo>
                <a:lnTo>
                  <a:pt x="9" y="32"/>
                </a:lnTo>
                <a:lnTo>
                  <a:pt x="3" y="40"/>
                </a:lnTo>
                <a:lnTo>
                  <a:pt x="3" y="40"/>
                </a:lnTo>
                <a:lnTo>
                  <a:pt x="2" y="45"/>
                </a:lnTo>
                <a:lnTo>
                  <a:pt x="0" y="50"/>
                </a:lnTo>
                <a:lnTo>
                  <a:pt x="3" y="62"/>
                </a:lnTo>
                <a:lnTo>
                  <a:pt x="3" y="62"/>
                </a:lnTo>
                <a:lnTo>
                  <a:pt x="12" y="62"/>
                </a:lnTo>
                <a:lnTo>
                  <a:pt x="16" y="63"/>
                </a:lnTo>
                <a:lnTo>
                  <a:pt x="16" y="63"/>
                </a:lnTo>
                <a:lnTo>
                  <a:pt x="17" y="63"/>
                </a:lnTo>
                <a:lnTo>
                  <a:pt x="19" y="63"/>
                </a:lnTo>
                <a:lnTo>
                  <a:pt x="21" y="57"/>
                </a:lnTo>
                <a:lnTo>
                  <a:pt x="21" y="57"/>
                </a:lnTo>
                <a:lnTo>
                  <a:pt x="23" y="55"/>
                </a:lnTo>
                <a:lnTo>
                  <a:pt x="24" y="53"/>
                </a:lnTo>
                <a:lnTo>
                  <a:pt x="26" y="55"/>
                </a:lnTo>
                <a:lnTo>
                  <a:pt x="29" y="56"/>
                </a:lnTo>
                <a:lnTo>
                  <a:pt x="29" y="56"/>
                </a:lnTo>
                <a:lnTo>
                  <a:pt x="33" y="59"/>
                </a:lnTo>
                <a:lnTo>
                  <a:pt x="36" y="60"/>
                </a:lnTo>
                <a:lnTo>
                  <a:pt x="39" y="59"/>
                </a:lnTo>
                <a:lnTo>
                  <a:pt x="39" y="59"/>
                </a:lnTo>
                <a:lnTo>
                  <a:pt x="43" y="59"/>
                </a:lnTo>
                <a:lnTo>
                  <a:pt x="46" y="59"/>
                </a:lnTo>
                <a:lnTo>
                  <a:pt x="46" y="59"/>
                </a:lnTo>
                <a:lnTo>
                  <a:pt x="53" y="60"/>
                </a:lnTo>
                <a:lnTo>
                  <a:pt x="61" y="59"/>
                </a:lnTo>
                <a:lnTo>
                  <a:pt x="61" y="59"/>
                </a:lnTo>
                <a:lnTo>
                  <a:pt x="68" y="65"/>
                </a:lnTo>
                <a:lnTo>
                  <a:pt x="80" y="76"/>
                </a:lnTo>
                <a:lnTo>
                  <a:pt x="95" y="93"/>
                </a:lnTo>
                <a:lnTo>
                  <a:pt x="95" y="93"/>
                </a:lnTo>
                <a:lnTo>
                  <a:pt x="95" y="93"/>
                </a:lnTo>
                <a:lnTo>
                  <a:pt x="95" y="93"/>
                </a:lnTo>
                <a:lnTo>
                  <a:pt x="100" y="93"/>
                </a:lnTo>
                <a:lnTo>
                  <a:pt x="103" y="93"/>
                </a:lnTo>
                <a:lnTo>
                  <a:pt x="103" y="93"/>
                </a:lnTo>
                <a:lnTo>
                  <a:pt x="107" y="89"/>
                </a:lnTo>
                <a:lnTo>
                  <a:pt x="107" y="89"/>
                </a:lnTo>
                <a:lnTo>
                  <a:pt x="100" y="82"/>
                </a:lnTo>
                <a:lnTo>
                  <a:pt x="90" y="70"/>
                </a:lnTo>
                <a:lnTo>
                  <a:pt x="90" y="70"/>
                </a:lnTo>
                <a:lnTo>
                  <a:pt x="83" y="63"/>
                </a:lnTo>
                <a:lnTo>
                  <a:pt x="76" y="57"/>
                </a:lnTo>
                <a:lnTo>
                  <a:pt x="70" y="53"/>
                </a:lnTo>
                <a:lnTo>
                  <a:pt x="64" y="53"/>
                </a:lnTo>
                <a:lnTo>
                  <a:pt x="64" y="53"/>
                </a:lnTo>
                <a:lnTo>
                  <a:pt x="63" y="52"/>
                </a:lnTo>
                <a:lnTo>
                  <a:pt x="61" y="52"/>
                </a:lnTo>
                <a:lnTo>
                  <a:pt x="58" y="47"/>
                </a:lnTo>
                <a:lnTo>
                  <a:pt x="57" y="45"/>
                </a:lnTo>
                <a:lnTo>
                  <a:pt x="54" y="42"/>
                </a:lnTo>
                <a:lnTo>
                  <a:pt x="54" y="42"/>
                </a:lnTo>
                <a:lnTo>
                  <a:pt x="51" y="40"/>
                </a:lnTo>
                <a:lnTo>
                  <a:pt x="47" y="33"/>
                </a:lnTo>
                <a:lnTo>
                  <a:pt x="44" y="26"/>
                </a:lnTo>
                <a:lnTo>
                  <a:pt x="43" y="19"/>
                </a:lnTo>
                <a:lnTo>
                  <a:pt x="43" y="19"/>
                </a:lnTo>
                <a:lnTo>
                  <a:pt x="41" y="15"/>
                </a:lnTo>
                <a:lnTo>
                  <a:pt x="40" y="10"/>
                </a:lnTo>
                <a:lnTo>
                  <a:pt x="34" y="0"/>
                </a:lnTo>
                <a:lnTo>
                  <a:pt x="34" y="0"/>
                </a:lnTo>
                <a:lnTo>
                  <a:pt x="29" y="6"/>
                </a:lnTo>
                <a:lnTo>
                  <a:pt x="24" y="10"/>
                </a:lnTo>
                <a:lnTo>
                  <a:pt x="19" y="15"/>
                </a:lnTo>
                <a:lnTo>
                  <a:pt x="19" y="15"/>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43" name="Freeform 230">
            <a:extLst>
              <a:ext uri="{FF2B5EF4-FFF2-40B4-BE49-F238E27FC236}">
                <a16:creationId xmlns:a16="http://schemas.microsoft.com/office/drawing/2014/main" id="{4E4989DE-FE65-E6FB-476B-F342ED3D2D9F}"/>
              </a:ext>
            </a:extLst>
          </p:cNvPr>
          <p:cNvSpPr>
            <a:spLocks/>
          </p:cNvSpPr>
          <p:nvPr userDrawn="1"/>
        </p:nvSpPr>
        <p:spPr bwMode="gray">
          <a:xfrm>
            <a:off x="5028478" y="3031226"/>
            <a:ext cx="308221" cy="241895"/>
          </a:xfrm>
          <a:custGeom>
            <a:avLst/>
            <a:gdLst/>
            <a:ahLst/>
            <a:cxnLst>
              <a:cxn ang="0">
                <a:pos x="17" y="127"/>
              </a:cxn>
              <a:cxn ang="0">
                <a:pos x="28" y="141"/>
              </a:cxn>
              <a:cxn ang="0">
                <a:pos x="35" y="150"/>
              </a:cxn>
              <a:cxn ang="0">
                <a:pos x="44" y="152"/>
              </a:cxn>
              <a:cxn ang="0">
                <a:pos x="44" y="167"/>
              </a:cxn>
              <a:cxn ang="0">
                <a:pos x="48" y="169"/>
              </a:cxn>
              <a:cxn ang="0">
                <a:pos x="65" y="172"/>
              </a:cxn>
              <a:cxn ang="0">
                <a:pos x="79" y="182"/>
              </a:cxn>
              <a:cxn ang="0">
                <a:pos x="94" y="184"/>
              </a:cxn>
              <a:cxn ang="0">
                <a:pos x="104" y="185"/>
              </a:cxn>
              <a:cxn ang="0">
                <a:pos x="112" y="178"/>
              </a:cxn>
              <a:cxn ang="0">
                <a:pos x="125" y="174"/>
              </a:cxn>
              <a:cxn ang="0">
                <a:pos x="129" y="178"/>
              </a:cxn>
              <a:cxn ang="0">
                <a:pos x="135" y="178"/>
              </a:cxn>
              <a:cxn ang="0">
                <a:pos x="155" y="174"/>
              </a:cxn>
              <a:cxn ang="0">
                <a:pos x="163" y="168"/>
              </a:cxn>
              <a:cxn ang="0">
                <a:pos x="176" y="162"/>
              </a:cxn>
              <a:cxn ang="0">
                <a:pos x="190" y="162"/>
              </a:cxn>
              <a:cxn ang="0">
                <a:pos x="237" y="117"/>
              </a:cxn>
              <a:cxn ang="0">
                <a:pos x="236" y="114"/>
              </a:cxn>
              <a:cxn ang="0">
                <a:pos x="223" y="113"/>
              </a:cxn>
              <a:cxn ang="0">
                <a:pos x="190" y="101"/>
              </a:cxn>
              <a:cxn ang="0">
                <a:pos x="175" y="95"/>
              </a:cxn>
              <a:cxn ang="0">
                <a:pos x="166" y="87"/>
              </a:cxn>
              <a:cxn ang="0">
                <a:pos x="156" y="73"/>
              </a:cxn>
              <a:cxn ang="0">
                <a:pos x="159" y="67"/>
              </a:cxn>
              <a:cxn ang="0">
                <a:pos x="152" y="63"/>
              </a:cxn>
              <a:cxn ang="0">
                <a:pos x="146" y="66"/>
              </a:cxn>
              <a:cxn ang="0">
                <a:pos x="142" y="64"/>
              </a:cxn>
              <a:cxn ang="0">
                <a:pos x="142" y="51"/>
              </a:cxn>
              <a:cxn ang="0">
                <a:pos x="150" y="40"/>
              </a:cxn>
              <a:cxn ang="0">
                <a:pos x="123" y="12"/>
              </a:cxn>
              <a:cxn ang="0">
                <a:pos x="108" y="7"/>
              </a:cxn>
              <a:cxn ang="0">
                <a:pos x="98" y="6"/>
              </a:cxn>
              <a:cxn ang="0">
                <a:pos x="91" y="7"/>
              </a:cxn>
              <a:cxn ang="0">
                <a:pos x="84" y="3"/>
              </a:cxn>
              <a:cxn ang="0">
                <a:pos x="78" y="2"/>
              </a:cxn>
              <a:cxn ang="0">
                <a:pos x="74" y="10"/>
              </a:cxn>
              <a:cxn ang="0">
                <a:pos x="71" y="10"/>
              </a:cxn>
              <a:cxn ang="0">
                <a:pos x="58" y="9"/>
              </a:cxn>
              <a:cxn ang="0">
                <a:pos x="57" y="14"/>
              </a:cxn>
              <a:cxn ang="0">
                <a:pos x="51" y="27"/>
              </a:cxn>
              <a:cxn ang="0">
                <a:pos x="49" y="33"/>
              </a:cxn>
              <a:cxn ang="0">
                <a:pos x="45" y="36"/>
              </a:cxn>
              <a:cxn ang="0">
                <a:pos x="35" y="47"/>
              </a:cxn>
              <a:cxn ang="0">
                <a:pos x="32" y="56"/>
              </a:cxn>
              <a:cxn ang="0">
                <a:pos x="30" y="63"/>
              </a:cxn>
              <a:cxn ang="0">
                <a:pos x="22" y="70"/>
              </a:cxn>
              <a:cxn ang="0">
                <a:pos x="24" y="73"/>
              </a:cxn>
              <a:cxn ang="0">
                <a:pos x="18" y="85"/>
              </a:cxn>
              <a:cxn ang="0">
                <a:pos x="15" y="103"/>
              </a:cxn>
              <a:cxn ang="0">
                <a:pos x="5" y="104"/>
              </a:cxn>
              <a:cxn ang="0">
                <a:pos x="3" y="105"/>
              </a:cxn>
              <a:cxn ang="0">
                <a:pos x="0" y="113"/>
              </a:cxn>
              <a:cxn ang="0">
                <a:pos x="3" y="117"/>
              </a:cxn>
              <a:cxn ang="0">
                <a:pos x="15" y="122"/>
              </a:cxn>
            </a:cxnLst>
            <a:rect l="0" t="0" r="r" b="b"/>
            <a:pathLst>
              <a:path w="237" h="186">
                <a:moveTo>
                  <a:pt x="15" y="122"/>
                </a:moveTo>
                <a:lnTo>
                  <a:pt x="15" y="122"/>
                </a:lnTo>
                <a:lnTo>
                  <a:pt x="17" y="127"/>
                </a:lnTo>
                <a:lnTo>
                  <a:pt x="21" y="131"/>
                </a:lnTo>
                <a:lnTo>
                  <a:pt x="25" y="135"/>
                </a:lnTo>
                <a:lnTo>
                  <a:pt x="28" y="141"/>
                </a:lnTo>
                <a:lnTo>
                  <a:pt x="28" y="141"/>
                </a:lnTo>
                <a:lnTo>
                  <a:pt x="32" y="147"/>
                </a:lnTo>
                <a:lnTo>
                  <a:pt x="35" y="150"/>
                </a:lnTo>
                <a:lnTo>
                  <a:pt x="39" y="152"/>
                </a:lnTo>
                <a:lnTo>
                  <a:pt x="44" y="152"/>
                </a:lnTo>
                <a:lnTo>
                  <a:pt x="44" y="152"/>
                </a:lnTo>
                <a:lnTo>
                  <a:pt x="45" y="154"/>
                </a:lnTo>
                <a:lnTo>
                  <a:pt x="45" y="157"/>
                </a:lnTo>
                <a:lnTo>
                  <a:pt x="44" y="167"/>
                </a:lnTo>
                <a:lnTo>
                  <a:pt x="44" y="167"/>
                </a:lnTo>
                <a:lnTo>
                  <a:pt x="48" y="169"/>
                </a:lnTo>
                <a:lnTo>
                  <a:pt x="48" y="169"/>
                </a:lnTo>
                <a:lnTo>
                  <a:pt x="57" y="169"/>
                </a:lnTo>
                <a:lnTo>
                  <a:pt x="61" y="171"/>
                </a:lnTo>
                <a:lnTo>
                  <a:pt x="65" y="172"/>
                </a:lnTo>
                <a:lnTo>
                  <a:pt x="65" y="172"/>
                </a:lnTo>
                <a:lnTo>
                  <a:pt x="74" y="179"/>
                </a:lnTo>
                <a:lnTo>
                  <a:pt x="79" y="182"/>
                </a:lnTo>
                <a:lnTo>
                  <a:pt x="84" y="182"/>
                </a:lnTo>
                <a:lnTo>
                  <a:pt x="84" y="182"/>
                </a:lnTo>
                <a:lnTo>
                  <a:pt x="94" y="184"/>
                </a:lnTo>
                <a:lnTo>
                  <a:pt x="102" y="186"/>
                </a:lnTo>
                <a:lnTo>
                  <a:pt x="102" y="186"/>
                </a:lnTo>
                <a:lnTo>
                  <a:pt x="104" y="185"/>
                </a:lnTo>
                <a:lnTo>
                  <a:pt x="106" y="184"/>
                </a:lnTo>
                <a:lnTo>
                  <a:pt x="109" y="181"/>
                </a:lnTo>
                <a:lnTo>
                  <a:pt x="112" y="178"/>
                </a:lnTo>
                <a:lnTo>
                  <a:pt x="112" y="178"/>
                </a:lnTo>
                <a:lnTo>
                  <a:pt x="121" y="174"/>
                </a:lnTo>
                <a:lnTo>
                  <a:pt x="125" y="174"/>
                </a:lnTo>
                <a:lnTo>
                  <a:pt x="126" y="175"/>
                </a:lnTo>
                <a:lnTo>
                  <a:pt x="126" y="175"/>
                </a:lnTo>
                <a:lnTo>
                  <a:pt x="129" y="178"/>
                </a:lnTo>
                <a:lnTo>
                  <a:pt x="132" y="178"/>
                </a:lnTo>
                <a:lnTo>
                  <a:pt x="135" y="178"/>
                </a:lnTo>
                <a:lnTo>
                  <a:pt x="135" y="178"/>
                </a:lnTo>
                <a:lnTo>
                  <a:pt x="142" y="175"/>
                </a:lnTo>
                <a:lnTo>
                  <a:pt x="142" y="175"/>
                </a:lnTo>
                <a:lnTo>
                  <a:pt x="155" y="174"/>
                </a:lnTo>
                <a:lnTo>
                  <a:pt x="155" y="174"/>
                </a:lnTo>
                <a:lnTo>
                  <a:pt x="158" y="172"/>
                </a:lnTo>
                <a:lnTo>
                  <a:pt x="163" y="168"/>
                </a:lnTo>
                <a:lnTo>
                  <a:pt x="169" y="164"/>
                </a:lnTo>
                <a:lnTo>
                  <a:pt x="172" y="164"/>
                </a:lnTo>
                <a:lnTo>
                  <a:pt x="176" y="162"/>
                </a:lnTo>
                <a:lnTo>
                  <a:pt x="176" y="162"/>
                </a:lnTo>
                <a:lnTo>
                  <a:pt x="187" y="162"/>
                </a:lnTo>
                <a:lnTo>
                  <a:pt x="190" y="162"/>
                </a:lnTo>
                <a:lnTo>
                  <a:pt x="195" y="159"/>
                </a:lnTo>
                <a:lnTo>
                  <a:pt x="195" y="159"/>
                </a:lnTo>
                <a:lnTo>
                  <a:pt x="237" y="117"/>
                </a:lnTo>
                <a:lnTo>
                  <a:pt x="237" y="117"/>
                </a:lnTo>
                <a:lnTo>
                  <a:pt x="237" y="115"/>
                </a:lnTo>
                <a:lnTo>
                  <a:pt x="236" y="114"/>
                </a:lnTo>
                <a:lnTo>
                  <a:pt x="232" y="113"/>
                </a:lnTo>
                <a:lnTo>
                  <a:pt x="232" y="113"/>
                </a:lnTo>
                <a:lnTo>
                  <a:pt x="223" y="113"/>
                </a:lnTo>
                <a:lnTo>
                  <a:pt x="209" y="108"/>
                </a:lnTo>
                <a:lnTo>
                  <a:pt x="209" y="108"/>
                </a:lnTo>
                <a:lnTo>
                  <a:pt x="190" y="101"/>
                </a:lnTo>
                <a:lnTo>
                  <a:pt x="176" y="97"/>
                </a:lnTo>
                <a:lnTo>
                  <a:pt x="176" y="97"/>
                </a:lnTo>
                <a:lnTo>
                  <a:pt x="175" y="95"/>
                </a:lnTo>
                <a:lnTo>
                  <a:pt x="172" y="93"/>
                </a:lnTo>
                <a:lnTo>
                  <a:pt x="166" y="87"/>
                </a:lnTo>
                <a:lnTo>
                  <a:pt x="166" y="87"/>
                </a:lnTo>
                <a:lnTo>
                  <a:pt x="163" y="84"/>
                </a:lnTo>
                <a:lnTo>
                  <a:pt x="160" y="81"/>
                </a:lnTo>
                <a:lnTo>
                  <a:pt x="156" y="73"/>
                </a:lnTo>
                <a:lnTo>
                  <a:pt x="156" y="73"/>
                </a:lnTo>
                <a:lnTo>
                  <a:pt x="156" y="70"/>
                </a:lnTo>
                <a:lnTo>
                  <a:pt x="159" y="67"/>
                </a:lnTo>
                <a:lnTo>
                  <a:pt x="159" y="67"/>
                </a:lnTo>
                <a:lnTo>
                  <a:pt x="155" y="64"/>
                </a:lnTo>
                <a:lnTo>
                  <a:pt x="152" y="63"/>
                </a:lnTo>
                <a:lnTo>
                  <a:pt x="150" y="64"/>
                </a:lnTo>
                <a:lnTo>
                  <a:pt x="150" y="64"/>
                </a:lnTo>
                <a:lnTo>
                  <a:pt x="146" y="66"/>
                </a:lnTo>
                <a:lnTo>
                  <a:pt x="143" y="66"/>
                </a:lnTo>
                <a:lnTo>
                  <a:pt x="142" y="64"/>
                </a:lnTo>
                <a:lnTo>
                  <a:pt x="142" y="64"/>
                </a:lnTo>
                <a:lnTo>
                  <a:pt x="140" y="58"/>
                </a:lnTo>
                <a:lnTo>
                  <a:pt x="140" y="54"/>
                </a:lnTo>
                <a:lnTo>
                  <a:pt x="142" y="51"/>
                </a:lnTo>
                <a:lnTo>
                  <a:pt x="142" y="51"/>
                </a:lnTo>
                <a:lnTo>
                  <a:pt x="148" y="44"/>
                </a:lnTo>
                <a:lnTo>
                  <a:pt x="150" y="40"/>
                </a:lnTo>
                <a:lnTo>
                  <a:pt x="150" y="40"/>
                </a:lnTo>
                <a:lnTo>
                  <a:pt x="135" y="23"/>
                </a:lnTo>
                <a:lnTo>
                  <a:pt x="123" y="12"/>
                </a:lnTo>
                <a:lnTo>
                  <a:pt x="116" y="6"/>
                </a:lnTo>
                <a:lnTo>
                  <a:pt x="116" y="6"/>
                </a:lnTo>
                <a:lnTo>
                  <a:pt x="108" y="7"/>
                </a:lnTo>
                <a:lnTo>
                  <a:pt x="101" y="6"/>
                </a:lnTo>
                <a:lnTo>
                  <a:pt x="101" y="6"/>
                </a:lnTo>
                <a:lnTo>
                  <a:pt x="98" y="6"/>
                </a:lnTo>
                <a:lnTo>
                  <a:pt x="94" y="6"/>
                </a:lnTo>
                <a:lnTo>
                  <a:pt x="94" y="6"/>
                </a:lnTo>
                <a:lnTo>
                  <a:pt x="91" y="7"/>
                </a:lnTo>
                <a:lnTo>
                  <a:pt x="88" y="6"/>
                </a:lnTo>
                <a:lnTo>
                  <a:pt x="84" y="3"/>
                </a:lnTo>
                <a:lnTo>
                  <a:pt x="84" y="3"/>
                </a:lnTo>
                <a:lnTo>
                  <a:pt x="81" y="2"/>
                </a:lnTo>
                <a:lnTo>
                  <a:pt x="79" y="0"/>
                </a:lnTo>
                <a:lnTo>
                  <a:pt x="78" y="2"/>
                </a:lnTo>
                <a:lnTo>
                  <a:pt x="76" y="4"/>
                </a:lnTo>
                <a:lnTo>
                  <a:pt x="76" y="4"/>
                </a:lnTo>
                <a:lnTo>
                  <a:pt x="74" y="10"/>
                </a:lnTo>
                <a:lnTo>
                  <a:pt x="72" y="10"/>
                </a:lnTo>
                <a:lnTo>
                  <a:pt x="71" y="10"/>
                </a:lnTo>
                <a:lnTo>
                  <a:pt x="71" y="10"/>
                </a:lnTo>
                <a:lnTo>
                  <a:pt x="67" y="9"/>
                </a:lnTo>
                <a:lnTo>
                  <a:pt x="58" y="9"/>
                </a:lnTo>
                <a:lnTo>
                  <a:pt x="58" y="9"/>
                </a:lnTo>
                <a:lnTo>
                  <a:pt x="58" y="9"/>
                </a:lnTo>
                <a:lnTo>
                  <a:pt x="58" y="9"/>
                </a:lnTo>
                <a:lnTo>
                  <a:pt x="57" y="14"/>
                </a:lnTo>
                <a:lnTo>
                  <a:pt x="55" y="20"/>
                </a:lnTo>
                <a:lnTo>
                  <a:pt x="52" y="24"/>
                </a:lnTo>
                <a:lnTo>
                  <a:pt x="51" y="27"/>
                </a:lnTo>
                <a:lnTo>
                  <a:pt x="51" y="27"/>
                </a:lnTo>
                <a:lnTo>
                  <a:pt x="51" y="30"/>
                </a:lnTo>
                <a:lnTo>
                  <a:pt x="49" y="33"/>
                </a:lnTo>
                <a:lnTo>
                  <a:pt x="47" y="36"/>
                </a:lnTo>
                <a:lnTo>
                  <a:pt x="45" y="36"/>
                </a:lnTo>
                <a:lnTo>
                  <a:pt x="45" y="36"/>
                </a:lnTo>
                <a:lnTo>
                  <a:pt x="42" y="37"/>
                </a:lnTo>
                <a:lnTo>
                  <a:pt x="39" y="40"/>
                </a:lnTo>
                <a:lnTo>
                  <a:pt x="35" y="47"/>
                </a:lnTo>
                <a:lnTo>
                  <a:pt x="35" y="47"/>
                </a:lnTo>
                <a:lnTo>
                  <a:pt x="32" y="51"/>
                </a:lnTo>
                <a:lnTo>
                  <a:pt x="32" y="56"/>
                </a:lnTo>
                <a:lnTo>
                  <a:pt x="31" y="60"/>
                </a:lnTo>
                <a:lnTo>
                  <a:pt x="30" y="63"/>
                </a:lnTo>
                <a:lnTo>
                  <a:pt x="30" y="63"/>
                </a:lnTo>
                <a:lnTo>
                  <a:pt x="24" y="67"/>
                </a:lnTo>
                <a:lnTo>
                  <a:pt x="22" y="68"/>
                </a:lnTo>
                <a:lnTo>
                  <a:pt x="22" y="70"/>
                </a:lnTo>
                <a:lnTo>
                  <a:pt x="22" y="70"/>
                </a:lnTo>
                <a:lnTo>
                  <a:pt x="24" y="71"/>
                </a:lnTo>
                <a:lnTo>
                  <a:pt x="24" y="73"/>
                </a:lnTo>
                <a:lnTo>
                  <a:pt x="21" y="77"/>
                </a:lnTo>
                <a:lnTo>
                  <a:pt x="20" y="81"/>
                </a:lnTo>
                <a:lnTo>
                  <a:pt x="18" y="85"/>
                </a:lnTo>
                <a:lnTo>
                  <a:pt x="18" y="85"/>
                </a:lnTo>
                <a:lnTo>
                  <a:pt x="17" y="95"/>
                </a:lnTo>
                <a:lnTo>
                  <a:pt x="15" y="103"/>
                </a:lnTo>
                <a:lnTo>
                  <a:pt x="15" y="103"/>
                </a:lnTo>
                <a:lnTo>
                  <a:pt x="10" y="103"/>
                </a:lnTo>
                <a:lnTo>
                  <a:pt x="5" y="104"/>
                </a:lnTo>
                <a:lnTo>
                  <a:pt x="4" y="104"/>
                </a:lnTo>
                <a:lnTo>
                  <a:pt x="3" y="105"/>
                </a:lnTo>
                <a:lnTo>
                  <a:pt x="3" y="105"/>
                </a:lnTo>
                <a:lnTo>
                  <a:pt x="3" y="110"/>
                </a:lnTo>
                <a:lnTo>
                  <a:pt x="1" y="111"/>
                </a:lnTo>
                <a:lnTo>
                  <a:pt x="0" y="113"/>
                </a:lnTo>
                <a:lnTo>
                  <a:pt x="0" y="115"/>
                </a:lnTo>
                <a:lnTo>
                  <a:pt x="0" y="115"/>
                </a:lnTo>
                <a:lnTo>
                  <a:pt x="3" y="117"/>
                </a:lnTo>
                <a:lnTo>
                  <a:pt x="7" y="118"/>
                </a:lnTo>
                <a:lnTo>
                  <a:pt x="12" y="120"/>
                </a:lnTo>
                <a:lnTo>
                  <a:pt x="15" y="122"/>
                </a:lnTo>
                <a:lnTo>
                  <a:pt x="15" y="122"/>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44" name="Freeform 231">
            <a:extLst>
              <a:ext uri="{FF2B5EF4-FFF2-40B4-BE49-F238E27FC236}">
                <a16:creationId xmlns:a16="http://schemas.microsoft.com/office/drawing/2014/main" id="{D888D04D-C054-6A85-C18C-86F2BA1738CD}"/>
              </a:ext>
            </a:extLst>
          </p:cNvPr>
          <p:cNvSpPr>
            <a:spLocks/>
          </p:cNvSpPr>
          <p:nvPr userDrawn="1"/>
        </p:nvSpPr>
        <p:spPr bwMode="gray">
          <a:xfrm>
            <a:off x="5073996" y="2583851"/>
            <a:ext cx="29912" cy="39015"/>
          </a:xfrm>
          <a:custGeom>
            <a:avLst/>
            <a:gdLst/>
            <a:ahLst/>
            <a:cxnLst>
              <a:cxn ang="0">
                <a:pos x="20" y="13"/>
              </a:cxn>
              <a:cxn ang="0">
                <a:pos x="20" y="13"/>
              </a:cxn>
              <a:cxn ang="0">
                <a:pos x="23" y="10"/>
              </a:cxn>
              <a:cxn ang="0">
                <a:pos x="23" y="6"/>
              </a:cxn>
              <a:cxn ang="0">
                <a:pos x="22" y="4"/>
              </a:cxn>
              <a:cxn ang="0">
                <a:pos x="20" y="1"/>
              </a:cxn>
              <a:cxn ang="0">
                <a:pos x="17" y="1"/>
              </a:cxn>
              <a:cxn ang="0">
                <a:pos x="13" y="0"/>
              </a:cxn>
              <a:cxn ang="0">
                <a:pos x="13" y="0"/>
              </a:cxn>
              <a:cxn ang="0">
                <a:pos x="13" y="3"/>
              </a:cxn>
              <a:cxn ang="0">
                <a:pos x="13" y="3"/>
              </a:cxn>
              <a:cxn ang="0">
                <a:pos x="12" y="7"/>
              </a:cxn>
              <a:cxn ang="0">
                <a:pos x="9" y="13"/>
              </a:cxn>
              <a:cxn ang="0">
                <a:pos x="0" y="27"/>
              </a:cxn>
              <a:cxn ang="0">
                <a:pos x="9" y="30"/>
              </a:cxn>
              <a:cxn ang="0">
                <a:pos x="9" y="30"/>
              </a:cxn>
              <a:cxn ang="0">
                <a:pos x="16" y="20"/>
              </a:cxn>
              <a:cxn ang="0">
                <a:pos x="20" y="13"/>
              </a:cxn>
              <a:cxn ang="0">
                <a:pos x="20" y="13"/>
              </a:cxn>
            </a:cxnLst>
            <a:rect l="0" t="0" r="r" b="b"/>
            <a:pathLst>
              <a:path w="23" h="30">
                <a:moveTo>
                  <a:pt x="20" y="13"/>
                </a:moveTo>
                <a:lnTo>
                  <a:pt x="20" y="13"/>
                </a:lnTo>
                <a:lnTo>
                  <a:pt x="23" y="10"/>
                </a:lnTo>
                <a:lnTo>
                  <a:pt x="23" y="6"/>
                </a:lnTo>
                <a:lnTo>
                  <a:pt x="22" y="4"/>
                </a:lnTo>
                <a:lnTo>
                  <a:pt x="20" y="1"/>
                </a:lnTo>
                <a:lnTo>
                  <a:pt x="17" y="1"/>
                </a:lnTo>
                <a:lnTo>
                  <a:pt x="13" y="0"/>
                </a:lnTo>
                <a:lnTo>
                  <a:pt x="13" y="0"/>
                </a:lnTo>
                <a:lnTo>
                  <a:pt x="13" y="3"/>
                </a:lnTo>
                <a:lnTo>
                  <a:pt x="13" y="3"/>
                </a:lnTo>
                <a:lnTo>
                  <a:pt x="12" y="7"/>
                </a:lnTo>
                <a:lnTo>
                  <a:pt x="9" y="13"/>
                </a:lnTo>
                <a:lnTo>
                  <a:pt x="0" y="27"/>
                </a:lnTo>
                <a:lnTo>
                  <a:pt x="9" y="30"/>
                </a:lnTo>
                <a:lnTo>
                  <a:pt x="9" y="30"/>
                </a:lnTo>
                <a:lnTo>
                  <a:pt x="16" y="20"/>
                </a:lnTo>
                <a:lnTo>
                  <a:pt x="20" y="13"/>
                </a:lnTo>
                <a:lnTo>
                  <a:pt x="20" y="13"/>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45" name="Freeform 232">
            <a:extLst>
              <a:ext uri="{FF2B5EF4-FFF2-40B4-BE49-F238E27FC236}">
                <a16:creationId xmlns:a16="http://schemas.microsoft.com/office/drawing/2014/main" id="{8912FCE5-7B83-B784-97D6-C169312090CB}"/>
              </a:ext>
            </a:extLst>
          </p:cNvPr>
          <p:cNvSpPr>
            <a:spLocks/>
          </p:cNvSpPr>
          <p:nvPr userDrawn="1"/>
        </p:nvSpPr>
        <p:spPr bwMode="gray">
          <a:xfrm>
            <a:off x="5085701" y="2526629"/>
            <a:ext cx="141756" cy="114444"/>
          </a:xfrm>
          <a:custGeom>
            <a:avLst/>
            <a:gdLst/>
            <a:ahLst/>
            <a:cxnLst>
              <a:cxn ang="0">
                <a:pos x="11" y="57"/>
              </a:cxn>
              <a:cxn ang="0">
                <a:pos x="0" y="74"/>
              </a:cxn>
              <a:cxn ang="0">
                <a:pos x="1" y="79"/>
              </a:cxn>
              <a:cxn ang="0">
                <a:pos x="17" y="88"/>
              </a:cxn>
              <a:cxn ang="0">
                <a:pos x="27" y="81"/>
              </a:cxn>
              <a:cxn ang="0">
                <a:pos x="31" y="79"/>
              </a:cxn>
              <a:cxn ang="0">
                <a:pos x="61" y="65"/>
              </a:cxn>
              <a:cxn ang="0">
                <a:pos x="87" y="51"/>
              </a:cxn>
              <a:cxn ang="0">
                <a:pos x="89" y="44"/>
              </a:cxn>
              <a:cxn ang="0">
                <a:pos x="91" y="42"/>
              </a:cxn>
              <a:cxn ang="0">
                <a:pos x="91" y="32"/>
              </a:cxn>
              <a:cxn ang="0">
                <a:pos x="91" y="30"/>
              </a:cxn>
              <a:cxn ang="0">
                <a:pos x="91" y="24"/>
              </a:cxn>
              <a:cxn ang="0">
                <a:pos x="91" y="15"/>
              </a:cxn>
              <a:cxn ang="0">
                <a:pos x="92" y="13"/>
              </a:cxn>
              <a:cxn ang="0">
                <a:pos x="101" y="8"/>
              </a:cxn>
              <a:cxn ang="0">
                <a:pos x="104" y="0"/>
              </a:cxn>
              <a:cxn ang="0">
                <a:pos x="98" y="1"/>
              </a:cxn>
              <a:cxn ang="0">
                <a:pos x="85" y="3"/>
              </a:cxn>
              <a:cxn ang="0">
                <a:pos x="79" y="3"/>
              </a:cxn>
              <a:cxn ang="0">
                <a:pos x="71" y="7"/>
              </a:cxn>
              <a:cxn ang="0">
                <a:pos x="64" y="8"/>
              </a:cxn>
              <a:cxn ang="0">
                <a:pos x="48" y="10"/>
              </a:cxn>
              <a:cxn ang="0">
                <a:pos x="45" y="8"/>
              </a:cxn>
              <a:cxn ang="0">
                <a:pos x="42" y="7"/>
              </a:cxn>
              <a:cxn ang="0">
                <a:pos x="35" y="10"/>
              </a:cxn>
              <a:cxn ang="0">
                <a:pos x="27" y="11"/>
              </a:cxn>
              <a:cxn ang="0">
                <a:pos x="21" y="10"/>
              </a:cxn>
              <a:cxn ang="0">
                <a:pos x="18" y="8"/>
              </a:cxn>
              <a:cxn ang="0">
                <a:pos x="15" y="14"/>
              </a:cxn>
              <a:cxn ang="0">
                <a:pos x="14" y="17"/>
              </a:cxn>
              <a:cxn ang="0">
                <a:pos x="11" y="23"/>
              </a:cxn>
              <a:cxn ang="0">
                <a:pos x="5" y="24"/>
              </a:cxn>
              <a:cxn ang="0">
                <a:pos x="4" y="31"/>
              </a:cxn>
              <a:cxn ang="0">
                <a:pos x="5" y="32"/>
              </a:cxn>
              <a:cxn ang="0">
                <a:pos x="5" y="38"/>
              </a:cxn>
              <a:cxn ang="0">
                <a:pos x="4" y="44"/>
              </a:cxn>
              <a:cxn ang="0">
                <a:pos x="11" y="45"/>
              </a:cxn>
              <a:cxn ang="0">
                <a:pos x="14" y="50"/>
              </a:cxn>
              <a:cxn ang="0">
                <a:pos x="11" y="57"/>
              </a:cxn>
            </a:cxnLst>
            <a:rect l="0" t="0" r="r" b="b"/>
            <a:pathLst>
              <a:path w="109" h="88">
                <a:moveTo>
                  <a:pt x="11" y="57"/>
                </a:moveTo>
                <a:lnTo>
                  <a:pt x="11" y="57"/>
                </a:lnTo>
                <a:lnTo>
                  <a:pt x="7" y="64"/>
                </a:lnTo>
                <a:lnTo>
                  <a:pt x="0" y="74"/>
                </a:lnTo>
                <a:lnTo>
                  <a:pt x="0" y="74"/>
                </a:lnTo>
                <a:lnTo>
                  <a:pt x="1" y="79"/>
                </a:lnTo>
                <a:lnTo>
                  <a:pt x="17" y="88"/>
                </a:lnTo>
                <a:lnTo>
                  <a:pt x="17" y="88"/>
                </a:lnTo>
                <a:lnTo>
                  <a:pt x="23" y="84"/>
                </a:lnTo>
                <a:lnTo>
                  <a:pt x="27" y="81"/>
                </a:lnTo>
                <a:lnTo>
                  <a:pt x="31" y="79"/>
                </a:lnTo>
                <a:lnTo>
                  <a:pt x="31" y="79"/>
                </a:lnTo>
                <a:lnTo>
                  <a:pt x="42" y="75"/>
                </a:lnTo>
                <a:lnTo>
                  <a:pt x="61" y="65"/>
                </a:lnTo>
                <a:lnTo>
                  <a:pt x="87" y="51"/>
                </a:lnTo>
                <a:lnTo>
                  <a:pt x="87" y="51"/>
                </a:lnTo>
                <a:lnTo>
                  <a:pt x="88" y="48"/>
                </a:lnTo>
                <a:lnTo>
                  <a:pt x="89" y="44"/>
                </a:lnTo>
                <a:lnTo>
                  <a:pt x="91" y="42"/>
                </a:lnTo>
                <a:lnTo>
                  <a:pt x="91" y="42"/>
                </a:lnTo>
                <a:lnTo>
                  <a:pt x="89" y="35"/>
                </a:lnTo>
                <a:lnTo>
                  <a:pt x="91" y="32"/>
                </a:lnTo>
                <a:lnTo>
                  <a:pt x="91" y="30"/>
                </a:lnTo>
                <a:lnTo>
                  <a:pt x="91" y="30"/>
                </a:lnTo>
                <a:lnTo>
                  <a:pt x="92" y="27"/>
                </a:lnTo>
                <a:lnTo>
                  <a:pt x="91" y="24"/>
                </a:lnTo>
                <a:lnTo>
                  <a:pt x="89" y="20"/>
                </a:lnTo>
                <a:lnTo>
                  <a:pt x="91" y="15"/>
                </a:lnTo>
                <a:lnTo>
                  <a:pt x="91" y="15"/>
                </a:lnTo>
                <a:lnTo>
                  <a:pt x="92" y="13"/>
                </a:lnTo>
                <a:lnTo>
                  <a:pt x="96" y="10"/>
                </a:lnTo>
                <a:lnTo>
                  <a:pt x="101" y="8"/>
                </a:lnTo>
                <a:lnTo>
                  <a:pt x="109" y="1"/>
                </a:lnTo>
                <a:lnTo>
                  <a:pt x="104" y="0"/>
                </a:lnTo>
                <a:lnTo>
                  <a:pt x="104" y="0"/>
                </a:lnTo>
                <a:lnTo>
                  <a:pt x="98" y="1"/>
                </a:lnTo>
                <a:lnTo>
                  <a:pt x="92" y="1"/>
                </a:lnTo>
                <a:lnTo>
                  <a:pt x="85" y="3"/>
                </a:lnTo>
                <a:lnTo>
                  <a:pt x="85" y="3"/>
                </a:lnTo>
                <a:lnTo>
                  <a:pt x="79" y="3"/>
                </a:lnTo>
                <a:lnTo>
                  <a:pt x="75" y="5"/>
                </a:lnTo>
                <a:lnTo>
                  <a:pt x="71" y="7"/>
                </a:lnTo>
                <a:lnTo>
                  <a:pt x="64" y="8"/>
                </a:lnTo>
                <a:lnTo>
                  <a:pt x="64" y="8"/>
                </a:lnTo>
                <a:lnTo>
                  <a:pt x="52" y="10"/>
                </a:lnTo>
                <a:lnTo>
                  <a:pt x="48" y="10"/>
                </a:lnTo>
                <a:lnTo>
                  <a:pt x="45" y="8"/>
                </a:lnTo>
                <a:lnTo>
                  <a:pt x="45" y="8"/>
                </a:lnTo>
                <a:lnTo>
                  <a:pt x="44" y="7"/>
                </a:lnTo>
                <a:lnTo>
                  <a:pt x="42" y="7"/>
                </a:lnTo>
                <a:lnTo>
                  <a:pt x="35" y="10"/>
                </a:lnTo>
                <a:lnTo>
                  <a:pt x="35" y="10"/>
                </a:lnTo>
                <a:lnTo>
                  <a:pt x="31" y="11"/>
                </a:lnTo>
                <a:lnTo>
                  <a:pt x="27" y="11"/>
                </a:lnTo>
                <a:lnTo>
                  <a:pt x="24" y="11"/>
                </a:lnTo>
                <a:lnTo>
                  <a:pt x="21" y="10"/>
                </a:lnTo>
                <a:lnTo>
                  <a:pt x="21" y="10"/>
                </a:lnTo>
                <a:lnTo>
                  <a:pt x="18" y="8"/>
                </a:lnTo>
                <a:lnTo>
                  <a:pt x="17" y="10"/>
                </a:lnTo>
                <a:lnTo>
                  <a:pt x="15" y="14"/>
                </a:lnTo>
                <a:lnTo>
                  <a:pt x="15" y="14"/>
                </a:lnTo>
                <a:lnTo>
                  <a:pt x="14" y="17"/>
                </a:lnTo>
                <a:lnTo>
                  <a:pt x="14" y="20"/>
                </a:lnTo>
                <a:lnTo>
                  <a:pt x="11" y="23"/>
                </a:lnTo>
                <a:lnTo>
                  <a:pt x="5" y="24"/>
                </a:lnTo>
                <a:lnTo>
                  <a:pt x="5" y="24"/>
                </a:lnTo>
                <a:lnTo>
                  <a:pt x="4" y="28"/>
                </a:lnTo>
                <a:lnTo>
                  <a:pt x="4" y="31"/>
                </a:lnTo>
                <a:lnTo>
                  <a:pt x="5" y="32"/>
                </a:lnTo>
                <a:lnTo>
                  <a:pt x="5" y="32"/>
                </a:lnTo>
                <a:lnTo>
                  <a:pt x="7" y="35"/>
                </a:lnTo>
                <a:lnTo>
                  <a:pt x="5" y="38"/>
                </a:lnTo>
                <a:lnTo>
                  <a:pt x="4" y="44"/>
                </a:lnTo>
                <a:lnTo>
                  <a:pt x="4" y="44"/>
                </a:lnTo>
                <a:lnTo>
                  <a:pt x="8" y="45"/>
                </a:lnTo>
                <a:lnTo>
                  <a:pt x="11" y="45"/>
                </a:lnTo>
                <a:lnTo>
                  <a:pt x="13" y="48"/>
                </a:lnTo>
                <a:lnTo>
                  <a:pt x="14" y="50"/>
                </a:lnTo>
                <a:lnTo>
                  <a:pt x="14" y="54"/>
                </a:lnTo>
                <a:lnTo>
                  <a:pt x="11" y="57"/>
                </a:lnTo>
                <a:lnTo>
                  <a:pt x="11" y="57"/>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46" name="Freeform 233">
            <a:extLst>
              <a:ext uri="{FF2B5EF4-FFF2-40B4-BE49-F238E27FC236}">
                <a16:creationId xmlns:a16="http://schemas.microsoft.com/office/drawing/2014/main" id="{902C70F3-891C-B142-79FE-5C4DAE6278A8}"/>
              </a:ext>
            </a:extLst>
          </p:cNvPr>
          <p:cNvSpPr>
            <a:spLocks/>
          </p:cNvSpPr>
          <p:nvPr userDrawn="1"/>
        </p:nvSpPr>
        <p:spPr bwMode="gray">
          <a:xfrm>
            <a:off x="6967536" y="2500618"/>
            <a:ext cx="71528" cy="96238"/>
          </a:xfrm>
          <a:custGeom>
            <a:avLst/>
            <a:gdLst/>
            <a:ahLst/>
            <a:cxnLst>
              <a:cxn ang="0">
                <a:pos x="11" y="6"/>
              </a:cxn>
              <a:cxn ang="0">
                <a:pos x="11" y="6"/>
              </a:cxn>
              <a:cxn ang="0">
                <a:pos x="1" y="13"/>
              </a:cxn>
              <a:cxn ang="0">
                <a:pos x="1" y="13"/>
              </a:cxn>
              <a:cxn ang="0">
                <a:pos x="4" y="18"/>
              </a:cxn>
              <a:cxn ang="0">
                <a:pos x="4" y="21"/>
              </a:cxn>
              <a:cxn ang="0">
                <a:pos x="7" y="21"/>
              </a:cxn>
              <a:cxn ang="0">
                <a:pos x="7" y="21"/>
              </a:cxn>
              <a:cxn ang="0">
                <a:pos x="9" y="23"/>
              </a:cxn>
              <a:cxn ang="0">
                <a:pos x="9" y="25"/>
              </a:cxn>
              <a:cxn ang="0">
                <a:pos x="8" y="28"/>
              </a:cxn>
              <a:cxn ang="0">
                <a:pos x="5" y="28"/>
              </a:cxn>
              <a:cxn ang="0">
                <a:pos x="5" y="28"/>
              </a:cxn>
              <a:cxn ang="0">
                <a:pos x="4" y="28"/>
              </a:cxn>
              <a:cxn ang="0">
                <a:pos x="2" y="30"/>
              </a:cxn>
              <a:cxn ang="0">
                <a:pos x="1" y="33"/>
              </a:cxn>
              <a:cxn ang="0">
                <a:pos x="2" y="38"/>
              </a:cxn>
              <a:cxn ang="0">
                <a:pos x="5" y="44"/>
              </a:cxn>
              <a:cxn ang="0">
                <a:pos x="5" y="44"/>
              </a:cxn>
              <a:cxn ang="0">
                <a:pos x="5" y="47"/>
              </a:cxn>
              <a:cxn ang="0">
                <a:pos x="5" y="50"/>
              </a:cxn>
              <a:cxn ang="0">
                <a:pos x="2" y="54"/>
              </a:cxn>
              <a:cxn ang="0">
                <a:pos x="0" y="60"/>
              </a:cxn>
              <a:cxn ang="0">
                <a:pos x="0" y="61"/>
              </a:cxn>
              <a:cxn ang="0">
                <a:pos x="0" y="62"/>
              </a:cxn>
              <a:cxn ang="0">
                <a:pos x="0" y="62"/>
              </a:cxn>
              <a:cxn ang="0">
                <a:pos x="1" y="65"/>
              </a:cxn>
              <a:cxn ang="0">
                <a:pos x="1" y="68"/>
              </a:cxn>
              <a:cxn ang="0">
                <a:pos x="1" y="71"/>
              </a:cxn>
              <a:cxn ang="0">
                <a:pos x="2" y="74"/>
              </a:cxn>
              <a:cxn ang="0">
                <a:pos x="2" y="74"/>
              </a:cxn>
              <a:cxn ang="0">
                <a:pos x="7" y="74"/>
              </a:cxn>
              <a:cxn ang="0">
                <a:pos x="15" y="72"/>
              </a:cxn>
              <a:cxn ang="0">
                <a:pos x="24" y="70"/>
              </a:cxn>
              <a:cxn ang="0">
                <a:pos x="29" y="67"/>
              </a:cxn>
              <a:cxn ang="0">
                <a:pos x="32" y="64"/>
              </a:cxn>
              <a:cxn ang="0">
                <a:pos x="32" y="64"/>
              </a:cxn>
              <a:cxn ang="0">
                <a:pos x="38" y="58"/>
              </a:cxn>
              <a:cxn ang="0">
                <a:pos x="42" y="57"/>
              </a:cxn>
              <a:cxn ang="0">
                <a:pos x="45" y="57"/>
              </a:cxn>
              <a:cxn ang="0">
                <a:pos x="48" y="57"/>
              </a:cxn>
              <a:cxn ang="0">
                <a:pos x="48" y="57"/>
              </a:cxn>
              <a:cxn ang="0">
                <a:pos x="51" y="57"/>
              </a:cxn>
              <a:cxn ang="0">
                <a:pos x="54" y="55"/>
              </a:cxn>
              <a:cxn ang="0">
                <a:pos x="55" y="52"/>
              </a:cxn>
              <a:cxn ang="0">
                <a:pos x="55" y="50"/>
              </a:cxn>
              <a:cxn ang="0">
                <a:pos x="55" y="50"/>
              </a:cxn>
              <a:cxn ang="0">
                <a:pos x="54" y="47"/>
              </a:cxn>
              <a:cxn ang="0">
                <a:pos x="52" y="41"/>
              </a:cxn>
              <a:cxn ang="0">
                <a:pos x="51" y="34"/>
              </a:cxn>
              <a:cxn ang="0">
                <a:pos x="51" y="27"/>
              </a:cxn>
              <a:cxn ang="0">
                <a:pos x="51" y="27"/>
              </a:cxn>
              <a:cxn ang="0">
                <a:pos x="49" y="21"/>
              </a:cxn>
              <a:cxn ang="0">
                <a:pos x="45" y="14"/>
              </a:cxn>
              <a:cxn ang="0">
                <a:pos x="34" y="0"/>
              </a:cxn>
              <a:cxn ang="0">
                <a:pos x="34" y="0"/>
              </a:cxn>
              <a:cxn ang="0">
                <a:pos x="29" y="3"/>
              </a:cxn>
              <a:cxn ang="0">
                <a:pos x="25" y="3"/>
              </a:cxn>
              <a:cxn ang="0">
                <a:pos x="25" y="3"/>
              </a:cxn>
              <a:cxn ang="0">
                <a:pos x="17" y="4"/>
              </a:cxn>
              <a:cxn ang="0">
                <a:pos x="14" y="4"/>
              </a:cxn>
              <a:cxn ang="0">
                <a:pos x="11" y="6"/>
              </a:cxn>
              <a:cxn ang="0">
                <a:pos x="11" y="6"/>
              </a:cxn>
            </a:cxnLst>
            <a:rect l="0" t="0" r="r" b="b"/>
            <a:pathLst>
              <a:path w="55" h="74">
                <a:moveTo>
                  <a:pt x="11" y="6"/>
                </a:moveTo>
                <a:lnTo>
                  <a:pt x="11" y="6"/>
                </a:lnTo>
                <a:lnTo>
                  <a:pt x="1" y="13"/>
                </a:lnTo>
                <a:lnTo>
                  <a:pt x="1" y="13"/>
                </a:lnTo>
                <a:lnTo>
                  <a:pt x="4" y="18"/>
                </a:lnTo>
                <a:lnTo>
                  <a:pt x="4" y="21"/>
                </a:lnTo>
                <a:lnTo>
                  <a:pt x="7" y="21"/>
                </a:lnTo>
                <a:lnTo>
                  <a:pt x="7" y="21"/>
                </a:lnTo>
                <a:lnTo>
                  <a:pt x="9" y="23"/>
                </a:lnTo>
                <a:lnTo>
                  <a:pt x="9" y="25"/>
                </a:lnTo>
                <a:lnTo>
                  <a:pt x="8" y="28"/>
                </a:lnTo>
                <a:lnTo>
                  <a:pt x="5" y="28"/>
                </a:lnTo>
                <a:lnTo>
                  <a:pt x="5" y="28"/>
                </a:lnTo>
                <a:lnTo>
                  <a:pt x="4" y="28"/>
                </a:lnTo>
                <a:lnTo>
                  <a:pt x="2" y="30"/>
                </a:lnTo>
                <a:lnTo>
                  <a:pt x="1" y="33"/>
                </a:lnTo>
                <a:lnTo>
                  <a:pt x="2" y="38"/>
                </a:lnTo>
                <a:lnTo>
                  <a:pt x="5" y="44"/>
                </a:lnTo>
                <a:lnTo>
                  <a:pt x="5" y="44"/>
                </a:lnTo>
                <a:lnTo>
                  <a:pt x="5" y="47"/>
                </a:lnTo>
                <a:lnTo>
                  <a:pt x="5" y="50"/>
                </a:lnTo>
                <a:lnTo>
                  <a:pt x="2" y="54"/>
                </a:lnTo>
                <a:lnTo>
                  <a:pt x="0" y="60"/>
                </a:lnTo>
                <a:lnTo>
                  <a:pt x="0" y="61"/>
                </a:lnTo>
                <a:lnTo>
                  <a:pt x="0" y="62"/>
                </a:lnTo>
                <a:lnTo>
                  <a:pt x="0" y="62"/>
                </a:lnTo>
                <a:lnTo>
                  <a:pt x="1" y="65"/>
                </a:lnTo>
                <a:lnTo>
                  <a:pt x="1" y="68"/>
                </a:lnTo>
                <a:lnTo>
                  <a:pt x="1" y="71"/>
                </a:lnTo>
                <a:lnTo>
                  <a:pt x="2" y="74"/>
                </a:lnTo>
                <a:lnTo>
                  <a:pt x="2" y="74"/>
                </a:lnTo>
                <a:lnTo>
                  <a:pt x="7" y="74"/>
                </a:lnTo>
                <a:lnTo>
                  <a:pt x="15" y="72"/>
                </a:lnTo>
                <a:lnTo>
                  <a:pt x="24" y="70"/>
                </a:lnTo>
                <a:lnTo>
                  <a:pt x="29" y="67"/>
                </a:lnTo>
                <a:lnTo>
                  <a:pt x="32" y="64"/>
                </a:lnTo>
                <a:lnTo>
                  <a:pt x="32" y="64"/>
                </a:lnTo>
                <a:lnTo>
                  <a:pt x="38" y="58"/>
                </a:lnTo>
                <a:lnTo>
                  <a:pt x="42" y="57"/>
                </a:lnTo>
                <a:lnTo>
                  <a:pt x="45" y="57"/>
                </a:lnTo>
                <a:lnTo>
                  <a:pt x="48" y="57"/>
                </a:lnTo>
                <a:lnTo>
                  <a:pt x="48" y="57"/>
                </a:lnTo>
                <a:lnTo>
                  <a:pt x="51" y="57"/>
                </a:lnTo>
                <a:lnTo>
                  <a:pt x="54" y="55"/>
                </a:lnTo>
                <a:lnTo>
                  <a:pt x="55" y="52"/>
                </a:lnTo>
                <a:lnTo>
                  <a:pt x="55" y="50"/>
                </a:lnTo>
                <a:lnTo>
                  <a:pt x="55" y="50"/>
                </a:lnTo>
                <a:lnTo>
                  <a:pt x="54" y="47"/>
                </a:lnTo>
                <a:lnTo>
                  <a:pt x="52" y="41"/>
                </a:lnTo>
                <a:lnTo>
                  <a:pt x="51" y="34"/>
                </a:lnTo>
                <a:lnTo>
                  <a:pt x="51" y="27"/>
                </a:lnTo>
                <a:lnTo>
                  <a:pt x="51" y="27"/>
                </a:lnTo>
                <a:lnTo>
                  <a:pt x="49" y="21"/>
                </a:lnTo>
                <a:lnTo>
                  <a:pt x="45" y="14"/>
                </a:lnTo>
                <a:lnTo>
                  <a:pt x="34" y="0"/>
                </a:lnTo>
                <a:lnTo>
                  <a:pt x="34" y="0"/>
                </a:lnTo>
                <a:lnTo>
                  <a:pt x="29" y="3"/>
                </a:lnTo>
                <a:lnTo>
                  <a:pt x="25" y="3"/>
                </a:lnTo>
                <a:lnTo>
                  <a:pt x="25" y="3"/>
                </a:lnTo>
                <a:lnTo>
                  <a:pt x="17" y="4"/>
                </a:lnTo>
                <a:lnTo>
                  <a:pt x="14" y="4"/>
                </a:lnTo>
                <a:lnTo>
                  <a:pt x="11" y="6"/>
                </a:lnTo>
                <a:lnTo>
                  <a:pt x="11" y="6"/>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47" name="Freeform 234">
            <a:extLst>
              <a:ext uri="{FF2B5EF4-FFF2-40B4-BE49-F238E27FC236}">
                <a16:creationId xmlns:a16="http://schemas.microsoft.com/office/drawing/2014/main" id="{467E493B-4D79-661A-2E27-3FB5420FBC1E}"/>
              </a:ext>
            </a:extLst>
          </p:cNvPr>
          <p:cNvSpPr>
            <a:spLocks/>
          </p:cNvSpPr>
          <p:nvPr userDrawn="1"/>
        </p:nvSpPr>
        <p:spPr bwMode="gray">
          <a:xfrm>
            <a:off x="6182029" y="2785430"/>
            <a:ext cx="89736" cy="117046"/>
          </a:xfrm>
          <a:custGeom>
            <a:avLst/>
            <a:gdLst/>
            <a:ahLst/>
            <a:cxnLst>
              <a:cxn ang="0">
                <a:pos x="69" y="74"/>
              </a:cxn>
              <a:cxn ang="0">
                <a:pos x="63" y="45"/>
              </a:cxn>
              <a:cxn ang="0">
                <a:pos x="62" y="43"/>
              </a:cxn>
              <a:cxn ang="0">
                <a:pos x="56" y="50"/>
              </a:cxn>
              <a:cxn ang="0">
                <a:pos x="52" y="55"/>
              </a:cxn>
              <a:cxn ang="0">
                <a:pos x="50" y="55"/>
              </a:cxn>
              <a:cxn ang="0">
                <a:pos x="47" y="53"/>
              </a:cxn>
              <a:cxn ang="0">
                <a:pos x="47" y="41"/>
              </a:cxn>
              <a:cxn ang="0">
                <a:pos x="52" y="38"/>
              </a:cxn>
              <a:cxn ang="0">
                <a:pos x="53" y="38"/>
              </a:cxn>
              <a:cxn ang="0">
                <a:pos x="59" y="31"/>
              </a:cxn>
              <a:cxn ang="0">
                <a:pos x="63" y="23"/>
              </a:cxn>
              <a:cxn ang="0">
                <a:pos x="63" y="20"/>
              </a:cxn>
              <a:cxn ang="0">
                <a:pos x="52" y="18"/>
              </a:cxn>
              <a:cxn ang="0">
                <a:pos x="33" y="20"/>
              </a:cxn>
              <a:cxn ang="0">
                <a:pos x="30" y="17"/>
              </a:cxn>
              <a:cxn ang="0">
                <a:pos x="26" y="11"/>
              </a:cxn>
              <a:cxn ang="0">
                <a:pos x="26" y="8"/>
              </a:cxn>
              <a:cxn ang="0">
                <a:pos x="20" y="4"/>
              </a:cxn>
              <a:cxn ang="0">
                <a:pos x="16" y="3"/>
              </a:cxn>
              <a:cxn ang="0">
                <a:pos x="7" y="0"/>
              </a:cxn>
              <a:cxn ang="0">
                <a:pos x="2" y="3"/>
              </a:cxn>
              <a:cxn ang="0">
                <a:pos x="0" y="6"/>
              </a:cxn>
              <a:cxn ang="0">
                <a:pos x="6" y="10"/>
              </a:cxn>
              <a:cxn ang="0">
                <a:pos x="12" y="14"/>
              </a:cxn>
              <a:cxn ang="0">
                <a:pos x="13" y="17"/>
              </a:cxn>
              <a:cxn ang="0">
                <a:pos x="7" y="20"/>
              </a:cxn>
              <a:cxn ang="0">
                <a:pos x="3" y="23"/>
              </a:cxn>
              <a:cxn ang="0">
                <a:pos x="3" y="28"/>
              </a:cxn>
              <a:cxn ang="0">
                <a:pos x="7" y="47"/>
              </a:cxn>
              <a:cxn ang="0">
                <a:pos x="12" y="60"/>
              </a:cxn>
              <a:cxn ang="0">
                <a:pos x="13" y="77"/>
              </a:cxn>
              <a:cxn ang="0">
                <a:pos x="19" y="75"/>
              </a:cxn>
              <a:cxn ang="0">
                <a:pos x="25" y="74"/>
              </a:cxn>
              <a:cxn ang="0">
                <a:pos x="36" y="71"/>
              </a:cxn>
              <a:cxn ang="0">
                <a:pos x="37" y="67"/>
              </a:cxn>
              <a:cxn ang="0">
                <a:pos x="40" y="61"/>
              </a:cxn>
              <a:cxn ang="0">
                <a:pos x="47" y="60"/>
              </a:cxn>
              <a:cxn ang="0">
                <a:pos x="49" y="63"/>
              </a:cxn>
              <a:cxn ang="0">
                <a:pos x="54" y="75"/>
              </a:cxn>
              <a:cxn ang="0">
                <a:pos x="56" y="81"/>
              </a:cxn>
              <a:cxn ang="0">
                <a:pos x="57" y="90"/>
              </a:cxn>
              <a:cxn ang="0">
                <a:pos x="63" y="85"/>
              </a:cxn>
              <a:cxn ang="0">
                <a:pos x="64" y="81"/>
              </a:cxn>
              <a:cxn ang="0">
                <a:pos x="69" y="74"/>
              </a:cxn>
            </a:cxnLst>
            <a:rect l="0" t="0" r="r" b="b"/>
            <a:pathLst>
              <a:path w="69" h="90">
                <a:moveTo>
                  <a:pt x="69" y="74"/>
                </a:moveTo>
                <a:lnTo>
                  <a:pt x="69" y="74"/>
                </a:lnTo>
                <a:lnTo>
                  <a:pt x="64" y="53"/>
                </a:lnTo>
                <a:lnTo>
                  <a:pt x="63" y="45"/>
                </a:lnTo>
                <a:lnTo>
                  <a:pt x="62" y="43"/>
                </a:lnTo>
                <a:lnTo>
                  <a:pt x="62" y="43"/>
                </a:lnTo>
                <a:lnTo>
                  <a:pt x="59" y="45"/>
                </a:lnTo>
                <a:lnTo>
                  <a:pt x="56" y="50"/>
                </a:lnTo>
                <a:lnTo>
                  <a:pt x="53" y="54"/>
                </a:lnTo>
                <a:lnTo>
                  <a:pt x="52" y="55"/>
                </a:lnTo>
                <a:lnTo>
                  <a:pt x="50" y="55"/>
                </a:lnTo>
                <a:lnTo>
                  <a:pt x="50" y="55"/>
                </a:lnTo>
                <a:lnTo>
                  <a:pt x="49" y="55"/>
                </a:lnTo>
                <a:lnTo>
                  <a:pt x="47" y="53"/>
                </a:lnTo>
                <a:lnTo>
                  <a:pt x="46" y="47"/>
                </a:lnTo>
                <a:lnTo>
                  <a:pt x="47" y="41"/>
                </a:lnTo>
                <a:lnTo>
                  <a:pt x="49" y="40"/>
                </a:lnTo>
                <a:lnTo>
                  <a:pt x="52" y="38"/>
                </a:lnTo>
                <a:lnTo>
                  <a:pt x="52" y="38"/>
                </a:lnTo>
                <a:lnTo>
                  <a:pt x="53" y="38"/>
                </a:lnTo>
                <a:lnTo>
                  <a:pt x="56" y="37"/>
                </a:lnTo>
                <a:lnTo>
                  <a:pt x="59" y="31"/>
                </a:lnTo>
                <a:lnTo>
                  <a:pt x="63" y="27"/>
                </a:lnTo>
                <a:lnTo>
                  <a:pt x="63" y="23"/>
                </a:lnTo>
                <a:lnTo>
                  <a:pt x="63" y="23"/>
                </a:lnTo>
                <a:lnTo>
                  <a:pt x="63" y="20"/>
                </a:lnTo>
                <a:lnTo>
                  <a:pt x="60" y="18"/>
                </a:lnTo>
                <a:lnTo>
                  <a:pt x="52" y="18"/>
                </a:lnTo>
                <a:lnTo>
                  <a:pt x="52" y="18"/>
                </a:lnTo>
                <a:lnTo>
                  <a:pt x="33" y="20"/>
                </a:lnTo>
                <a:lnTo>
                  <a:pt x="33" y="20"/>
                </a:lnTo>
                <a:lnTo>
                  <a:pt x="30" y="17"/>
                </a:lnTo>
                <a:lnTo>
                  <a:pt x="27" y="14"/>
                </a:lnTo>
                <a:lnTo>
                  <a:pt x="26" y="11"/>
                </a:lnTo>
                <a:lnTo>
                  <a:pt x="26" y="11"/>
                </a:lnTo>
                <a:lnTo>
                  <a:pt x="26" y="8"/>
                </a:lnTo>
                <a:lnTo>
                  <a:pt x="23" y="6"/>
                </a:lnTo>
                <a:lnTo>
                  <a:pt x="20" y="4"/>
                </a:lnTo>
                <a:lnTo>
                  <a:pt x="16" y="3"/>
                </a:lnTo>
                <a:lnTo>
                  <a:pt x="16" y="3"/>
                </a:lnTo>
                <a:lnTo>
                  <a:pt x="10" y="1"/>
                </a:lnTo>
                <a:lnTo>
                  <a:pt x="7" y="0"/>
                </a:lnTo>
                <a:lnTo>
                  <a:pt x="6" y="0"/>
                </a:lnTo>
                <a:lnTo>
                  <a:pt x="2" y="3"/>
                </a:lnTo>
                <a:lnTo>
                  <a:pt x="2" y="3"/>
                </a:lnTo>
                <a:lnTo>
                  <a:pt x="0" y="6"/>
                </a:lnTo>
                <a:lnTo>
                  <a:pt x="2" y="7"/>
                </a:lnTo>
                <a:lnTo>
                  <a:pt x="6" y="10"/>
                </a:lnTo>
                <a:lnTo>
                  <a:pt x="10" y="13"/>
                </a:lnTo>
                <a:lnTo>
                  <a:pt x="12" y="14"/>
                </a:lnTo>
                <a:lnTo>
                  <a:pt x="13" y="17"/>
                </a:lnTo>
                <a:lnTo>
                  <a:pt x="13" y="17"/>
                </a:lnTo>
                <a:lnTo>
                  <a:pt x="10" y="20"/>
                </a:lnTo>
                <a:lnTo>
                  <a:pt x="7" y="20"/>
                </a:lnTo>
                <a:lnTo>
                  <a:pt x="6" y="21"/>
                </a:lnTo>
                <a:lnTo>
                  <a:pt x="3" y="23"/>
                </a:lnTo>
                <a:lnTo>
                  <a:pt x="3" y="23"/>
                </a:lnTo>
                <a:lnTo>
                  <a:pt x="3" y="28"/>
                </a:lnTo>
                <a:lnTo>
                  <a:pt x="5" y="34"/>
                </a:lnTo>
                <a:lnTo>
                  <a:pt x="7" y="47"/>
                </a:lnTo>
                <a:lnTo>
                  <a:pt x="7" y="47"/>
                </a:lnTo>
                <a:lnTo>
                  <a:pt x="12" y="60"/>
                </a:lnTo>
                <a:lnTo>
                  <a:pt x="13" y="68"/>
                </a:lnTo>
                <a:lnTo>
                  <a:pt x="13" y="77"/>
                </a:lnTo>
                <a:lnTo>
                  <a:pt x="13" y="77"/>
                </a:lnTo>
                <a:lnTo>
                  <a:pt x="19" y="75"/>
                </a:lnTo>
                <a:lnTo>
                  <a:pt x="25" y="74"/>
                </a:lnTo>
                <a:lnTo>
                  <a:pt x="25" y="74"/>
                </a:lnTo>
                <a:lnTo>
                  <a:pt x="32" y="72"/>
                </a:lnTo>
                <a:lnTo>
                  <a:pt x="36" y="71"/>
                </a:lnTo>
                <a:lnTo>
                  <a:pt x="37" y="67"/>
                </a:lnTo>
                <a:lnTo>
                  <a:pt x="37" y="67"/>
                </a:lnTo>
                <a:lnTo>
                  <a:pt x="39" y="64"/>
                </a:lnTo>
                <a:lnTo>
                  <a:pt x="40" y="61"/>
                </a:lnTo>
                <a:lnTo>
                  <a:pt x="44" y="60"/>
                </a:lnTo>
                <a:lnTo>
                  <a:pt x="47" y="60"/>
                </a:lnTo>
                <a:lnTo>
                  <a:pt x="47" y="60"/>
                </a:lnTo>
                <a:lnTo>
                  <a:pt x="49" y="63"/>
                </a:lnTo>
                <a:lnTo>
                  <a:pt x="52" y="68"/>
                </a:lnTo>
                <a:lnTo>
                  <a:pt x="54" y="75"/>
                </a:lnTo>
                <a:lnTo>
                  <a:pt x="56" y="81"/>
                </a:lnTo>
                <a:lnTo>
                  <a:pt x="56" y="81"/>
                </a:lnTo>
                <a:lnTo>
                  <a:pt x="56" y="85"/>
                </a:lnTo>
                <a:lnTo>
                  <a:pt x="57" y="90"/>
                </a:lnTo>
                <a:lnTo>
                  <a:pt x="57" y="90"/>
                </a:lnTo>
                <a:lnTo>
                  <a:pt x="63" y="85"/>
                </a:lnTo>
                <a:lnTo>
                  <a:pt x="63" y="85"/>
                </a:lnTo>
                <a:lnTo>
                  <a:pt x="64" y="81"/>
                </a:lnTo>
                <a:lnTo>
                  <a:pt x="69" y="74"/>
                </a:lnTo>
                <a:lnTo>
                  <a:pt x="69" y="7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48" name="Freeform 235">
            <a:extLst>
              <a:ext uri="{FF2B5EF4-FFF2-40B4-BE49-F238E27FC236}">
                <a16:creationId xmlns:a16="http://schemas.microsoft.com/office/drawing/2014/main" id="{2275A3B9-5397-BA7F-373D-196D4A7AD1A1}"/>
              </a:ext>
            </a:extLst>
          </p:cNvPr>
          <p:cNvSpPr>
            <a:spLocks/>
          </p:cNvSpPr>
          <p:nvPr userDrawn="1"/>
        </p:nvSpPr>
        <p:spPr bwMode="gray">
          <a:xfrm>
            <a:off x="5777571" y="2570846"/>
            <a:ext cx="578727" cy="609939"/>
          </a:xfrm>
          <a:custGeom>
            <a:avLst/>
            <a:gdLst/>
            <a:ahLst/>
            <a:cxnLst>
              <a:cxn ang="0">
                <a:pos x="321" y="185"/>
              </a:cxn>
              <a:cxn ang="0">
                <a:pos x="313" y="168"/>
              </a:cxn>
              <a:cxn ang="0">
                <a:pos x="337" y="176"/>
              </a:cxn>
              <a:cxn ang="0">
                <a:pos x="374" y="185"/>
              </a:cxn>
              <a:cxn ang="0">
                <a:pos x="360" y="205"/>
              </a:cxn>
              <a:cxn ang="0">
                <a:pos x="367" y="215"/>
              </a:cxn>
              <a:cxn ang="0">
                <a:pos x="381" y="237"/>
              </a:cxn>
              <a:cxn ang="0">
                <a:pos x="388" y="206"/>
              </a:cxn>
              <a:cxn ang="0">
                <a:pos x="405" y="196"/>
              </a:cxn>
              <a:cxn ang="0">
                <a:pos x="412" y="162"/>
              </a:cxn>
              <a:cxn ang="0">
                <a:pos x="438" y="149"/>
              </a:cxn>
              <a:cxn ang="0">
                <a:pos x="441" y="136"/>
              </a:cxn>
              <a:cxn ang="0">
                <a:pos x="435" y="125"/>
              </a:cxn>
              <a:cxn ang="0">
                <a:pos x="418" y="115"/>
              </a:cxn>
              <a:cxn ang="0">
                <a:pos x="388" y="125"/>
              </a:cxn>
              <a:cxn ang="0">
                <a:pos x="367" y="141"/>
              </a:cxn>
              <a:cxn ang="0">
                <a:pos x="353" y="156"/>
              </a:cxn>
              <a:cxn ang="0">
                <a:pos x="328" y="154"/>
              </a:cxn>
              <a:cxn ang="0">
                <a:pos x="320" y="135"/>
              </a:cxn>
              <a:cxn ang="0">
                <a:pos x="311" y="151"/>
              </a:cxn>
              <a:cxn ang="0">
                <a:pos x="277" y="158"/>
              </a:cxn>
              <a:cxn ang="0">
                <a:pos x="243" y="145"/>
              </a:cxn>
              <a:cxn ang="0">
                <a:pos x="213" y="134"/>
              </a:cxn>
              <a:cxn ang="0">
                <a:pos x="193" y="122"/>
              </a:cxn>
              <a:cxn ang="0">
                <a:pos x="199" y="99"/>
              </a:cxn>
              <a:cxn ang="0">
                <a:pos x="183" y="82"/>
              </a:cxn>
              <a:cxn ang="0">
                <a:pos x="166" y="63"/>
              </a:cxn>
              <a:cxn ang="0">
                <a:pos x="176" y="54"/>
              </a:cxn>
              <a:cxn ang="0">
                <a:pos x="171" y="26"/>
              </a:cxn>
              <a:cxn ang="0">
                <a:pos x="158" y="4"/>
              </a:cxn>
              <a:cxn ang="0">
                <a:pos x="134" y="14"/>
              </a:cxn>
              <a:cxn ang="0">
                <a:pos x="95" y="14"/>
              </a:cxn>
              <a:cxn ang="0">
                <a:pos x="97" y="45"/>
              </a:cxn>
              <a:cxn ang="0">
                <a:pos x="112" y="60"/>
              </a:cxn>
              <a:cxn ang="0">
                <a:pos x="101" y="84"/>
              </a:cxn>
              <a:cxn ang="0">
                <a:pos x="88" y="98"/>
              </a:cxn>
              <a:cxn ang="0">
                <a:pos x="64" y="124"/>
              </a:cxn>
              <a:cxn ang="0">
                <a:pos x="45" y="136"/>
              </a:cxn>
              <a:cxn ang="0">
                <a:pos x="25" y="144"/>
              </a:cxn>
              <a:cxn ang="0">
                <a:pos x="30" y="164"/>
              </a:cxn>
              <a:cxn ang="0">
                <a:pos x="42" y="195"/>
              </a:cxn>
              <a:cxn ang="0">
                <a:pos x="15" y="199"/>
              </a:cxn>
              <a:cxn ang="0">
                <a:pos x="14" y="223"/>
              </a:cxn>
              <a:cxn ang="0">
                <a:pos x="31" y="226"/>
              </a:cxn>
              <a:cxn ang="0">
                <a:pos x="40" y="259"/>
              </a:cxn>
              <a:cxn ang="0">
                <a:pos x="61" y="243"/>
              </a:cxn>
              <a:cxn ang="0">
                <a:pos x="70" y="252"/>
              </a:cxn>
              <a:cxn ang="0">
                <a:pos x="72" y="293"/>
              </a:cxn>
              <a:cxn ang="0">
                <a:pos x="99" y="375"/>
              </a:cxn>
              <a:cxn ang="0">
                <a:pos x="126" y="444"/>
              </a:cxn>
              <a:cxn ang="0">
                <a:pos x="156" y="458"/>
              </a:cxn>
              <a:cxn ang="0">
                <a:pos x="175" y="434"/>
              </a:cxn>
              <a:cxn ang="0">
                <a:pos x="186" y="401"/>
              </a:cxn>
              <a:cxn ang="0">
                <a:pos x="190" y="354"/>
              </a:cxn>
              <a:cxn ang="0">
                <a:pos x="212" y="330"/>
              </a:cxn>
              <a:cxn ang="0">
                <a:pos x="263" y="284"/>
              </a:cxn>
              <a:cxn ang="0">
                <a:pos x="291" y="252"/>
              </a:cxn>
              <a:cxn ang="0">
                <a:pos x="324" y="233"/>
              </a:cxn>
            </a:cxnLst>
            <a:rect l="0" t="0" r="r" b="b"/>
            <a:pathLst>
              <a:path w="445" h="469">
                <a:moveTo>
                  <a:pt x="318" y="212"/>
                </a:moveTo>
                <a:lnTo>
                  <a:pt x="318" y="212"/>
                </a:lnTo>
                <a:lnTo>
                  <a:pt x="316" y="199"/>
                </a:lnTo>
                <a:lnTo>
                  <a:pt x="314" y="193"/>
                </a:lnTo>
                <a:lnTo>
                  <a:pt x="314" y="188"/>
                </a:lnTo>
                <a:lnTo>
                  <a:pt x="314" y="188"/>
                </a:lnTo>
                <a:lnTo>
                  <a:pt x="317" y="186"/>
                </a:lnTo>
                <a:lnTo>
                  <a:pt x="318" y="185"/>
                </a:lnTo>
                <a:lnTo>
                  <a:pt x="321" y="185"/>
                </a:lnTo>
                <a:lnTo>
                  <a:pt x="324" y="182"/>
                </a:lnTo>
                <a:lnTo>
                  <a:pt x="324" y="182"/>
                </a:lnTo>
                <a:lnTo>
                  <a:pt x="323" y="179"/>
                </a:lnTo>
                <a:lnTo>
                  <a:pt x="321" y="178"/>
                </a:lnTo>
                <a:lnTo>
                  <a:pt x="317" y="175"/>
                </a:lnTo>
                <a:lnTo>
                  <a:pt x="313" y="172"/>
                </a:lnTo>
                <a:lnTo>
                  <a:pt x="311" y="171"/>
                </a:lnTo>
                <a:lnTo>
                  <a:pt x="313" y="168"/>
                </a:lnTo>
                <a:lnTo>
                  <a:pt x="313" y="168"/>
                </a:lnTo>
                <a:lnTo>
                  <a:pt x="317" y="165"/>
                </a:lnTo>
                <a:lnTo>
                  <a:pt x="318" y="165"/>
                </a:lnTo>
                <a:lnTo>
                  <a:pt x="321" y="166"/>
                </a:lnTo>
                <a:lnTo>
                  <a:pt x="327" y="168"/>
                </a:lnTo>
                <a:lnTo>
                  <a:pt x="327" y="168"/>
                </a:lnTo>
                <a:lnTo>
                  <a:pt x="331" y="169"/>
                </a:lnTo>
                <a:lnTo>
                  <a:pt x="334" y="171"/>
                </a:lnTo>
                <a:lnTo>
                  <a:pt x="337" y="173"/>
                </a:lnTo>
                <a:lnTo>
                  <a:pt x="337" y="176"/>
                </a:lnTo>
                <a:lnTo>
                  <a:pt x="337" y="176"/>
                </a:lnTo>
                <a:lnTo>
                  <a:pt x="338" y="179"/>
                </a:lnTo>
                <a:lnTo>
                  <a:pt x="341" y="182"/>
                </a:lnTo>
                <a:lnTo>
                  <a:pt x="344" y="185"/>
                </a:lnTo>
                <a:lnTo>
                  <a:pt x="344" y="185"/>
                </a:lnTo>
                <a:lnTo>
                  <a:pt x="363" y="183"/>
                </a:lnTo>
                <a:lnTo>
                  <a:pt x="363" y="183"/>
                </a:lnTo>
                <a:lnTo>
                  <a:pt x="371" y="183"/>
                </a:lnTo>
                <a:lnTo>
                  <a:pt x="374" y="185"/>
                </a:lnTo>
                <a:lnTo>
                  <a:pt x="374" y="188"/>
                </a:lnTo>
                <a:lnTo>
                  <a:pt x="374" y="188"/>
                </a:lnTo>
                <a:lnTo>
                  <a:pt x="374" y="192"/>
                </a:lnTo>
                <a:lnTo>
                  <a:pt x="370" y="196"/>
                </a:lnTo>
                <a:lnTo>
                  <a:pt x="367" y="202"/>
                </a:lnTo>
                <a:lnTo>
                  <a:pt x="364" y="203"/>
                </a:lnTo>
                <a:lnTo>
                  <a:pt x="363" y="203"/>
                </a:lnTo>
                <a:lnTo>
                  <a:pt x="363" y="203"/>
                </a:lnTo>
                <a:lnTo>
                  <a:pt x="360" y="205"/>
                </a:lnTo>
                <a:lnTo>
                  <a:pt x="358" y="206"/>
                </a:lnTo>
                <a:lnTo>
                  <a:pt x="357" y="212"/>
                </a:lnTo>
                <a:lnTo>
                  <a:pt x="358" y="218"/>
                </a:lnTo>
                <a:lnTo>
                  <a:pt x="360" y="220"/>
                </a:lnTo>
                <a:lnTo>
                  <a:pt x="361" y="220"/>
                </a:lnTo>
                <a:lnTo>
                  <a:pt x="361" y="220"/>
                </a:lnTo>
                <a:lnTo>
                  <a:pt x="363" y="220"/>
                </a:lnTo>
                <a:lnTo>
                  <a:pt x="364" y="219"/>
                </a:lnTo>
                <a:lnTo>
                  <a:pt x="367" y="215"/>
                </a:lnTo>
                <a:lnTo>
                  <a:pt x="370" y="210"/>
                </a:lnTo>
                <a:lnTo>
                  <a:pt x="373" y="208"/>
                </a:lnTo>
                <a:lnTo>
                  <a:pt x="373" y="208"/>
                </a:lnTo>
                <a:lnTo>
                  <a:pt x="374" y="210"/>
                </a:lnTo>
                <a:lnTo>
                  <a:pt x="375" y="218"/>
                </a:lnTo>
                <a:lnTo>
                  <a:pt x="380" y="239"/>
                </a:lnTo>
                <a:lnTo>
                  <a:pt x="380" y="239"/>
                </a:lnTo>
                <a:lnTo>
                  <a:pt x="381" y="237"/>
                </a:lnTo>
                <a:lnTo>
                  <a:pt x="381" y="237"/>
                </a:lnTo>
                <a:lnTo>
                  <a:pt x="382" y="237"/>
                </a:lnTo>
                <a:lnTo>
                  <a:pt x="384" y="236"/>
                </a:lnTo>
                <a:lnTo>
                  <a:pt x="384" y="230"/>
                </a:lnTo>
                <a:lnTo>
                  <a:pt x="384" y="225"/>
                </a:lnTo>
                <a:lnTo>
                  <a:pt x="385" y="220"/>
                </a:lnTo>
                <a:lnTo>
                  <a:pt x="385" y="220"/>
                </a:lnTo>
                <a:lnTo>
                  <a:pt x="387" y="216"/>
                </a:lnTo>
                <a:lnTo>
                  <a:pt x="388" y="212"/>
                </a:lnTo>
                <a:lnTo>
                  <a:pt x="388" y="206"/>
                </a:lnTo>
                <a:lnTo>
                  <a:pt x="390" y="205"/>
                </a:lnTo>
                <a:lnTo>
                  <a:pt x="390" y="205"/>
                </a:lnTo>
                <a:lnTo>
                  <a:pt x="397" y="206"/>
                </a:lnTo>
                <a:lnTo>
                  <a:pt x="400" y="206"/>
                </a:lnTo>
                <a:lnTo>
                  <a:pt x="401" y="206"/>
                </a:lnTo>
                <a:lnTo>
                  <a:pt x="401" y="205"/>
                </a:lnTo>
                <a:lnTo>
                  <a:pt x="401" y="205"/>
                </a:lnTo>
                <a:lnTo>
                  <a:pt x="402" y="202"/>
                </a:lnTo>
                <a:lnTo>
                  <a:pt x="405" y="196"/>
                </a:lnTo>
                <a:lnTo>
                  <a:pt x="407" y="191"/>
                </a:lnTo>
                <a:lnTo>
                  <a:pt x="407" y="186"/>
                </a:lnTo>
                <a:lnTo>
                  <a:pt x="407" y="186"/>
                </a:lnTo>
                <a:lnTo>
                  <a:pt x="408" y="182"/>
                </a:lnTo>
                <a:lnTo>
                  <a:pt x="410" y="176"/>
                </a:lnTo>
                <a:lnTo>
                  <a:pt x="411" y="172"/>
                </a:lnTo>
                <a:lnTo>
                  <a:pt x="412" y="166"/>
                </a:lnTo>
                <a:lnTo>
                  <a:pt x="412" y="166"/>
                </a:lnTo>
                <a:lnTo>
                  <a:pt x="412" y="162"/>
                </a:lnTo>
                <a:lnTo>
                  <a:pt x="415" y="159"/>
                </a:lnTo>
                <a:lnTo>
                  <a:pt x="422" y="154"/>
                </a:lnTo>
                <a:lnTo>
                  <a:pt x="422" y="154"/>
                </a:lnTo>
                <a:lnTo>
                  <a:pt x="431" y="148"/>
                </a:lnTo>
                <a:lnTo>
                  <a:pt x="434" y="146"/>
                </a:lnTo>
                <a:lnTo>
                  <a:pt x="435" y="146"/>
                </a:lnTo>
                <a:lnTo>
                  <a:pt x="435" y="148"/>
                </a:lnTo>
                <a:lnTo>
                  <a:pt x="435" y="148"/>
                </a:lnTo>
                <a:lnTo>
                  <a:pt x="438" y="149"/>
                </a:lnTo>
                <a:lnTo>
                  <a:pt x="441" y="151"/>
                </a:lnTo>
                <a:lnTo>
                  <a:pt x="444" y="151"/>
                </a:lnTo>
                <a:lnTo>
                  <a:pt x="444" y="149"/>
                </a:lnTo>
                <a:lnTo>
                  <a:pt x="442" y="148"/>
                </a:lnTo>
                <a:lnTo>
                  <a:pt x="442" y="148"/>
                </a:lnTo>
                <a:lnTo>
                  <a:pt x="441" y="144"/>
                </a:lnTo>
                <a:lnTo>
                  <a:pt x="439" y="141"/>
                </a:lnTo>
                <a:lnTo>
                  <a:pt x="439" y="138"/>
                </a:lnTo>
                <a:lnTo>
                  <a:pt x="441" y="136"/>
                </a:lnTo>
                <a:lnTo>
                  <a:pt x="441" y="136"/>
                </a:lnTo>
                <a:lnTo>
                  <a:pt x="444" y="135"/>
                </a:lnTo>
                <a:lnTo>
                  <a:pt x="444" y="132"/>
                </a:lnTo>
                <a:lnTo>
                  <a:pt x="445" y="129"/>
                </a:lnTo>
                <a:lnTo>
                  <a:pt x="445" y="129"/>
                </a:lnTo>
                <a:lnTo>
                  <a:pt x="441" y="128"/>
                </a:lnTo>
                <a:lnTo>
                  <a:pt x="438" y="127"/>
                </a:lnTo>
                <a:lnTo>
                  <a:pt x="435" y="125"/>
                </a:lnTo>
                <a:lnTo>
                  <a:pt x="435" y="125"/>
                </a:lnTo>
                <a:lnTo>
                  <a:pt x="432" y="119"/>
                </a:lnTo>
                <a:lnTo>
                  <a:pt x="431" y="117"/>
                </a:lnTo>
                <a:lnTo>
                  <a:pt x="429" y="114"/>
                </a:lnTo>
                <a:lnTo>
                  <a:pt x="429" y="114"/>
                </a:lnTo>
                <a:lnTo>
                  <a:pt x="428" y="112"/>
                </a:lnTo>
                <a:lnTo>
                  <a:pt x="427" y="112"/>
                </a:lnTo>
                <a:lnTo>
                  <a:pt x="421" y="115"/>
                </a:lnTo>
                <a:lnTo>
                  <a:pt x="421" y="115"/>
                </a:lnTo>
                <a:lnTo>
                  <a:pt x="418" y="115"/>
                </a:lnTo>
                <a:lnTo>
                  <a:pt x="414" y="115"/>
                </a:lnTo>
                <a:lnTo>
                  <a:pt x="408" y="114"/>
                </a:lnTo>
                <a:lnTo>
                  <a:pt x="402" y="115"/>
                </a:lnTo>
                <a:lnTo>
                  <a:pt x="402" y="115"/>
                </a:lnTo>
                <a:lnTo>
                  <a:pt x="397" y="119"/>
                </a:lnTo>
                <a:lnTo>
                  <a:pt x="394" y="122"/>
                </a:lnTo>
                <a:lnTo>
                  <a:pt x="391" y="124"/>
                </a:lnTo>
                <a:lnTo>
                  <a:pt x="388" y="125"/>
                </a:lnTo>
                <a:lnTo>
                  <a:pt x="388" y="125"/>
                </a:lnTo>
                <a:lnTo>
                  <a:pt x="387" y="125"/>
                </a:lnTo>
                <a:lnTo>
                  <a:pt x="385" y="127"/>
                </a:lnTo>
                <a:lnTo>
                  <a:pt x="382" y="131"/>
                </a:lnTo>
                <a:lnTo>
                  <a:pt x="382" y="131"/>
                </a:lnTo>
                <a:lnTo>
                  <a:pt x="378" y="135"/>
                </a:lnTo>
                <a:lnTo>
                  <a:pt x="374" y="138"/>
                </a:lnTo>
                <a:lnTo>
                  <a:pt x="374" y="138"/>
                </a:lnTo>
                <a:lnTo>
                  <a:pt x="370" y="139"/>
                </a:lnTo>
                <a:lnTo>
                  <a:pt x="367" y="141"/>
                </a:lnTo>
                <a:lnTo>
                  <a:pt x="367" y="141"/>
                </a:lnTo>
                <a:lnTo>
                  <a:pt x="368" y="146"/>
                </a:lnTo>
                <a:lnTo>
                  <a:pt x="368" y="151"/>
                </a:lnTo>
                <a:lnTo>
                  <a:pt x="368" y="155"/>
                </a:lnTo>
                <a:lnTo>
                  <a:pt x="368" y="155"/>
                </a:lnTo>
                <a:lnTo>
                  <a:pt x="365" y="156"/>
                </a:lnTo>
                <a:lnTo>
                  <a:pt x="361" y="156"/>
                </a:lnTo>
                <a:lnTo>
                  <a:pt x="357" y="156"/>
                </a:lnTo>
                <a:lnTo>
                  <a:pt x="353" y="156"/>
                </a:lnTo>
                <a:lnTo>
                  <a:pt x="353" y="156"/>
                </a:lnTo>
                <a:lnTo>
                  <a:pt x="347" y="158"/>
                </a:lnTo>
                <a:lnTo>
                  <a:pt x="344" y="156"/>
                </a:lnTo>
                <a:lnTo>
                  <a:pt x="341" y="155"/>
                </a:lnTo>
                <a:lnTo>
                  <a:pt x="337" y="155"/>
                </a:lnTo>
                <a:lnTo>
                  <a:pt x="337" y="155"/>
                </a:lnTo>
                <a:lnTo>
                  <a:pt x="334" y="155"/>
                </a:lnTo>
                <a:lnTo>
                  <a:pt x="331" y="155"/>
                </a:lnTo>
                <a:lnTo>
                  <a:pt x="328" y="154"/>
                </a:lnTo>
                <a:lnTo>
                  <a:pt x="326" y="154"/>
                </a:lnTo>
                <a:lnTo>
                  <a:pt x="326" y="154"/>
                </a:lnTo>
                <a:lnTo>
                  <a:pt x="324" y="152"/>
                </a:lnTo>
                <a:lnTo>
                  <a:pt x="323" y="149"/>
                </a:lnTo>
                <a:lnTo>
                  <a:pt x="321" y="146"/>
                </a:lnTo>
                <a:lnTo>
                  <a:pt x="321" y="142"/>
                </a:lnTo>
                <a:lnTo>
                  <a:pt x="321" y="142"/>
                </a:lnTo>
                <a:lnTo>
                  <a:pt x="321" y="138"/>
                </a:lnTo>
                <a:lnTo>
                  <a:pt x="320" y="135"/>
                </a:lnTo>
                <a:lnTo>
                  <a:pt x="318" y="132"/>
                </a:lnTo>
                <a:lnTo>
                  <a:pt x="316" y="134"/>
                </a:lnTo>
                <a:lnTo>
                  <a:pt x="316" y="134"/>
                </a:lnTo>
                <a:lnTo>
                  <a:pt x="314" y="136"/>
                </a:lnTo>
                <a:lnTo>
                  <a:pt x="311" y="136"/>
                </a:lnTo>
                <a:lnTo>
                  <a:pt x="310" y="138"/>
                </a:lnTo>
                <a:lnTo>
                  <a:pt x="310" y="142"/>
                </a:lnTo>
                <a:lnTo>
                  <a:pt x="310" y="142"/>
                </a:lnTo>
                <a:lnTo>
                  <a:pt x="311" y="151"/>
                </a:lnTo>
                <a:lnTo>
                  <a:pt x="311" y="155"/>
                </a:lnTo>
                <a:lnTo>
                  <a:pt x="309" y="158"/>
                </a:lnTo>
                <a:lnTo>
                  <a:pt x="309" y="158"/>
                </a:lnTo>
                <a:lnTo>
                  <a:pt x="304" y="161"/>
                </a:lnTo>
                <a:lnTo>
                  <a:pt x="296" y="162"/>
                </a:lnTo>
                <a:lnTo>
                  <a:pt x="287" y="162"/>
                </a:lnTo>
                <a:lnTo>
                  <a:pt x="281" y="161"/>
                </a:lnTo>
                <a:lnTo>
                  <a:pt x="281" y="161"/>
                </a:lnTo>
                <a:lnTo>
                  <a:pt x="277" y="158"/>
                </a:lnTo>
                <a:lnTo>
                  <a:pt x="270" y="156"/>
                </a:lnTo>
                <a:lnTo>
                  <a:pt x="263" y="155"/>
                </a:lnTo>
                <a:lnTo>
                  <a:pt x="260" y="152"/>
                </a:lnTo>
                <a:lnTo>
                  <a:pt x="260" y="152"/>
                </a:lnTo>
                <a:lnTo>
                  <a:pt x="257" y="146"/>
                </a:lnTo>
                <a:lnTo>
                  <a:pt x="254" y="145"/>
                </a:lnTo>
                <a:lnTo>
                  <a:pt x="252" y="144"/>
                </a:lnTo>
                <a:lnTo>
                  <a:pt x="252" y="144"/>
                </a:lnTo>
                <a:lnTo>
                  <a:pt x="243" y="145"/>
                </a:lnTo>
                <a:lnTo>
                  <a:pt x="239" y="146"/>
                </a:lnTo>
                <a:lnTo>
                  <a:pt x="236" y="146"/>
                </a:lnTo>
                <a:lnTo>
                  <a:pt x="236" y="146"/>
                </a:lnTo>
                <a:lnTo>
                  <a:pt x="230" y="142"/>
                </a:lnTo>
                <a:lnTo>
                  <a:pt x="226" y="139"/>
                </a:lnTo>
                <a:lnTo>
                  <a:pt x="223" y="138"/>
                </a:lnTo>
                <a:lnTo>
                  <a:pt x="223" y="138"/>
                </a:lnTo>
                <a:lnTo>
                  <a:pt x="216" y="136"/>
                </a:lnTo>
                <a:lnTo>
                  <a:pt x="213" y="134"/>
                </a:lnTo>
                <a:lnTo>
                  <a:pt x="210" y="132"/>
                </a:lnTo>
                <a:lnTo>
                  <a:pt x="210" y="132"/>
                </a:lnTo>
                <a:lnTo>
                  <a:pt x="209" y="131"/>
                </a:lnTo>
                <a:lnTo>
                  <a:pt x="205" y="129"/>
                </a:lnTo>
                <a:lnTo>
                  <a:pt x="200" y="128"/>
                </a:lnTo>
                <a:lnTo>
                  <a:pt x="199" y="125"/>
                </a:lnTo>
                <a:lnTo>
                  <a:pt x="199" y="125"/>
                </a:lnTo>
                <a:lnTo>
                  <a:pt x="196" y="124"/>
                </a:lnTo>
                <a:lnTo>
                  <a:pt x="193" y="122"/>
                </a:lnTo>
                <a:lnTo>
                  <a:pt x="190" y="121"/>
                </a:lnTo>
                <a:lnTo>
                  <a:pt x="190" y="119"/>
                </a:lnTo>
                <a:lnTo>
                  <a:pt x="190" y="119"/>
                </a:lnTo>
                <a:lnTo>
                  <a:pt x="192" y="114"/>
                </a:lnTo>
                <a:lnTo>
                  <a:pt x="193" y="107"/>
                </a:lnTo>
                <a:lnTo>
                  <a:pt x="193" y="107"/>
                </a:lnTo>
                <a:lnTo>
                  <a:pt x="193" y="105"/>
                </a:lnTo>
                <a:lnTo>
                  <a:pt x="196" y="102"/>
                </a:lnTo>
                <a:lnTo>
                  <a:pt x="199" y="99"/>
                </a:lnTo>
                <a:lnTo>
                  <a:pt x="200" y="97"/>
                </a:lnTo>
                <a:lnTo>
                  <a:pt x="200" y="97"/>
                </a:lnTo>
                <a:lnTo>
                  <a:pt x="199" y="95"/>
                </a:lnTo>
                <a:lnTo>
                  <a:pt x="196" y="92"/>
                </a:lnTo>
                <a:lnTo>
                  <a:pt x="193" y="90"/>
                </a:lnTo>
                <a:lnTo>
                  <a:pt x="193" y="90"/>
                </a:lnTo>
                <a:lnTo>
                  <a:pt x="190" y="87"/>
                </a:lnTo>
                <a:lnTo>
                  <a:pt x="188" y="84"/>
                </a:lnTo>
                <a:lnTo>
                  <a:pt x="183" y="82"/>
                </a:lnTo>
                <a:lnTo>
                  <a:pt x="183" y="82"/>
                </a:lnTo>
                <a:lnTo>
                  <a:pt x="180" y="81"/>
                </a:lnTo>
                <a:lnTo>
                  <a:pt x="176" y="78"/>
                </a:lnTo>
                <a:lnTo>
                  <a:pt x="173" y="74"/>
                </a:lnTo>
                <a:lnTo>
                  <a:pt x="171" y="72"/>
                </a:lnTo>
                <a:lnTo>
                  <a:pt x="171" y="72"/>
                </a:lnTo>
                <a:lnTo>
                  <a:pt x="168" y="71"/>
                </a:lnTo>
                <a:lnTo>
                  <a:pt x="166" y="67"/>
                </a:lnTo>
                <a:lnTo>
                  <a:pt x="166" y="63"/>
                </a:lnTo>
                <a:lnTo>
                  <a:pt x="165" y="60"/>
                </a:lnTo>
                <a:lnTo>
                  <a:pt x="165" y="60"/>
                </a:lnTo>
                <a:lnTo>
                  <a:pt x="163" y="57"/>
                </a:lnTo>
                <a:lnTo>
                  <a:pt x="163" y="54"/>
                </a:lnTo>
                <a:lnTo>
                  <a:pt x="166" y="53"/>
                </a:lnTo>
                <a:lnTo>
                  <a:pt x="169" y="53"/>
                </a:lnTo>
                <a:lnTo>
                  <a:pt x="169" y="53"/>
                </a:lnTo>
                <a:lnTo>
                  <a:pt x="172" y="54"/>
                </a:lnTo>
                <a:lnTo>
                  <a:pt x="176" y="54"/>
                </a:lnTo>
                <a:lnTo>
                  <a:pt x="179" y="51"/>
                </a:lnTo>
                <a:lnTo>
                  <a:pt x="179" y="50"/>
                </a:lnTo>
                <a:lnTo>
                  <a:pt x="178" y="47"/>
                </a:lnTo>
                <a:lnTo>
                  <a:pt x="178" y="47"/>
                </a:lnTo>
                <a:lnTo>
                  <a:pt x="172" y="40"/>
                </a:lnTo>
                <a:lnTo>
                  <a:pt x="171" y="35"/>
                </a:lnTo>
                <a:lnTo>
                  <a:pt x="169" y="33"/>
                </a:lnTo>
                <a:lnTo>
                  <a:pt x="169" y="33"/>
                </a:lnTo>
                <a:lnTo>
                  <a:pt x="171" y="26"/>
                </a:lnTo>
                <a:lnTo>
                  <a:pt x="171" y="21"/>
                </a:lnTo>
                <a:lnTo>
                  <a:pt x="171" y="20"/>
                </a:lnTo>
                <a:lnTo>
                  <a:pt x="169" y="18"/>
                </a:lnTo>
                <a:lnTo>
                  <a:pt x="169" y="18"/>
                </a:lnTo>
                <a:lnTo>
                  <a:pt x="162" y="13"/>
                </a:lnTo>
                <a:lnTo>
                  <a:pt x="161" y="10"/>
                </a:lnTo>
                <a:lnTo>
                  <a:pt x="159" y="7"/>
                </a:lnTo>
                <a:lnTo>
                  <a:pt x="159" y="7"/>
                </a:lnTo>
                <a:lnTo>
                  <a:pt x="158" y="4"/>
                </a:lnTo>
                <a:lnTo>
                  <a:pt x="155" y="1"/>
                </a:lnTo>
                <a:lnTo>
                  <a:pt x="153" y="0"/>
                </a:lnTo>
                <a:lnTo>
                  <a:pt x="146" y="0"/>
                </a:lnTo>
                <a:lnTo>
                  <a:pt x="146" y="0"/>
                </a:lnTo>
                <a:lnTo>
                  <a:pt x="145" y="6"/>
                </a:lnTo>
                <a:lnTo>
                  <a:pt x="142" y="10"/>
                </a:lnTo>
                <a:lnTo>
                  <a:pt x="141" y="11"/>
                </a:lnTo>
                <a:lnTo>
                  <a:pt x="141" y="11"/>
                </a:lnTo>
                <a:lnTo>
                  <a:pt x="134" y="14"/>
                </a:lnTo>
                <a:lnTo>
                  <a:pt x="124" y="18"/>
                </a:lnTo>
                <a:lnTo>
                  <a:pt x="124" y="18"/>
                </a:lnTo>
                <a:lnTo>
                  <a:pt x="122" y="18"/>
                </a:lnTo>
                <a:lnTo>
                  <a:pt x="119" y="18"/>
                </a:lnTo>
                <a:lnTo>
                  <a:pt x="114" y="17"/>
                </a:lnTo>
                <a:lnTo>
                  <a:pt x="106" y="14"/>
                </a:lnTo>
                <a:lnTo>
                  <a:pt x="101" y="14"/>
                </a:lnTo>
                <a:lnTo>
                  <a:pt x="101" y="14"/>
                </a:lnTo>
                <a:lnTo>
                  <a:pt x="95" y="14"/>
                </a:lnTo>
                <a:lnTo>
                  <a:pt x="92" y="17"/>
                </a:lnTo>
                <a:lnTo>
                  <a:pt x="91" y="20"/>
                </a:lnTo>
                <a:lnTo>
                  <a:pt x="92" y="23"/>
                </a:lnTo>
                <a:lnTo>
                  <a:pt x="92" y="23"/>
                </a:lnTo>
                <a:lnTo>
                  <a:pt x="94" y="26"/>
                </a:lnTo>
                <a:lnTo>
                  <a:pt x="95" y="31"/>
                </a:lnTo>
                <a:lnTo>
                  <a:pt x="95" y="38"/>
                </a:lnTo>
                <a:lnTo>
                  <a:pt x="95" y="38"/>
                </a:lnTo>
                <a:lnTo>
                  <a:pt x="97" y="45"/>
                </a:lnTo>
                <a:lnTo>
                  <a:pt x="101" y="51"/>
                </a:lnTo>
                <a:lnTo>
                  <a:pt x="102" y="53"/>
                </a:lnTo>
                <a:lnTo>
                  <a:pt x="104" y="53"/>
                </a:lnTo>
                <a:lnTo>
                  <a:pt x="104" y="53"/>
                </a:lnTo>
                <a:lnTo>
                  <a:pt x="108" y="53"/>
                </a:lnTo>
                <a:lnTo>
                  <a:pt x="112" y="55"/>
                </a:lnTo>
                <a:lnTo>
                  <a:pt x="114" y="58"/>
                </a:lnTo>
                <a:lnTo>
                  <a:pt x="114" y="60"/>
                </a:lnTo>
                <a:lnTo>
                  <a:pt x="112" y="60"/>
                </a:lnTo>
                <a:lnTo>
                  <a:pt x="112" y="60"/>
                </a:lnTo>
                <a:lnTo>
                  <a:pt x="108" y="61"/>
                </a:lnTo>
                <a:lnTo>
                  <a:pt x="106" y="64"/>
                </a:lnTo>
                <a:lnTo>
                  <a:pt x="104" y="68"/>
                </a:lnTo>
                <a:lnTo>
                  <a:pt x="104" y="72"/>
                </a:lnTo>
                <a:lnTo>
                  <a:pt x="104" y="72"/>
                </a:lnTo>
                <a:lnTo>
                  <a:pt x="104" y="80"/>
                </a:lnTo>
                <a:lnTo>
                  <a:pt x="102" y="82"/>
                </a:lnTo>
                <a:lnTo>
                  <a:pt x="101" y="84"/>
                </a:lnTo>
                <a:lnTo>
                  <a:pt x="101" y="84"/>
                </a:lnTo>
                <a:lnTo>
                  <a:pt x="98" y="84"/>
                </a:lnTo>
                <a:lnTo>
                  <a:pt x="95" y="85"/>
                </a:lnTo>
                <a:lnTo>
                  <a:pt x="94" y="88"/>
                </a:lnTo>
                <a:lnTo>
                  <a:pt x="92" y="92"/>
                </a:lnTo>
                <a:lnTo>
                  <a:pt x="92" y="92"/>
                </a:lnTo>
                <a:lnTo>
                  <a:pt x="92" y="95"/>
                </a:lnTo>
                <a:lnTo>
                  <a:pt x="91" y="97"/>
                </a:lnTo>
                <a:lnTo>
                  <a:pt x="88" y="98"/>
                </a:lnTo>
                <a:lnTo>
                  <a:pt x="85" y="99"/>
                </a:lnTo>
                <a:lnTo>
                  <a:pt x="84" y="101"/>
                </a:lnTo>
                <a:lnTo>
                  <a:pt x="84" y="101"/>
                </a:lnTo>
                <a:lnTo>
                  <a:pt x="81" y="109"/>
                </a:lnTo>
                <a:lnTo>
                  <a:pt x="77" y="118"/>
                </a:lnTo>
                <a:lnTo>
                  <a:pt x="77" y="118"/>
                </a:lnTo>
                <a:lnTo>
                  <a:pt x="70" y="121"/>
                </a:lnTo>
                <a:lnTo>
                  <a:pt x="65" y="122"/>
                </a:lnTo>
                <a:lnTo>
                  <a:pt x="64" y="124"/>
                </a:lnTo>
                <a:lnTo>
                  <a:pt x="64" y="125"/>
                </a:lnTo>
                <a:lnTo>
                  <a:pt x="64" y="125"/>
                </a:lnTo>
                <a:lnTo>
                  <a:pt x="62" y="129"/>
                </a:lnTo>
                <a:lnTo>
                  <a:pt x="60" y="134"/>
                </a:lnTo>
                <a:lnTo>
                  <a:pt x="57" y="136"/>
                </a:lnTo>
                <a:lnTo>
                  <a:pt x="55" y="138"/>
                </a:lnTo>
                <a:lnTo>
                  <a:pt x="55" y="138"/>
                </a:lnTo>
                <a:lnTo>
                  <a:pt x="48" y="136"/>
                </a:lnTo>
                <a:lnTo>
                  <a:pt x="45" y="136"/>
                </a:lnTo>
                <a:lnTo>
                  <a:pt x="44" y="138"/>
                </a:lnTo>
                <a:lnTo>
                  <a:pt x="44" y="138"/>
                </a:lnTo>
                <a:lnTo>
                  <a:pt x="42" y="139"/>
                </a:lnTo>
                <a:lnTo>
                  <a:pt x="41" y="139"/>
                </a:lnTo>
                <a:lnTo>
                  <a:pt x="38" y="138"/>
                </a:lnTo>
                <a:lnTo>
                  <a:pt x="34" y="136"/>
                </a:lnTo>
                <a:lnTo>
                  <a:pt x="33" y="136"/>
                </a:lnTo>
                <a:lnTo>
                  <a:pt x="33" y="136"/>
                </a:lnTo>
                <a:lnTo>
                  <a:pt x="25" y="144"/>
                </a:lnTo>
                <a:lnTo>
                  <a:pt x="21" y="148"/>
                </a:lnTo>
                <a:lnTo>
                  <a:pt x="20" y="152"/>
                </a:lnTo>
                <a:lnTo>
                  <a:pt x="20" y="152"/>
                </a:lnTo>
                <a:lnTo>
                  <a:pt x="20" y="154"/>
                </a:lnTo>
                <a:lnTo>
                  <a:pt x="21" y="155"/>
                </a:lnTo>
                <a:lnTo>
                  <a:pt x="25" y="158"/>
                </a:lnTo>
                <a:lnTo>
                  <a:pt x="28" y="159"/>
                </a:lnTo>
                <a:lnTo>
                  <a:pt x="30" y="162"/>
                </a:lnTo>
                <a:lnTo>
                  <a:pt x="30" y="164"/>
                </a:lnTo>
                <a:lnTo>
                  <a:pt x="30" y="164"/>
                </a:lnTo>
                <a:lnTo>
                  <a:pt x="30" y="168"/>
                </a:lnTo>
                <a:lnTo>
                  <a:pt x="33" y="173"/>
                </a:lnTo>
                <a:lnTo>
                  <a:pt x="37" y="181"/>
                </a:lnTo>
                <a:lnTo>
                  <a:pt x="37" y="181"/>
                </a:lnTo>
                <a:lnTo>
                  <a:pt x="42" y="188"/>
                </a:lnTo>
                <a:lnTo>
                  <a:pt x="44" y="192"/>
                </a:lnTo>
                <a:lnTo>
                  <a:pt x="42" y="195"/>
                </a:lnTo>
                <a:lnTo>
                  <a:pt x="42" y="195"/>
                </a:lnTo>
                <a:lnTo>
                  <a:pt x="41" y="198"/>
                </a:lnTo>
                <a:lnTo>
                  <a:pt x="38" y="198"/>
                </a:lnTo>
                <a:lnTo>
                  <a:pt x="31" y="198"/>
                </a:lnTo>
                <a:lnTo>
                  <a:pt x="31" y="198"/>
                </a:lnTo>
                <a:lnTo>
                  <a:pt x="27" y="198"/>
                </a:lnTo>
                <a:lnTo>
                  <a:pt x="24" y="199"/>
                </a:lnTo>
                <a:lnTo>
                  <a:pt x="21" y="199"/>
                </a:lnTo>
                <a:lnTo>
                  <a:pt x="15" y="199"/>
                </a:lnTo>
                <a:lnTo>
                  <a:pt x="15" y="199"/>
                </a:lnTo>
                <a:lnTo>
                  <a:pt x="10" y="199"/>
                </a:lnTo>
                <a:lnTo>
                  <a:pt x="5" y="200"/>
                </a:lnTo>
                <a:lnTo>
                  <a:pt x="1" y="209"/>
                </a:lnTo>
                <a:lnTo>
                  <a:pt x="1" y="209"/>
                </a:lnTo>
                <a:lnTo>
                  <a:pt x="0" y="210"/>
                </a:lnTo>
                <a:lnTo>
                  <a:pt x="0" y="210"/>
                </a:lnTo>
                <a:lnTo>
                  <a:pt x="5" y="216"/>
                </a:lnTo>
                <a:lnTo>
                  <a:pt x="10" y="220"/>
                </a:lnTo>
                <a:lnTo>
                  <a:pt x="14" y="223"/>
                </a:lnTo>
                <a:lnTo>
                  <a:pt x="14" y="223"/>
                </a:lnTo>
                <a:lnTo>
                  <a:pt x="18" y="225"/>
                </a:lnTo>
                <a:lnTo>
                  <a:pt x="21" y="225"/>
                </a:lnTo>
                <a:lnTo>
                  <a:pt x="27" y="223"/>
                </a:lnTo>
                <a:lnTo>
                  <a:pt x="31" y="222"/>
                </a:lnTo>
                <a:lnTo>
                  <a:pt x="31" y="222"/>
                </a:lnTo>
                <a:lnTo>
                  <a:pt x="33" y="225"/>
                </a:lnTo>
                <a:lnTo>
                  <a:pt x="33" y="225"/>
                </a:lnTo>
                <a:lnTo>
                  <a:pt x="31" y="226"/>
                </a:lnTo>
                <a:lnTo>
                  <a:pt x="28" y="228"/>
                </a:lnTo>
                <a:lnTo>
                  <a:pt x="21" y="230"/>
                </a:lnTo>
                <a:lnTo>
                  <a:pt x="14" y="230"/>
                </a:lnTo>
                <a:lnTo>
                  <a:pt x="10" y="232"/>
                </a:lnTo>
                <a:lnTo>
                  <a:pt x="10" y="232"/>
                </a:lnTo>
                <a:lnTo>
                  <a:pt x="13" y="237"/>
                </a:lnTo>
                <a:lnTo>
                  <a:pt x="23" y="247"/>
                </a:lnTo>
                <a:lnTo>
                  <a:pt x="34" y="256"/>
                </a:lnTo>
                <a:lnTo>
                  <a:pt x="40" y="259"/>
                </a:lnTo>
                <a:lnTo>
                  <a:pt x="44" y="260"/>
                </a:lnTo>
                <a:lnTo>
                  <a:pt x="44" y="260"/>
                </a:lnTo>
                <a:lnTo>
                  <a:pt x="48" y="259"/>
                </a:lnTo>
                <a:lnTo>
                  <a:pt x="52" y="256"/>
                </a:lnTo>
                <a:lnTo>
                  <a:pt x="58" y="252"/>
                </a:lnTo>
                <a:lnTo>
                  <a:pt x="61" y="246"/>
                </a:lnTo>
                <a:lnTo>
                  <a:pt x="61" y="245"/>
                </a:lnTo>
                <a:lnTo>
                  <a:pt x="61" y="243"/>
                </a:lnTo>
                <a:lnTo>
                  <a:pt x="61" y="243"/>
                </a:lnTo>
                <a:lnTo>
                  <a:pt x="60" y="240"/>
                </a:lnTo>
                <a:lnTo>
                  <a:pt x="61" y="237"/>
                </a:lnTo>
                <a:lnTo>
                  <a:pt x="64" y="235"/>
                </a:lnTo>
                <a:lnTo>
                  <a:pt x="65" y="235"/>
                </a:lnTo>
                <a:lnTo>
                  <a:pt x="65" y="235"/>
                </a:lnTo>
                <a:lnTo>
                  <a:pt x="67" y="237"/>
                </a:lnTo>
                <a:lnTo>
                  <a:pt x="68" y="243"/>
                </a:lnTo>
                <a:lnTo>
                  <a:pt x="68" y="247"/>
                </a:lnTo>
                <a:lnTo>
                  <a:pt x="70" y="252"/>
                </a:lnTo>
                <a:lnTo>
                  <a:pt x="70" y="252"/>
                </a:lnTo>
                <a:lnTo>
                  <a:pt x="71" y="255"/>
                </a:lnTo>
                <a:lnTo>
                  <a:pt x="72" y="257"/>
                </a:lnTo>
                <a:lnTo>
                  <a:pt x="70" y="266"/>
                </a:lnTo>
                <a:lnTo>
                  <a:pt x="70" y="266"/>
                </a:lnTo>
                <a:lnTo>
                  <a:pt x="70" y="272"/>
                </a:lnTo>
                <a:lnTo>
                  <a:pt x="70" y="279"/>
                </a:lnTo>
                <a:lnTo>
                  <a:pt x="72" y="293"/>
                </a:lnTo>
                <a:lnTo>
                  <a:pt x="72" y="293"/>
                </a:lnTo>
                <a:lnTo>
                  <a:pt x="77" y="306"/>
                </a:lnTo>
                <a:lnTo>
                  <a:pt x="81" y="321"/>
                </a:lnTo>
                <a:lnTo>
                  <a:pt x="81" y="321"/>
                </a:lnTo>
                <a:lnTo>
                  <a:pt x="82" y="331"/>
                </a:lnTo>
                <a:lnTo>
                  <a:pt x="87" y="343"/>
                </a:lnTo>
                <a:lnTo>
                  <a:pt x="91" y="354"/>
                </a:lnTo>
                <a:lnTo>
                  <a:pt x="95" y="366"/>
                </a:lnTo>
                <a:lnTo>
                  <a:pt x="95" y="366"/>
                </a:lnTo>
                <a:lnTo>
                  <a:pt x="99" y="375"/>
                </a:lnTo>
                <a:lnTo>
                  <a:pt x="104" y="388"/>
                </a:lnTo>
                <a:lnTo>
                  <a:pt x="108" y="400"/>
                </a:lnTo>
                <a:lnTo>
                  <a:pt x="111" y="407"/>
                </a:lnTo>
                <a:lnTo>
                  <a:pt x="111" y="407"/>
                </a:lnTo>
                <a:lnTo>
                  <a:pt x="119" y="421"/>
                </a:lnTo>
                <a:lnTo>
                  <a:pt x="124" y="431"/>
                </a:lnTo>
                <a:lnTo>
                  <a:pt x="126" y="439"/>
                </a:lnTo>
                <a:lnTo>
                  <a:pt x="126" y="439"/>
                </a:lnTo>
                <a:lnTo>
                  <a:pt x="126" y="444"/>
                </a:lnTo>
                <a:lnTo>
                  <a:pt x="128" y="448"/>
                </a:lnTo>
                <a:lnTo>
                  <a:pt x="132" y="457"/>
                </a:lnTo>
                <a:lnTo>
                  <a:pt x="138" y="464"/>
                </a:lnTo>
                <a:lnTo>
                  <a:pt x="142" y="468"/>
                </a:lnTo>
                <a:lnTo>
                  <a:pt x="142" y="468"/>
                </a:lnTo>
                <a:lnTo>
                  <a:pt x="145" y="469"/>
                </a:lnTo>
                <a:lnTo>
                  <a:pt x="149" y="467"/>
                </a:lnTo>
                <a:lnTo>
                  <a:pt x="153" y="464"/>
                </a:lnTo>
                <a:lnTo>
                  <a:pt x="156" y="458"/>
                </a:lnTo>
                <a:lnTo>
                  <a:pt x="156" y="458"/>
                </a:lnTo>
                <a:lnTo>
                  <a:pt x="159" y="454"/>
                </a:lnTo>
                <a:lnTo>
                  <a:pt x="165" y="451"/>
                </a:lnTo>
                <a:lnTo>
                  <a:pt x="169" y="448"/>
                </a:lnTo>
                <a:lnTo>
                  <a:pt x="171" y="445"/>
                </a:lnTo>
                <a:lnTo>
                  <a:pt x="172" y="444"/>
                </a:lnTo>
                <a:lnTo>
                  <a:pt x="172" y="444"/>
                </a:lnTo>
                <a:lnTo>
                  <a:pt x="173" y="437"/>
                </a:lnTo>
                <a:lnTo>
                  <a:pt x="175" y="434"/>
                </a:lnTo>
                <a:lnTo>
                  <a:pt x="178" y="432"/>
                </a:lnTo>
                <a:lnTo>
                  <a:pt x="178" y="432"/>
                </a:lnTo>
                <a:lnTo>
                  <a:pt x="180" y="431"/>
                </a:lnTo>
                <a:lnTo>
                  <a:pt x="182" y="430"/>
                </a:lnTo>
                <a:lnTo>
                  <a:pt x="182" y="421"/>
                </a:lnTo>
                <a:lnTo>
                  <a:pt x="182" y="421"/>
                </a:lnTo>
                <a:lnTo>
                  <a:pt x="183" y="411"/>
                </a:lnTo>
                <a:lnTo>
                  <a:pt x="185" y="405"/>
                </a:lnTo>
                <a:lnTo>
                  <a:pt x="186" y="401"/>
                </a:lnTo>
                <a:lnTo>
                  <a:pt x="186" y="401"/>
                </a:lnTo>
                <a:lnTo>
                  <a:pt x="189" y="395"/>
                </a:lnTo>
                <a:lnTo>
                  <a:pt x="190" y="388"/>
                </a:lnTo>
                <a:lnTo>
                  <a:pt x="190" y="381"/>
                </a:lnTo>
                <a:lnTo>
                  <a:pt x="189" y="375"/>
                </a:lnTo>
                <a:lnTo>
                  <a:pt x="189" y="375"/>
                </a:lnTo>
                <a:lnTo>
                  <a:pt x="188" y="370"/>
                </a:lnTo>
                <a:lnTo>
                  <a:pt x="188" y="366"/>
                </a:lnTo>
                <a:lnTo>
                  <a:pt x="190" y="354"/>
                </a:lnTo>
                <a:lnTo>
                  <a:pt x="190" y="354"/>
                </a:lnTo>
                <a:lnTo>
                  <a:pt x="192" y="346"/>
                </a:lnTo>
                <a:lnTo>
                  <a:pt x="193" y="343"/>
                </a:lnTo>
                <a:lnTo>
                  <a:pt x="196" y="341"/>
                </a:lnTo>
                <a:lnTo>
                  <a:pt x="196" y="341"/>
                </a:lnTo>
                <a:lnTo>
                  <a:pt x="200" y="340"/>
                </a:lnTo>
                <a:lnTo>
                  <a:pt x="205" y="338"/>
                </a:lnTo>
                <a:lnTo>
                  <a:pt x="208" y="334"/>
                </a:lnTo>
                <a:lnTo>
                  <a:pt x="212" y="330"/>
                </a:lnTo>
                <a:lnTo>
                  <a:pt x="212" y="330"/>
                </a:lnTo>
                <a:lnTo>
                  <a:pt x="217" y="326"/>
                </a:lnTo>
                <a:lnTo>
                  <a:pt x="225" y="320"/>
                </a:lnTo>
                <a:lnTo>
                  <a:pt x="236" y="311"/>
                </a:lnTo>
                <a:lnTo>
                  <a:pt x="236" y="311"/>
                </a:lnTo>
                <a:lnTo>
                  <a:pt x="250" y="300"/>
                </a:lnTo>
                <a:lnTo>
                  <a:pt x="257" y="292"/>
                </a:lnTo>
                <a:lnTo>
                  <a:pt x="263" y="284"/>
                </a:lnTo>
                <a:lnTo>
                  <a:pt x="263" y="284"/>
                </a:lnTo>
                <a:lnTo>
                  <a:pt x="267" y="280"/>
                </a:lnTo>
                <a:lnTo>
                  <a:pt x="274" y="276"/>
                </a:lnTo>
                <a:lnTo>
                  <a:pt x="281" y="273"/>
                </a:lnTo>
                <a:lnTo>
                  <a:pt x="287" y="269"/>
                </a:lnTo>
                <a:lnTo>
                  <a:pt x="287" y="269"/>
                </a:lnTo>
                <a:lnTo>
                  <a:pt x="290" y="265"/>
                </a:lnTo>
                <a:lnTo>
                  <a:pt x="291" y="260"/>
                </a:lnTo>
                <a:lnTo>
                  <a:pt x="291" y="252"/>
                </a:lnTo>
                <a:lnTo>
                  <a:pt x="291" y="252"/>
                </a:lnTo>
                <a:lnTo>
                  <a:pt x="293" y="249"/>
                </a:lnTo>
                <a:lnTo>
                  <a:pt x="296" y="247"/>
                </a:lnTo>
                <a:lnTo>
                  <a:pt x="304" y="245"/>
                </a:lnTo>
                <a:lnTo>
                  <a:pt x="313" y="242"/>
                </a:lnTo>
                <a:lnTo>
                  <a:pt x="320" y="242"/>
                </a:lnTo>
                <a:lnTo>
                  <a:pt x="320" y="242"/>
                </a:lnTo>
                <a:lnTo>
                  <a:pt x="324" y="242"/>
                </a:lnTo>
                <a:lnTo>
                  <a:pt x="324" y="242"/>
                </a:lnTo>
                <a:lnTo>
                  <a:pt x="324" y="233"/>
                </a:lnTo>
                <a:lnTo>
                  <a:pt x="323" y="225"/>
                </a:lnTo>
                <a:lnTo>
                  <a:pt x="318" y="212"/>
                </a:lnTo>
                <a:lnTo>
                  <a:pt x="318" y="212"/>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49" name="Freeform 236">
            <a:extLst>
              <a:ext uri="{FF2B5EF4-FFF2-40B4-BE49-F238E27FC236}">
                <a16:creationId xmlns:a16="http://schemas.microsoft.com/office/drawing/2014/main" id="{03B5E2AB-7F30-6EB5-C9E2-DE0AFBF7B094}"/>
              </a:ext>
            </a:extLst>
          </p:cNvPr>
          <p:cNvSpPr>
            <a:spLocks/>
          </p:cNvSpPr>
          <p:nvPr userDrawn="1"/>
        </p:nvSpPr>
        <p:spPr bwMode="gray">
          <a:xfrm>
            <a:off x="6179428" y="2142978"/>
            <a:ext cx="654157" cy="279610"/>
          </a:xfrm>
          <a:custGeom>
            <a:avLst/>
            <a:gdLst/>
            <a:ahLst/>
            <a:cxnLst>
              <a:cxn ang="0">
                <a:pos x="466" y="93"/>
              </a:cxn>
              <a:cxn ang="0">
                <a:pos x="450" y="90"/>
              </a:cxn>
              <a:cxn ang="0">
                <a:pos x="435" y="90"/>
              </a:cxn>
              <a:cxn ang="0">
                <a:pos x="450" y="47"/>
              </a:cxn>
              <a:cxn ang="0">
                <a:pos x="428" y="46"/>
              </a:cxn>
              <a:cxn ang="0">
                <a:pos x="405" y="43"/>
              </a:cxn>
              <a:cxn ang="0">
                <a:pos x="391" y="53"/>
              </a:cxn>
              <a:cxn ang="0">
                <a:pos x="368" y="59"/>
              </a:cxn>
              <a:cxn ang="0">
                <a:pos x="342" y="61"/>
              </a:cxn>
              <a:cxn ang="0">
                <a:pos x="318" y="59"/>
              </a:cxn>
              <a:cxn ang="0">
                <a:pos x="308" y="49"/>
              </a:cxn>
              <a:cxn ang="0">
                <a:pos x="295" y="42"/>
              </a:cxn>
              <a:cxn ang="0">
                <a:pos x="280" y="39"/>
              </a:cxn>
              <a:cxn ang="0">
                <a:pos x="254" y="37"/>
              </a:cxn>
              <a:cxn ang="0">
                <a:pos x="234" y="40"/>
              </a:cxn>
              <a:cxn ang="0">
                <a:pos x="219" y="32"/>
              </a:cxn>
              <a:cxn ang="0">
                <a:pos x="216" y="17"/>
              </a:cxn>
              <a:cxn ang="0">
                <a:pos x="189" y="7"/>
              </a:cxn>
              <a:cxn ang="0">
                <a:pos x="167" y="0"/>
              </a:cxn>
              <a:cxn ang="0">
                <a:pos x="156" y="9"/>
              </a:cxn>
              <a:cxn ang="0">
                <a:pos x="146" y="17"/>
              </a:cxn>
              <a:cxn ang="0">
                <a:pos x="153" y="34"/>
              </a:cxn>
              <a:cxn ang="0">
                <a:pos x="140" y="47"/>
              </a:cxn>
              <a:cxn ang="0">
                <a:pos x="126" y="46"/>
              </a:cxn>
              <a:cxn ang="0">
                <a:pos x="108" y="44"/>
              </a:cxn>
              <a:cxn ang="0">
                <a:pos x="95" y="33"/>
              </a:cxn>
              <a:cxn ang="0">
                <a:pos x="64" y="29"/>
              </a:cxn>
              <a:cxn ang="0">
                <a:pos x="51" y="36"/>
              </a:cxn>
              <a:cxn ang="0">
                <a:pos x="38" y="44"/>
              </a:cxn>
              <a:cxn ang="0">
                <a:pos x="21" y="54"/>
              </a:cxn>
              <a:cxn ang="0">
                <a:pos x="2" y="60"/>
              </a:cxn>
              <a:cxn ang="0">
                <a:pos x="2" y="70"/>
              </a:cxn>
              <a:cxn ang="0">
                <a:pos x="25" y="86"/>
              </a:cxn>
              <a:cxn ang="0">
                <a:pos x="39" y="97"/>
              </a:cxn>
              <a:cxn ang="0">
                <a:pos x="49" y="116"/>
              </a:cxn>
              <a:cxn ang="0">
                <a:pos x="44" y="138"/>
              </a:cxn>
              <a:cxn ang="0">
                <a:pos x="79" y="147"/>
              </a:cxn>
              <a:cxn ang="0">
                <a:pos x="92" y="154"/>
              </a:cxn>
              <a:cxn ang="0">
                <a:pos x="106" y="162"/>
              </a:cxn>
              <a:cxn ang="0">
                <a:pos x="119" y="185"/>
              </a:cxn>
              <a:cxn ang="0">
                <a:pos x="132" y="194"/>
              </a:cxn>
              <a:cxn ang="0">
                <a:pos x="196" y="197"/>
              </a:cxn>
              <a:cxn ang="0">
                <a:pos x="226" y="204"/>
              </a:cxn>
              <a:cxn ang="0">
                <a:pos x="246" y="209"/>
              </a:cxn>
              <a:cxn ang="0">
                <a:pos x="263" y="215"/>
              </a:cxn>
              <a:cxn ang="0">
                <a:pos x="295" y="198"/>
              </a:cxn>
              <a:cxn ang="0">
                <a:pos x="344" y="194"/>
              </a:cxn>
              <a:cxn ang="0">
                <a:pos x="369" y="175"/>
              </a:cxn>
              <a:cxn ang="0">
                <a:pos x="365" y="155"/>
              </a:cxn>
              <a:cxn ang="0">
                <a:pos x="382" y="150"/>
              </a:cxn>
              <a:cxn ang="0">
                <a:pos x="408" y="147"/>
              </a:cxn>
              <a:cxn ang="0">
                <a:pos x="441" y="135"/>
              </a:cxn>
              <a:cxn ang="0">
                <a:pos x="460" y="118"/>
              </a:cxn>
              <a:cxn ang="0">
                <a:pos x="486" y="114"/>
              </a:cxn>
              <a:cxn ang="0">
                <a:pos x="503" y="113"/>
              </a:cxn>
              <a:cxn ang="0">
                <a:pos x="482" y="90"/>
              </a:cxn>
            </a:cxnLst>
            <a:rect l="0" t="0" r="r" b="b"/>
            <a:pathLst>
              <a:path w="503" h="215">
                <a:moveTo>
                  <a:pt x="482" y="90"/>
                </a:moveTo>
                <a:lnTo>
                  <a:pt x="482" y="90"/>
                </a:lnTo>
                <a:lnTo>
                  <a:pt x="477" y="87"/>
                </a:lnTo>
                <a:lnTo>
                  <a:pt x="473" y="87"/>
                </a:lnTo>
                <a:lnTo>
                  <a:pt x="469" y="88"/>
                </a:lnTo>
                <a:lnTo>
                  <a:pt x="466" y="93"/>
                </a:lnTo>
                <a:lnTo>
                  <a:pt x="466" y="93"/>
                </a:lnTo>
                <a:lnTo>
                  <a:pt x="466" y="94"/>
                </a:lnTo>
                <a:lnTo>
                  <a:pt x="465" y="94"/>
                </a:lnTo>
                <a:lnTo>
                  <a:pt x="462" y="94"/>
                </a:lnTo>
                <a:lnTo>
                  <a:pt x="458" y="91"/>
                </a:lnTo>
                <a:lnTo>
                  <a:pt x="450" y="90"/>
                </a:lnTo>
                <a:lnTo>
                  <a:pt x="450" y="90"/>
                </a:lnTo>
                <a:lnTo>
                  <a:pt x="445" y="91"/>
                </a:lnTo>
                <a:lnTo>
                  <a:pt x="442" y="93"/>
                </a:lnTo>
                <a:lnTo>
                  <a:pt x="439" y="93"/>
                </a:lnTo>
                <a:lnTo>
                  <a:pt x="435" y="90"/>
                </a:lnTo>
                <a:lnTo>
                  <a:pt x="435" y="90"/>
                </a:lnTo>
                <a:lnTo>
                  <a:pt x="432" y="86"/>
                </a:lnTo>
                <a:lnTo>
                  <a:pt x="433" y="83"/>
                </a:lnTo>
                <a:lnTo>
                  <a:pt x="436" y="81"/>
                </a:lnTo>
                <a:lnTo>
                  <a:pt x="438" y="73"/>
                </a:lnTo>
                <a:lnTo>
                  <a:pt x="450" y="47"/>
                </a:lnTo>
                <a:lnTo>
                  <a:pt x="450" y="47"/>
                </a:lnTo>
                <a:lnTo>
                  <a:pt x="445" y="46"/>
                </a:lnTo>
                <a:lnTo>
                  <a:pt x="439" y="46"/>
                </a:lnTo>
                <a:lnTo>
                  <a:pt x="439" y="46"/>
                </a:lnTo>
                <a:lnTo>
                  <a:pt x="435" y="47"/>
                </a:lnTo>
                <a:lnTo>
                  <a:pt x="431" y="47"/>
                </a:lnTo>
                <a:lnTo>
                  <a:pt x="428" y="46"/>
                </a:lnTo>
                <a:lnTo>
                  <a:pt x="425" y="43"/>
                </a:lnTo>
                <a:lnTo>
                  <a:pt x="425" y="43"/>
                </a:lnTo>
                <a:lnTo>
                  <a:pt x="422" y="42"/>
                </a:lnTo>
                <a:lnTo>
                  <a:pt x="416" y="40"/>
                </a:lnTo>
                <a:lnTo>
                  <a:pt x="409" y="42"/>
                </a:lnTo>
                <a:lnTo>
                  <a:pt x="405" y="43"/>
                </a:lnTo>
                <a:lnTo>
                  <a:pt x="405" y="43"/>
                </a:lnTo>
                <a:lnTo>
                  <a:pt x="398" y="46"/>
                </a:lnTo>
                <a:lnTo>
                  <a:pt x="394" y="49"/>
                </a:lnTo>
                <a:lnTo>
                  <a:pt x="392" y="52"/>
                </a:lnTo>
                <a:lnTo>
                  <a:pt x="392" y="52"/>
                </a:lnTo>
                <a:lnTo>
                  <a:pt x="391" y="53"/>
                </a:lnTo>
                <a:lnTo>
                  <a:pt x="386" y="54"/>
                </a:lnTo>
                <a:lnTo>
                  <a:pt x="384" y="54"/>
                </a:lnTo>
                <a:lnTo>
                  <a:pt x="379" y="56"/>
                </a:lnTo>
                <a:lnTo>
                  <a:pt x="379" y="56"/>
                </a:lnTo>
                <a:lnTo>
                  <a:pt x="375" y="57"/>
                </a:lnTo>
                <a:lnTo>
                  <a:pt x="368" y="59"/>
                </a:lnTo>
                <a:lnTo>
                  <a:pt x="362" y="60"/>
                </a:lnTo>
                <a:lnTo>
                  <a:pt x="359" y="61"/>
                </a:lnTo>
                <a:lnTo>
                  <a:pt x="359" y="61"/>
                </a:lnTo>
                <a:lnTo>
                  <a:pt x="355" y="61"/>
                </a:lnTo>
                <a:lnTo>
                  <a:pt x="349" y="63"/>
                </a:lnTo>
                <a:lnTo>
                  <a:pt x="342" y="61"/>
                </a:lnTo>
                <a:lnTo>
                  <a:pt x="338" y="61"/>
                </a:lnTo>
                <a:lnTo>
                  <a:pt x="338" y="61"/>
                </a:lnTo>
                <a:lnTo>
                  <a:pt x="334" y="60"/>
                </a:lnTo>
                <a:lnTo>
                  <a:pt x="327" y="60"/>
                </a:lnTo>
                <a:lnTo>
                  <a:pt x="321" y="59"/>
                </a:lnTo>
                <a:lnTo>
                  <a:pt x="318" y="59"/>
                </a:lnTo>
                <a:lnTo>
                  <a:pt x="317" y="57"/>
                </a:lnTo>
                <a:lnTo>
                  <a:pt x="317" y="57"/>
                </a:lnTo>
                <a:lnTo>
                  <a:pt x="315" y="54"/>
                </a:lnTo>
                <a:lnTo>
                  <a:pt x="312" y="53"/>
                </a:lnTo>
                <a:lnTo>
                  <a:pt x="310" y="50"/>
                </a:lnTo>
                <a:lnTo>
                  <a:pt x="308" y="49"/>
                </a:lnTo>
                <a:lnTo>
                  <a:pt x="308" y="49"/>
                </a:lnTo>
                <a:lnTo>
                  <a:pt x="308" y="47"/>
                </a:lnTo>
                <a:lnTo>
                  <a:pt x="307" y="46"/>
                </a:lnTo>
                <a:lnTo>
                  <a:pt x="303" y="44"/>
                </a:lnTo>
                <a:lnTo>
                  <a:pt x="298" y="43"/>
                </a:lnTo>
                <a:lnTo>
                  <a:pt x="295" y="42"/>
                </a:lnTo>
                <a:lnTo>
                  <a:pt x="295" y="42"/>
                </a:lnTo>
                <a:lnTo>
                  <a:pt x="293" y="40"/>
                </a:lnTo>
                <a:lnTo>
                  <a:pt x="290" y="39"/>
                </a:lnTo>
                <a:lnTo>
                  <a:pt x="283" y="39"/>
                </a:lnTo>
                <a:lnTo>
                  <a:pt x="283" y="39"/>
                </a:lnTo>
                <a:lnTo>
                  <a:pt x="280" y="39"/>
                </a:lnTo>
                <a:lnTo>
                  <a:pt x="275" y="37"/>
                </a:lnTo>
                <a:lnTo>
                  <a:pt x="268" y="36"/>
                </a:lnTo>
                <a:lnTo>
                  <a:pt x="268" y="36"/>
                </a:lnTo>
                <a:lnTo>
                  <a:pt x="261" y="36"/>
                </a:lnTo>
                <a:lnTo>
                  <a:pt x="254" y="37"/>
                </a:lnTo>
                <a:lnTo>
                  <a:pt x="254" y="37"/>
                </a:lnTo>
                <a:lnTo>
                  <a:pt x="251" y="37"/>
                </a:lnTo>
                <a:lnTo>
                  <a:pt x="248" y="40"/>
                </a:lnTo>
                <a:lnTo>
                  <a:pt x="243" y="43"/>
                </a:lnTo>
                <a:lnTo>
                  <a:pt x="243" y="43"/>
                </a:lnTo>
                <a:lnTo>
                  <a:pt x="238" y="42"/>
                </a:lnTo>
                <a:lnTo>
                  <a:pt x="234" y="40"/>
                </a:lnTo>
                <a:lnTo>
                  <a:pt x="230" y="39"/>
                </a:lnTo>
                <a:lnTo>
                  <a:pt x="229" y="39"/>
                </a:lnTo>
                <a:lnTo>
                  <a:pt x="229" y="39"/>
                </a:lnTo>
                <a:lnTo>
                  <a:pt x="226" y="39"/>
                </a:lnTo>
                <a:lnTo>
                  <a:pt x="223" y="36"/>
                </a:lnTo>
                <a:lnTo>
                  <a:pt x="219" y="32"/>
                </a:lnTo>
                <a:lnTo>
                  <a:pt x="219" y="32"/>
                </a:lnTo>
                <a:lnTo>
                  <a:pt x="217" y="29"/>
                </a:lnTo>
                <a:lnTo>
                  <a:pt x="217" y="24"/>
                </a:lnTo>
                <a:lnTo>
                  <a:pt x="217" y="20"/>
                </a:lnTo>
                <a:lnTo>
                  <a:pt x="216" y="17"/>
                </a:lnTo>
                <a:lnTo>
                  <a:pt x="216" y="17"/>
                </a:lnTo>
                <a:lnTo>
                  <a:pt x="213" y="16"/>
                </a:lnTo>
                <a:lnTo>
                  <a:pt x="209" y="15"/>
                </a:lnTo>
                <a:lnTo>
                  <a:pt x="200" y="13"/>
                </a:lnTo>
                <a:lnTo>
                  <a:pt x="200" y="13"/>
                </a:lnTo>
                <a:lnTo>
                  <a:pt x="194" y="9"/>
                </a:lnTo>
                <a:lnTo>
                  <a:pt x="189" y="7"/>
                </a:lnTo>
                <a:lnTo>
                  <a:pt x="189" y="7"/>
                </a:lnTo>
                <a:lnTo>
                  <a:pt x="183" y="7"/>
                </a:lnTo>
                <a:lnTo>
                  <a:pt x="179" y="6"/>
                </a:lnTo>
                <a:lnTo>
                  <a:pt x="179" y="6"/>
                </a:lnTo>
                <a:lnTo>
                  <a:pt x="173" y="3"/>
                </a:lnTo>
                <a:lnTo>
                  <a:pt x="167" y="0"/>
                </a:lnTo>
                <a:lnTo>
                  <a:pt x="167" y="0"/>
                </a:lnTo>
                <a:lnTo>
                  <a:pt x="165" y="0"/>
                </a:lnTo>
                <a:lnTo>
                  <a:pt x="163" y="2"/>
                </a:lnTo>
                <a:lnTo>
                  <a:pt x="162" y="6"/>
                </a:lnTo>
                <a:lnTo>
                  <a:pt x="162" y="6"/>
                </a:lnTo>
                <a:lnTo>
                  <a:pt x="156" y="9"/>
                </a:lnTo>
                <a:lnTo>
                  <a:pt x="155" y="9"/>
                </a:lnTo>
                <a:lnTo>
                  <a:pt x="153" y="12"/>
                </a:lnTo>
                <a:lnTo>
                  <a:pt x="153" y="12"/>
                </a:lnTo>
                <a:lnTo>
                  <a:pt x="150" y="13"/>
                </a:lnTo>
                <a:lnTo>
                  <a:pt x="149" y="16"/>
                </a:lnTo>
                <a:lnTo>
                  <a:pt x="146" y="17"/>
                </a:lnTo>
                <a:lnTo>
                  <a:pt x="146" y="20"/>
                </a:lnTo>
                <a:lnTo>
                  <a:pt x="146" y="20"/>
                </a:lnTo>
                <a:lnTo>
                  <a:pt x="147" y="27"/>
                </a:lnTo>
                <a:lnTo>
                  <a:pt x="152" y="33"/>
                </a:lnTo>
                <a:lnTo>
                  <a:pt x="152" y="33"/>
                </a:lnTo>
                <a:lnTo>
                  <a:pt x="153" y="34"/>
                </a:lnTo>
                <a:lnTo>
                  <a:pt x="153" y="37"/>
                </a:lnTo>
                <a:lnTo>
                  <a:pt x="152" y="43"/>
                </a:lnTo>
                <a:lnTo>
                  <a:pt x="152" y="43"/>
                </a:lnTo>
                <a:lnTo>
                  <a:pt x="149" y="44"/>
                </a:lnTo>
                <a:lnTo>
                  <a:pt x="145" y="46"/>
                </a:lnTo>
                <a:lnTo>
                  <a:pt x="140" y="47"/>
                </a:lnTo>
                <a:lnTo>
                  <a:pt x="137" y="49"/>
                </a:lnTo>
                <a:lnTo>
                  <a:pt x="137" y="49"/>
                </a:lnTo>
                <a:lnTo>
                  <a:pt x="136" y="50"/>
                </a:lnTo>
                <a:lnTo>
                  <a:pt x="133" y="50"/>
                </a:lnTo>
                <a:lnTo>
                  <a:pt x="126" y="46"/>
                </a:lnTo>
                <a:lnTo>
                  <a:pt x="126" y="46"/>
                </a:lnTo>
                <a:lnTo>
                  <a:pt x="123" y="44"/>
                </a:lnTo>
                <a:lnTo>
                  <a:pt x="119" y="44"/>
                </a:lnTo>
                <a:lnTo>
                  <a:pt x="113" y="47"/>
                </a:lnTo>
                <a:lnTo>
                  <a:pt x="113" y="47"/>
                </a:lnTo>
                <a:lnTo>
                  <a:pt x="110" y="47"/>
                </a:lnTo>
                <a:lnTo>
                  <a:pt x="108" y="44"/>
                </a:lnTo>
                <a:lnTo>
                  <a:pt x="101" y="42"/>
                </a:lnTo>
                <a:lnTo>
                  <a:pt x="101" y="42"/>
                </a:lnTo>
                <a:lnTo>
                  <a:pt x="99" y="40"/>
                </a:lnTo>
                <a:lnTo>
                  <a:pt x="98" y="37"/>
                </a:lnTo>
                <a:lnTo>
                  <a:pt x="96" y="33"/>
                </a:lnTo>
                <a:lnTo>
                  <a:pt x="95" y="33"/>
                </a:lnTo>
                <a:lnTo>
                  <a:pt x="95" y="33"/>
                </a:lnTo>
                <a:lnTo>
                  <a:pt x="85" y="32"/>
                </a:lnTo>
                <a:lnTo>
                  <a:pt x="73" y="29"/>
                </a:lnTo>
                <a:lnTo>
                  <a:pt x="73" y="29"/>
                </a:lnTo>
                <a:lnTo>
                  <a:pt x="66" y="29"/>
                </a:lnTo>
                <a:lnTo>
                  <a:pt x="64" y="29"/>
                </a:lnTo>
                <a:lnTo>
                  <a:pt x="62" y="30"/>
                </a:lnTo>
                <a:lnTo>
                  <a:pt x="62" y="30"/>
                </a:lnTo>
                <a:lnTo>
                  <a:pt x="59" y="32"/>
                </a:lnTo>
                <a:lnTo>
                  <a:pt x="56" y="33"/>
                </a:lnTo>
                <a:lnTo>
                  <a:pt x="52" y="33"/>
                </a:lnTo>
                <a:lnTo>
                  <a:pt x="51" y="36"/>
                </a:lnTo>
                <a:lnTo>
                  <a:pt x="51" y="36"/>
                </a:lnTo>
                <a:lnTo>
                  <a:pt x="49" y="37"/>
                </a:lnTo>
                <a:lnTo>
                  <a:pt x="45" y="39"/>
                </a:lnTo>
                <a:lnTo>
                  <a:pt x="41" y="43"/>
                </a:lnTo>
                <a:lnTo>
                  <a:pt x="41" y="43"/>
                </a:lnTo>
                <a:lnTo>
                  <a:pt x="38" y="44"/>
                </a:lnTo>
                <a:lnTo>
                  <a:pt x="34" y="46"/>
                </a:lnTo>
                <a:lnTo>
                  <a:pt x="31" y="47"/>
                </a:lnTo>
                <a:lnTo>
                  <a:pt x="28" y="50"/>
                </a:lnTo>
                <a:lnTo>
                  <a:pt x="28" y="50"/>
                </a:lnTo>
                <a:lnTo>
                  <a:pt x="25" y="53"/>
                </a:lnTo>
                <a:lnTo>
                  <a:pt x="21" y="54"/>
                </a:lnTo>
                <a:lnTo>
                  <a:pt x="14" y="56"/>
                </a:lnTo>
                <a:lnTo>
                  <a:pt x="14" y="56"/>
                </a:lnTo>
                <a:lnTo>
                  <a:pt x="7" y="57"/>
                </a:lnTo>
                <a:lnTo>
                  <a:pt x="4" y="59"/>
                </a:lnTo>
                <a:lnTo>
                  <a:pt x="2" y="60"/>
                </a:lnTo>
                <a:lnTo>
                  <a:pt x="2" y="60"/>
                </a:lnTo>
                <a:lnTo>
                  <a:pt x="1" y="61"/>
                </a:lnTo>
                <a:lnTo>
                  <a:pt x="0" y="61"/>
                </a:lnTo>
                <a:lnTo>
                  <a:pt x="0" y="61"/>
                </a:lnTo>
                <a:lnTo>
                  <a:pt x="0" y="63"/>
                </a:lnTo>
                <a:lnTo>
                  <a:pt x="0" y="63"/>
                </a:lnTo>
                <a:lnTo>
                  <a:pt x="2" y="70"/>
                </a:lnTo>
                <a:lnTo>
                  <a:pt x="4" y="73"/>
                </a:lnTo>
                <a:lnTo>
                  <a:pt x="11" y="79"/>
                </a:lnTo>
                <a:lnTo>
                  <a:pt x="11" y="79"/>
                </a:lnTo>
                <a:lnTo>
                  <a:pt x="18" y="83"/>
                </a:lnTo>
                <a:lnTo>
                  <a:pt x="22" y="86"/>
                </a:lnTo>
                <a:lnTo>
                  <a:pt x="25" y="86"/>
                </a:lnTo>
                <a:lnTo>
                  <a:pt x="25" y="86"/>
                </a:lnTo>
                <a:lnTo>
                  <a:pt x="29" y="87"/>
                </a:lnTo>
                <a:lnTo>
                  <a:pt x="34" y="90"/>
                </a:lnTo>
                <a:lnTo>
                  <a:pt x="38" y="93"/>
                </a:lnTo>
                <a:lnTo>
                  <a:pt x="39" y="97"/>
                </a:lnTo>
                <a:lnTo>
                  <a:pt x="39" y="97"/>
                </a:lnTo>
                <a:lnTo>
                  <a:pt x="41" y="101"/>
                </a:lnTo>
                <a:lnTo>
                  <a:pt x="42" y="104"/>
                </a:lnTo>
                <a:lnTo>
                  <a:pt x="48" y="110"/>
                </a:lnTo>
                <a:lnTo>
                  <a:pt x="48" y="110"/>
                </a:lnTo>
                <a:lnTo>
                  <a:pt x="49" y="111"/>
                </a:lnTo>
                <a:lnTo>
                  <a:pt x="49" y="116"/>
                </a:lnTo>
                <a:lnTo>
                  <a:pt x="46" y="125"/>
                </a:lnTo>
                <a:lnTo>
                  <a:pt x="46" y="125"/>
                </a:lnTo>
                <a:lnTo>
                  <a:pt x="46" y="128"/>
                </a:lnTo>
                <a:lnTo>
                  <a:pt x="44" y="133"/>
                </a:lnTo>
                <a:lnTo>
                  <a:pt x="42" y="135"/>
                </a:lnTo>
                <a:lnTo>
                  <a:pt x="44" y="138"/>
                </a:lnTo>
                <a:lnTo>
                  <a:pt x="44" y="138"/>
                </a:lnTo>
                <a:lnTo>
                  <a:pt x="45" y="141"/>
                </a:lnTo>
                <a:lnTo>
                  <a:pt x="49" y="143"/>
                </a:lnTo>
                <a:lnTo>
                  <a:pt x="61" y="145"/>
                </a:lnTo>
                <a:lnTo>
                  <a:pt x="72" y="147"/>
                </a:lnTo>
                <a:lnTo>
                  <a:pt x="79" y="147"/>
                </a:lnTo>
                <a:lnTo>
                  <a:pt x="79" y="147"/>
                </a:lnTo>
                <a:lnTo>
                  <a:pt x="83" y="148"/>
                </a:lnTo>
                <a:lnTo>
                  <a:pt x="88" y="151"/>
                </a:lnTo>
                <a:lnTo>
                  <a:pt x="89" y="154"/>
                </a:lnTo>
                <a:lnTo>
                  <a:pt x="92" y="154"/>
                </a:lnTo>
                <a:lnTo>
                  <a:pt x="92" y="154"/>
                </a:lnTo>
                <a:lnTo>
                  <a:pt x="95" y="155"/>
                </a:lnTo>
                <a:lnTo>
                  <a:pt x="96" y="158"/>
                </a:lnTo>
                <a:lnTo>
                  <a:pt x="99" y="160"/>
                </a:lnTo>
                <a:lnTo>
                  <a:pt x="102" y="162"/>
                </a:lnTo>
                <a:lnTo>
                  <a:pt x="102" y="162"/>
                </a:lnTo>
                <a:lnTo>
                  <a:pt x="106" y="162"/>
                </a:lnTo>
                <a:lnTo>
                  <a:pt x="109" y="165"/>
                </a:lnTo>
                <a:lnTo>
                  <a:pt x="112" y="170"/>
                </a:lnTo>
                <a:lnTo>
                  <a:pt x="115" y="175"/>
                </a:lnTo>
                <a:lnTo>
                  <a:pt x="115" y="175"/>
                </a:lnTo>
                <a:lnTo>
                  <a:pt x="116" y="181"/>
                </a:lnTo>
                <a:lnTo>
                  <a:pt x="119" y="185"/>
                </a:lnTo>
                <a:lnTo>
                  <a:pt x="122" y="188"/>
                </a:lnTo>
                <a:lnTo>
                  <a:pt x="123" y="192"/>
                </a:lnTo>
                <a:lnTo>
                  <a:pt x="123" y="192"/>
                </a:lnTo>
                <a:lnTo>
                  <a:pt x="125" y="192"/>
                </a:lnTo>
                <a:lnTo>
                  <a:pt x="126" y="194"/>
                </a:lnTo>
                <a:lnTo>
                  <a:pt x="132" y="194"/>
                </a:lnTo>
                <a:lnTo>
                  <a:pt x="145" y="194"/>
                </a:lnTo>
                <a:lnTo>
                  <a:pt x="145" y="194"/>
                </a:lnTo>
                <a:lnTo>
                  <a:pt x="165" y="194"/>
                </a:lnTo>
                <a:lnTo>
                  <a:pt x="183" y="195"/>
                </a:lnTo>
                <a:lnTo>
                  <a:pt x="183" y="195"/>
                </a:lnTo>
                <a:lnTo>
                  <a:pt x="196" y="197"/>
                </a:lnTo>
                <a:lnTo>
                  <a:pt x="204" y="198"/>
                </a:lnTo>
                <a:lnTo>
                  <a:pt x="211" y="201"/>
                </a:lnTo>
                <a:lnTo>
                  <a:pt x="211" y="201"/>
                </a:lnTo>
                <a:lnTo>
                  <a:pt x="217" y="204"/>
                </a:lnTo>
                <a:lnTo>
                  <a:pt x="221" y="204"/>
                </a:lnTo>
                <a:lnTo>
                  <a:pt x="226" y="204"/>
                </a:lnTo>
                <a:lnTo>
                  <a:pt x="229" y="205"/>
                </a:lnTo>
                <a:lnTo>
                  <a:pt x="229" y="205"/>
                </a:lnTo>
                <a:lnTo>
                  <a:pt x="237" y="209"/>
                </a:lnTo>
                <a:lnTo>
                  <a:pt x="240" y="209"/>
                </a:lnTo>
                <a:lnTo>
                  <a:pt x="246" y="209"/>
                </a:lnTo>
                <a:lnTo>
                  <a:pt x="246" y="209"/>
                </a:lnTo>
                <a:lnTo>
                  <a:pt x="250" y="209"/>
                </a:lnTo>
                <a:lnTo>
                  <a:pt x="253" y="212"/>
                </a:lnTo>
                <a:lnTo>
                  <a:pt x="254" y="214"/>
                </a:lnTo>
                <a:lnTo>
                  <a:pt x="258" y="215"/>
                </a:lnTo>
                <a:lnTo>
                  <a:pt x="258" y="215"/>
                </a:lnTo>
                <a:lnTo>
                  <a:pt x="263" y="215"/>
                </a:lnTo>
                <a:lnTo>
                  <a:pt x="268" y="211"/>
                </a:lnTo>
                <a:lnTo>
                  <a:pt x="277" y="207"/>
                </a:lnTo>
                <a:lnTo>
                  <a:pt x="285" y="201"/>
                </a:lnTo>
                <a:lnTo>
                  <a:pt x="285" y="201"/>
                </a:lnTo>
                <a:lnTo>
                  <a:pt x="291" y="199"/>
                </a:lnTo>
                <a:lnTo>
                  <a:pt x="295" y="198"/>
                </a:lnTo>
                <a:lnTo>
                  <a:pt x="307" y="198"/>
                </a:lnTo>
                <a:lnTo>
                  <a:pt x="322" y="199"/>
                </a:lnTo>
                <a:lnTo>
                  <a:pt x="322" y="199"/>
                </a:lnTo>
                <a:lnTo>
                  <a:pt x="328" y="199"/>
                </a:lnTo>
                <a:lnTo>
                  <a:pt x="337" y="198"/>
                </a:lnTo>
                <a:lnTo>
                  <a:pt x="344" y="194"/>
                </a:lnTo>
                <a:lnTo>
                  <a:pt x="351" y="188"/>
                </a:lnTo>
                <a:lnTo>
                  <a:pt x="351" y="188"/>
                </a:lnTo>
                <a:lnTo>
                  <a:pt x="357" y="182"/>
                </a:lnTo>
                <a:lnTo>
                  <a:pt x="364" y="180"/>
                </a:lnTo>
                <a:lnTo>
                  <a:pt x="368" y="177"/>
                </a:lnTo>
                <a:lnTo>
                  <a:pt x="369" y="175"/>
                </a:lnTo>
                <a:lnTo>
                  <a:pt x="371" y="172"/>
                </a:lnTo>
                <a:lnTo>
                  <a:pt x="371" y="172"/>
                </a:lnTo>
                <a:lnTo>
                  <a:pt x="369" y="167"/>
                </a:lnTo>
                <a:lnTo>
                  <a:pt x="368" y="162"/>
                </a:lnTo>
                <a:lnTo>
                  <a:pt x="365" y="158"/>
                </a:lnTo>
                <a:lnTo>
                  <a:pt x="365" y="155"/>
                </a:lnTo>
                <a:lnTo>
                  <a:pt x="367" y="154"/>
                </a:lnTo>
                <a:lnTo>
                  <a:pt x="367" y="154"/>
                </a:lnTo>
                <a:lnTo>
                  <a:pt x="369" y="150"/>
                </a:lnTo>
                <a:lnTo>
                  <a:pt x="374" y="148"/>
                </a:lnTo>
                <a:lnTo>
                  <a:pt x="378" y="148"/>
                </a:lnTo>
                <a:lnTo>
                  <a:pt x="382" y="150"/>
                </a:lnTo>
                <a:lnTo>
                  <a:pt x="382" y="150"/>
                </a:lnTo>
                <a:lnTo>
                  <a:pt x="386" y="151"/>
                </a:lnTo>
                <a:lnTo>
                  <a:pt x="392" y="153"/>
                </a:lnTo>
                <a:lnTo>
                  <a:pt x="399" y="151"/>
                </a:lnTo>
                <a:lnTo>
                  <a:pt x="408" y="147"/>
                </a:lnTo>
                <a:lnTo>
                  <a:pt x="408" y="147"/>
                </a:lnTo>
                <a:lnTo>
                  <a:pt x="415" y="144"/>
                </a:lnTo>
                <a:lnTo>
                  <a:pt x="421" y="141"/>
                </a:lnTo>
                <a:lnTo>
                  <a:pt x="432" y="140"/>
                </a:lnTo>
                <a:lnTo>
                  <a:pt x="432" y="140"/>
                </a:lnTo>
                <a:lnTo>
                  <a:pt x="436" y="138"/>
                </a:lnTo>
                <a:lnTo>
                  <a:pt x="441" y="135"/>
                </a:lnTo>
                <a:lnTo>
                  <a:pt x="442" y="131"/>
                </a:lnTo>
                <a:lnTo>
                  <a:pt x="446" y="127"/>
                </a:lnTo>
                <a:lnTo>
                  <a:pt x="446" y="127"/>
                </a:lnTo>
                <a:lnTo>
                  <a:pt x="450" y="123"/>
                </a:lnTo>
                <a:lnTo>
                  <a:pt x="456" y="120"/>
                </a:lnTo>
                <a:lnTo>
                  <a:pt x="460" y="118"/>
                </a:lnTo>
                <a:lnTo>
                  <a:pt x="466" y="118"/>
                </a:lnTo>
                <a:lnTo>
                  <a:pt x="466" y="118"/>
                </a:lnTo>
                <a:lnTo>
                  <a:pt x="470" y="117"/>
                </a:lnTo>
                <a:lnTo>
                  <a:pt x="476" y="116"/>
                </a:lnTo>
                <a:lnTo>
                  <a:pt x="482" y="114"/>
                </a:lnTo>
                <a:lnTo>
                  <a:pt x="486" y="114"/>
                </a:lnTo>
                <a:lnTo>
                  <a:pt x="486" y="114"/>
                </a:lnTo>
                <a:lnTo>
                  <a:pt x="492" y="116"/>
                </a:lnTo>
                <a:lnTo>
                  <a:pt x="496" y="116"/>
                </a:lnTo>
                <a:lnTo>
                  <a:pt x="500" y="116"/>
                </a:lnTo>
                <a:lnTo>
                  <a:pt x="502" y="114"/>
                </a:lnTo>
                <a:lnTo>
                  <a:pt x="503" y="113"/>
                </a:lnTo>
                <a:lnTo>
                  <a:pt x="503" y="113"/>
                </a:lnTo>
                <a:lnTo>
                  <a:pt x="502" y="110"/>
                </a:lnTo>
                <a:lnTo>
                  <a:pt x="500" y="107"/>
                </a:lnTo>
                <a:lnTo>
                  <a:pt x="495" y="101"/>
                </a:lnTo>
                <a:lnTo>
                  <a:pt x="487" y="96"/>
                </a:lnTo>
                <a:lnTo>
                  <a:pt x="482" y="90"/>
                </a:lnTo>
                <a:lnTo>
                  <a:pt x="482" y="9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50" name="Freeform 237">
            <a:extLst>
              <a:ext uri="{FF2B5EF4-FFF2-40B4-BE49-F238E27FC236}">
                <a16:creationId xmlns:a16="http://schemas.microsoft.com/office/drawing/2014/main" id="{3288DD3D-8EB8-5909-650A-1B3B2D7658A7}"/>
              </a:ext>
            </a:extLst>
          </p:cNvPr>
          <p:cNvSpPr>
            <a:spLocks/>
          </p:cNvSpPr>
          <p:nvPr userDrawn="1"/>
        </p:nvSpPr>
        <p:spPr bwMode="gray">
          <a:xfrm>
            <a:off x="5072696" y="2637173"/>
            <a:ext cx="10404" cy="27311"/>
          </a:xfrm>
          <a:custGeom>
            <a:avLst/>
            <a:gdLst/>
            <a:ahLst/>
            <a:cxnLst>
              <a:cxn ang="0">
                <a:pos x="4" y="0"/>
              </a:cxn>
              <a:cxn ang="0">
                <a:pos x="4" y="0"/>
              </a:cxn>
              <a:cxn ang="0">
                <a:pos x="3" y="2"/>
              </a:cxn>
              <a:cxn ang="0">
                <a:pos x="1" y="6"/>
              </a:cxn>
              <a:cxn ang="0">
                <a:pos x="0" y="12"/>
              </a:cxn>
              <a:cxn ang="0">
                <a:pos x="0" y="12"/>
              </a:cxn>
              <a:cxn ang="0">
                <a:pos x="1" y="16"/>
              </a:cxn>
              <a:cxn ang="0">
                <a:pos x="7" y="21"/>
              </a:cxn>
              <a:cxn ang="0">
                <a:pos x="7" y="21"/>
              </a:cxn>
              <a:cxn ang="0">
                <a:pos x="8" y="3"/>
              </a:cxn>
              <a:cxn ang="0">
                <a:pos x="8" y="3"/>
              </a:cxn>
              <a:cxn ang="0">
                <a:pos x="8" y="0"/>
              </a:cxn>
              <a:cxn ang="0">
                <a:pos x="8" y="0"/>
              </a:cxn>
              <a:cxn ang="0">
                <a:pos x="4" y="0"/>
              </a:cxn>
              <a:cxn ang="0">
                <a:pos x="4" y="0"/>
              </a:cxn>
            </a:cxnLst>
            <a:rect l="0" t="0" r="r" b="b"/>
            <a:pathLst>
              <a:path w="8" h="21">
                <a:moveTo>
                  <a:pt x="4" y="0"/>
                </a:moveTo>
                <a:lnTo>
                  <a:pt x="4" y="0"/>
                </a:lnTo>
                <a:lnTo>
                  <a:pt x="3" y="2"/>
                </a:lnTo>
                <a:lnTo>
                  <a:pt x="1" y="6"/>
                </a:lnTo>
                <a:lnTo>
                  <a:pt x="0" y="12"/>
                </a:lnTo>
                <a:lnTo>
                  <a:pt x="0" y="12"/>
                </a:lnTo>
                <a:lnTo>
                  <a:pt x="1" y="16"/>
                </a:lnTo>
                <a:lnTo>
                  <a:pt x="7" y="21"/>
                </a:lnTo>
                <a:lnTo>
                  <a:pt x="7" y="21"/>
                </a:lnTo>
                <a:lnTo>
                  <a:pt x="8" y="3"/>
                </a:lnTo>
                <a:lnTo>
                  <a:pt x="8" y="3"/>
                </a:lnTo>
                <a:lnTo>
                  <a:pt x="8" y="0"/>
                </a:lnTo>
                <a:lnTo>
                  <a:pt x="8" y="0"/>
                </a:lnTo>
                <a:lnTo>
                  <a:pt x="4" y="0"/>
                </a:lnTo>
                <a:lnTo>
                  <a:pt x="4" y="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51" name="Freeform 238">
            <a:extLst>
              <a:ext uri="{FF2B5EF4-FFF2-40B4-BE49-F238E27FC236}">
                <a16:creationId xmlns:a16="http://schemas.microsoft.com/office/drawing/2014/main" id="{91FE372E-8105-7CFC-4A42-CA677C5A9542}"/>
              </a:ext>
            </a:extLst>
          </p:cNvPr>
          <p:cNvSpPr>
            <a:spLocks/>
          </p:cNvSpPr>
          <p:nvPr userDrawn="1"/>
        </p:nvSpPr>
        <p:spPr bwMode="gray">
          <a:xfrm>
            <a:off x="5055788" y="2618965"/>
            <a:ext cx="29912" cy="87135"/>
          </a:xfrm>
          <a:custGeom>
            <a:avLst/>
            <a:gdLst/>
            <a:ahLst/>
            <a:cxnLst>
              <a:cxn ang="0">
                <a:pos x="10" y="65"/>
              </a:cxn>
              <a:cxn ang="0">
                <a:pos x="10" y="65"/>
              </a:cxn>
              <a:cxn ang="0">
                <a:pos x="13" y="67"/>
              </a:cxn>
              <a:cxn ang="0">
                <a:pos x="13" y="67"/>
              </a:cxn>
              <a:cxn ang="0">
                <a:pos x="14" y="53"/>
              </a:cxn>
              <a:cxn ang="0">
                <a:pos x="17" y="44"/>
              </a:cxn>
              <a:cxn ang="0">
                <a:pos x="17" y="44"/>
              </a:cxn>
              <a:cxn ang="0">
                <a:pos x="18" y="40"/>
              </a:cxn>
              <a:cxn ang="0">
                <a:pos x="20" y="35"/>
              </a:cxn>
              <a:cxn ang="0">
                <a:pos x="20" y="35"/>
              </a:cxn>
              <a:cxn ang="0">
                <a:pos x="14" y="30"/>
              </a:cxn>
              <a:cxn ang="0">
                <a:pos x="13" y="26"/>
              </a:cxn>
              <a:cxn ang="0">
                <a:pos x="13" y="26"/>
              </a:cxn>
              <a:cxn ang="0">
                <a:pos x="14" y="20"/>
              </a:cxn>
              <a:cxn ang="0">
                <a:pos x="16" y="16"/>
              </a:cxn>
              <a:cxn ang="0">
                <a:pos x="17" y="14"/>
              </a:cxn>
              <a:cxn ang="0">
                <a:pos x="17" y="14"/>
              </a:cxn>
              <a:cxn ang="0">
                <a:pos x="21" y="14"/>
              </a:cxn>
              <a:cxn ang="0">
                <a:pos x="21" y="14"/>
              </a:cxn>
              <a:cxn ang="0">
                <a:pos x="23" y="3"/>
              </a:cxn>
              <a:cxn ang="0">
                <a:pos x="14" y="0"/>
              </a:cxn>
              <a:cxn ang="0">
                <a:pos x="14" y="0"/>
              </a:cxn>
              <a:cxn ang="0">
                <a:pos x="13" y="7"/>
              </a:cxn>
              <a:cxn ang="0">
                <a:pos x="13" y="7"/>
              </a:cxn>
              <a:cxn ang="0">
                <a:pos x="10" y="14"/>
              </a:cxn>
              <a:cxn ang="0">
                <a:pos x="7" y="23"/>
              </a:cxn>
              <a:cxn ang="0">
                <a:pos x="0" y="35"/>
              </a:cxn>
              <a:cxn ang="0">
                <a:pos x="11" y="64"/>
              </a:cxn>
              <a:cxn ang="0">
                <a:pos x="10" y="65"/>
              </a:cxn>
            </a:cxnLst>
            <a:rect l="0" t="0" r="r" b="b"/>
            <a:pathLst>
              <a:path w="23" h="67">
                <a:moveTo>
                  <a:pt x="10" y="65"/>
                </a:moveTo>
                <a:lnTo>
                  <a:pt x="10" y="65"/>
                </a:lnTo>
                <a:lnTo>
                  <a:pt x="13" y="67"/>
                </a:lnTo>
                <a:lnTo>
                  <a:pt x="13" y="67"/>
                </a:lnTo>
                <a:lnTo>
                  <a:pt x="14" y="53"/>
                </a:lnTo>
                <a:lnTo>
                  <a:pt x="17" y="44"/>
                </a:lnTo>
                <a:lnTo>
                  <a:pt x="17" y="44"/>
                </a:lnTo>
                <a:lnTo>
                  <a:pt x="18" y="40"/>
                </a:lnTo>
                <a:lnTo>
                  <a:pt x="20" y="35"/>
                </a:lnTo>
                <a:lnTo>
                  <a:pt x="20" y="35"/>
                </a:lnTo>
                <a:lnTo>
                  <a:pt x="14" y="30"/>
                </a:lnTo>
                <a:lnTo>
                  <a:pt x="13" y="26"/>
                </a:lnTo>
                <a:lnTo>
                  <a:pt x="13" y="26"/>
                </a:lnTo>
                <a:lnTo>
                  <a:pt x="14" y="20"/>
                </a:lnTo>
                <a:lnTo>
                  <a:pt x="16" y="16"/>
                </a:lnTo>
                <a:lnTo>
                  <a:pt x="17" y="14"/>
                </a:lnTo>
                <a:lnTo>
                  <a:pt x="17" y="14"/>
                </a:lnTo>
                <a:lnTo>
                  <a:pt x="21" y="14"/>
                </a:lnTo>
                <a:lnTo>
                  <a:pt x="21" y="14"/>
                </a:lnTo>
                <a:lnTo>
                  <a:pt x="23" y="3"/>
                </a:lnTo>
                <a:lnTo>
                  <a:pt x="14" y="0"/>
                </a:lnTo>
                <a:lnTo>
                  <a:pt x="14" y="0"/>
                </a:lnTo>
                <a:lnTo>
                  <a:pt x="13" y="7"/>
                </a:lnTo>
                <a:lnTo>
                  <a:pt x="13" y="7"/>
                </a:lnTo>
                <a:lnTo>
                  <a:pt x="10" y="14"/>
                </a:lnTo>
                <a:lnTo>
                  <a:pt x="7" y="23"/>
                </a:lnTo>
                <a:lnTo>
                  <a:pt x="0" y="35"/>
                </a:lnTo>
                <a:lnTo>
                  <a:pt x="11" y="64"/>
                </a:lnTo>
                <a:lnTo>
                  <a:pt x="10" y="65"/>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52" name="Freeform 239">
            <a:extLst>
              <a:ext uri="{FF2B5EF4-FFF2-40B4-BE49-F238E27FC236}">
                <a16:creationId xmlns:a16="http://schemas.microsoft.com/office/drawing/2014/main" id="{AFA872C9-EFB4-73BE-9BA9-1D94CCC5C872}"/>
              </a:ext>
            </a:extLst>
          </p:cNvPr>
          <p:cNvSpPr>
            <a:spLocks/>
          </p:cNvSpPr>
          <p:nvPr userDrawn="1"/>
        </p:nvSpPr>
        <p:spPr bwMode="gray">
          <a:xfrm>
            <a:off x="5072696" y="2616365"/>
            <a:ext cx="87135" cy="96238"/>
          </a:xfrm>
          <a:custGeom>
            <a:avLst/>
            <a:gdLst/>
            <a:ahLst/>
            <a:cxnLst>
              <a:cxn ang="0">
                <a:pos x="62" y="0"/>
              </a:cxn>
              <a:cxn ang="0">
                <a:pos x="62" y="0"/>
              </a:cxn>
              <a:cxn ang="0">
                <a:pos x="41" y="10"/>
              </a:cxn>
              <a:cxn ang="0">
                <a:pos x="41" y="10"/>
              </a:cxn>
              <a:cxn ang="0">
                <a:pos x="37" y="12"/>
              </a:cxn>
              <a:cxn ang="0">
                <a:pos x="33" y="15"/>
              </a:cxn>
              <a:cxn ang="0">
                <a:pos x="27" y="19"/>
              </a:cxn>
              <a:cxn ang="0">
                <a:pos x="11" y="10"/>
              </a:cxn>
              <a:cxn ang="0">
                <a:pos x="10" y="5"/>
              </a:cxn>
              <a:cxn ang="0">
                <a:pos x="10" y="5"/>
              </a:cxn>
              <a:cxn ang="0">
                <a:pos x="10" y="5"/>
              </a:cxn>
              <a:cxn ang="0">
                <a:pos x="8" y="19"/>
              </a:cxn>
              <a:cxn ang="0">
                <a:pos x="8" y="19"/>
              </a:cxn>
              <a:cxn ang="0">
                <a:pos x="7" y="32"/>
              </a:cxn>
              <a:cxn ang="0">
                <a:pos x="5" y="40"/>
              </a:cxn>
              <a:cxn ang="0">
                <a:pos x="4" y="46"/>
              </a:cxn>
              <a:cxn ang="0">
                <a:pos x="4" y="46"/>
              </a:cxn>
              <a:cxn ang="0">
                <a:pos x="1" y="55"/>
              </a:cxn>
              <a:cxn ang="0">
                <a:pos x="0" y="69"/>
              </a:cxn>
              <a:cxn ang="0">
                <a:pos x="0" y="69"/>
              </a:cxn>
              <a:cxn ang="0">
                <a:pos x="7" y="73"/>
              </a:cxn>
              <a:cxn ang="0">
                <a:pos x="14" y="74"/>
              </a:cxn>
              <a:cxn ang="0">
                <a:pos x="14" y="74"/>
              </a:cxn>
              <a:cxn ang="0">
                <a:pos x="18" y="74"/>
              </a:cxn>
              <a:cxn ang="0">
                <a:pos x="23" y="72"/>
              </a:cxn>
              <a:cxn ang="0">
                <a:pos x="25" y="69"/>
              </a:cxn>
              <a:cxn ang="0">
                <a:pos x="27" y="66"/>
              </a:cxn>
              <a:cxn ang="0">
                <a:pos x="27" y="66"/>
              </a:cxn>
              <a:cxn ang="0">
                <a:pos x="27" y="63"/>
              </a:cxn>
              <a:cxn ang="0">
                <a:pos x="30" y="62"/>
              </a:cxn>
              <a:cxn ang="0">
                <a:pos x="37" y="60"/>
              </a:cxn>
              <a:cxn ang="0">
                <a:pos x="37" y="60"/>
              </a:cxn>
              <a:cxn ang="0">
                <a:pos x="40" y="60"/>
              </a:cxn>
              <a:cxn ang="0">
                <a:pos x="41" y="57"/>
              </a:cxn>
              <a:cxn ang="0">
                <a:pos x="44" y="56"/>
              </a:cxn>
              <a:cxn ang="0">
                <a:pos x="45" y="53"/>
              </a:cxn>
              <a:cxn ang="0">
                <a:pos x="45" y="53"/>
              </a:cxn>
              <a:cxn ang="0">
                <a:pos x="47" y="52"/>
              </a:cxn>
              <a:cxn ang="0">
                <a:pos x="45" y="50"/>
              </a:cxn>
              <a:cxn ang="0">
                <a:pos x="42" y="46"/>
              </a:cxn>
              <a:cxn ang="0">
                <a:pos x="38" y="42"/>
              </a:cxn>
              <a:cxn ang="0">
                <a:pos x="34" y="39"/>
              </a:cxn>
              <a:cxn ang="0">
                <a:pos x="34" y="39"/>
              </a:cxn>
              <a:cxn ang="0">
                <a:pos x="33" y="39"/>
              </a:cxn>
              <a:cxn ang="0">
                <a:pos x="33" y="37"/>
              </a:cxn>
              <a:cxn ang="0">
                <a:pos x="35" y="35"/>
              </a:cxn>
              <a:cxn ang="0">
                <a:pos x="41" y="30"/>
              </a:cxn>
              <a:cxn ang="0">
                <a:pos x="50" y="29"/>
              </a:cxn>
              <a:cxn ang="0">
                <a:pos x="50" y="29"/>
              </a:cxn>
              <a:cxn ang="0">
                <a:pos x="57" y="28"/>
              </a:cxn>
              <a:cxn ang="0">
                <a:pos x="60" y="26"/>
              </a:cxn>
              <a:cxn ang="0">
                <a:pos x="62" y="25"/>
              </a:cxn>
              <a:cxn ang="0">
                <a:pos x="67" y="25"/>
              </a:cxn>
              <a:cxn ang="0">
                <a:pos x="67" y="25"/>
              </a:cxn>
              <a:cxn ang="0">
                <a:pos x="67" y="25"/>
              </a:cxn>
              <a:cxn ang="0">
                <a:pos x="67" y="25"/>
              </a:cxn>
              <a:cxn ang="0">
                <a:pos x="64" y="9"/>
              </a:cxn>
              <a:cxn ang="0">
                <a:pos x="64" y="9"/>
              </a:cxn>
              <a:cxn ang="0">
                <a:pos x="62" y="0"/>
              </a:cxn>
              <a:cxn ang="0">
                <a:pos x="62" y="0"/>
              </a:cxn>
            </a:cxnLst>
            <a:rect l="0" t="0" r="r" b="b"/>
            <a:pathLst>
              <a:path w="67" h="74">
                <a:moveTo>
                  <a:pt x="62" y="0"/>
                </a:moveTo>
                <a:lnTo>
                  <a:pt x="62" y="0"/>
                </a:lnTo>
                <a:lnTo>
                  <a:pt x="41" y="10"/>
                </a:lnTo>
                <a:lnTo>
                  <a:pt x="41" y="10"/>
                </a:lnTo>
                <a:lnTo>
                  <a:pt x="37" y="12"/>
                </a:lnTo>
                <a:lnTo>
                  <a:pt x="33" y="15"/>
                </a:lnTo>
                <a:lnTo>
                  <a:pt x="27" y="19"/>
                </a:lnTo>
                <a:lnTo>
                  <a:pt x="11" y="10"/>
                </a:lnTo>
                <a:lnTo>
                  <a:pt x="10" y="5"/>
                </a:lnTo>
                <a:lnTo>
                  <a:pt x="10" y="5"/>
                </a:lnTo>
                <a:lnTo>
                  <a:pt x="10" y="5"/>
                </a:lnTo>
                <a:lnTo>
                  <a:pt x="8" y="19"/>
                </a:lnTo>
                <a:lnTo>
                  <a:pt x="8" y="19"/>
                </a:lnTo>
                <a:lnTo>
                  <a:pt x="7" y="32"/>
                </a:lnTo>
                <a:lnTo>
                  <a:pt x="5" y="40"/>
                </a:lnTo>
                <a:lnTo>
                  <a:pt x="4" y="46"/>
                </a:lnTo>
                <a:lnTo>
                  <a:pt x="4" y="46"/>
                </a:lnTo>
                <a:lnTo>
                  <a:pt x="1" y="55"/>
                </a:lnTo>
                <a:lnTo>
                  <a:pt x="0" y="69"/>
                </a:lnTo>
                <a:lnTo>
                  <a:pt x="0" y="69"/>
                </a:lnTo>
                <a:lnTo>
                  <a:pt x="7" y="73"/>
                </a:lnTo>
                <a:lnTo>
                  <a:pt x="14" y="74"/>
                </a:lnTo>
                <a:lnTo>
                  <a:pt x="14" y="74"/>
                </a:lnTo>
                <a:lnTo>
                  <a:pt x="18" y="74"/>
                </a:lnTo>
                <a:lnTo>
                  <a:pt x="23" y="72"/>
                </a:lnTo>
                <a:lnTo>
                  <a:pt x="25" y="69"/>
                </a:lnTo>
                <a:lnTo>
                  <a:pt x="27" y="66"/>
                </a:lnTo>
                <a:lnTo>
                  <a:pt x="27" y="66"/>
                </a:lnTo>
                <a:lnTo>
                  <a:pt x="27" y="63"/>
                </a:lnTo>
                <a:lnTo>
                  <a:pt x="30" y="62"/>
                </a:lnTo>
                <a:lnTo>
                  <a:pt x="37" y="60"/>
                </a:lnTo>
                <a:lnTo>
                  <a:pt x="37" y="60"/>
                </a:lnTo>
                <a:lnTo>
                  <a:pt x="40" y="60"/>
                </a:lnTo>
                <a:lnTo>
                  <a:pt x="41" y="57"/>
                </a:lnTo>
                <a:lnTo>
                  <a:pt x="44" y="56"/>
                </a:lnTo>
                <a:lnTo>
                  <a:pt x="45" y="53"/>
                </a:lnTo>
                <a:lnTo>
                  <a:pt x="45" y="53"/>
                </a:lnTo>
                <a:lnTo>
                  <a:pt x="47" y="52"/>
                </a:lnTo>
                <a:lnTo>
                  <a:pt x="45" y="50"/>
                </a:lnTo>
                <a:lnTo>
                  <a:pt x="42" y="46"/>
                </a:lnTo>
                <a:lnTo>
                  <a:pt x="38" y="42"/>
                </a:lnTo>
                <a:lnTo>
                  <a:pt x="34" y="39"/>
                </a:lnTo>
                <a:lnTo>
                  <a:pt x="34" y="39"/>
                </a:lnTo>
                <a:lnTo>
                  <a:pt x="33" y="39"/>
                </a:lnTo>
                <a:lnTo>
                  <a:pt x="33" y="37"/>
                </a:lnTo>
                <a:lnTo>
                  <a:pt x="35" y="35"/>
                </a:lnTo>
                <a:lnTo>
                  <a:pt x="41" y="30"/>
                </a:lnTo>
                <a:lnTo>
                  <a:pt x="50" y="29"/>
                </a:lnTo>
                <a:lnTo>
                  <a:pt x="50" y="29"/>
                </a:lnTo>
                <a:lnTo>
                  <a:pt x="57" y="28"/>
                </a:lnTo>
                <a:lnTo>
                  <a:pt x="60" y="26"/>
                </a:lnTo>
                <a:lnTo>
                  <a:pt x="62" y="25"/>
                </a:lnTo>
                <a:lnTo>
                  <a:pt x="67" y="25"/>
                </a:lnTo>
                <a:lnTo>
                  <a:pt x="67" y="25"/>
                </a:lnTo>
                <a:lnTo>
                  <a:pt x="67" y="25"/>
                </a:lnTo>
                <a:lnTo>
                  <a:pt x="67" y="25"/>
                </a:lnTo>
                <a:lnTo>
                  <a:pt x="64" y="9"/>
                </a:lnTo>
                <a:lnTo>
                  <a:pt x="64" y="9"/>
                </a:lnTo>
                <a:lnTo>
                  <a:pt x="62" y="0"/>
                </a:lnTo>
                <a:lnTo>
                  <a:pt x="62" y="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53" name="Freeform 240">
            <a:extLst>
              <a:ext uri="{FF2B5EF4-FFF2-40B4-BE49-F238E27FC236}">
                <a16:creationId xmlns:a16="http://schemas.microsoft.com/office/drawing/2014/main" id="{B05567F8-B048-D1A3-0743-58B1D3B2DDC7}"/>
              </a:ext>
            </a:extLst>
          </p:cNvPr>
          <p:cNvSpPr>
            <a:spLocks/>
          </p:cNvSpPr>
          <p:nvPr userDrawn="1"/>
        </p:nvSpPr>
        <p:spPr bwMode="gray">
          <a:xfrm>
            <a:off x="5800980" y="2379672"/>
            <a:ext cx="227589" cy="96238"/>
          </a:xfrm>
          <a:custGeom>
            <a:avLst/>
            <a:gdLst/>
            <a:ahLst/>
            <a:cxnLst>
              <a:cxn ang="0">
                <a:pos x="157" y="10"/>
              </a:cxn>
              <a:cxn ang="0">
                <a:pos x="147" y="10"/>
              </a:cxn>
              <a:cxn ang="0">
                <a:pos x="113" y="6"/>
              </a:cxn>
              <a:cxn ang="0">
                <a:pos x="100" y="7"/>
              </a:cxn>
              <a:cxn ang="0">
                <a:pos x="84" y="2"/>
              </a:cxn>
              <a:cxn ang="0">
                <a:pos x="69" y="3"/>
              </a:cxn>
              <a:cxn ang="0">
                <a:pos x="67" y="7"/>
              </a:cxn>
              <a:cxn ang="0">
                <a:pos x="59" y="13"/>
              </a:cxn>
              <a:cxn ang="0">
                <a:pos x="46" y="7"/>
              </a:cxn>
              <a:cxn ang="0">
                <a:pos x="32" y="9"/>
              </a:cxn>
              <a:cxn ang="0">
                <a:pos x="30" y="15"/>
              </a:cxn>
              <a:cxn ang="0">
                <a:pos x="22" y="22"/>
              </a:cxn>
              <a:cxn ang="0">
                <a:pos x="16" y="30"/>
              </a:cxn>
              <a:cxn ang="0">
                <a:pos x="22" y="36"/>
              </a:cxn>
              <a:cxn ang="0">
                <a:pos x="33" y="37"/>
              </a:cxn>
              <a:cxn ang="0">
                <a:pos x="36" y="35"/>
              </a:cxn>
              <a:cxn ang="0">
                <a:pos x="50" y="40"/>
              </a:cxn>
              <a:cxn ang="0">
                <a:pos x="60" y="49"/>
              </a:cxn>
              <a:cxn ang="0">
                <a:pos x="52" y="52"/>
              </a:cxn>
              <a:cxn ang="0">
                <a:pos x="49" y="56"/>
              </a:cxn>
              <a:cxn ang="0">
                <a:pos x="37" y="56"/>
              </a:cxn>
              <a:cxn ang="0">
                <a:pos x="30" y="57"/>
              </a:cxn>
              <a:cxn ang="0">
                <a:pos x="12" y="59"/>
              </a:cxn>
              <a:cxn ang="0">
                <a:pos x="0" y="66"/>
              </a:cxn>
              <a:cxn ang="0">
                <a:pos x="0" y="70"/>
              </a:cxn>
              <a:cxn ang="0">
                <a:pos x="17" y="69"/>
              </a:cxn>
              <a:cxn ang="0">
                <a:pos x="23" y="70"/>
              </a:cxn>
              <a:cxn ang="0">
                <a:pos x="32" y="70"/>
              </a:cxn>
              <a:cxn ang="0">
                <a:pos x="37" y="72"/>
              </a:cxn>
              <a:cxn ang="0">
                <a:pos x="44" y="74"/>
              </a:cxn>
              <a:cxn ang="0">
                <a:pos x="50" y="74"/>
              </a:cxn>
              <a:cxn ang="0">
                <a:pos x="71" y="73"/>
              </a:cxn>
              <a:cxn ang="0">
                <a:pos x="74" y="64"/>
              </a:cxn>
              <a:cxn ang="0">
                <a:pos x="76" y="62"/>
              </a:cxn>
              <a:cxn ang="0">
                <a:pos x="84" y="59"/>
              </a:cxn>
              <a:cxn ang="0">
                <a:pos x="90" y="54"/>
              </a:cxn>
              <a:cxn ang="0">
                <a:pos x="97" y="52"/>
              </a:cxn>
              <a:cxn ang="0">
                <a:pos x="104" y="54"/>
              </a:cxn>
              <a:cxn ang="0">
                <a:pos x="110" y="54"/>
              </a:cxn>
              <a:cxn ang="0">
                <a:pos x="120" y="49"/>
              </a:cxn>
              <a:cxn ang="0">
                <a:pos x="125" y="43"/>
              </a:cxn>
              <a:cxn ang="0">
                <a:pos x="138" y="44"/>
              </a:cxn>
              <a:cxn ang="0">
                <a:pos x="147" y="37"/>
              </a:cxn>
              <a:cxn ang="0">
                <a:pos x="153" y="33"/>
              </a:cxn>
              <a:cxn ang="0">
                <a:pos x="167" y="26"/>
              </a:cxn>
              <a:cxn ang="0">
                <a:pos x="174" y="22"/>
              </a:cxn>
              <a:cxn ang="0">
                <a:pos x="171" y="17"/>
              </a:cxn>
              <a:cxn ang="0">
                <a:pos x="161" y="15"/>
              </a:cxn>
            </a:cxnLst>
            <a:rect l="0" t="0" r="r" b="b"/>
            <a:pathLst>
              <a:path w="175" h="74">
                <a:moveTo>
                  <a:pt x="161" y="15"/>
                </a:moveTo>
                <a:lnTo>
                  <a:pt x="161" y="15"/>
                </a:lnTo>
                <a:lnTo>
                  <a:pt x="157" y="10"/>
                </a:lnTo>
                <a:lnTo>
                  <a:pt x="154" y="10"/>
                </a:lnTo>
                <a:lnTo>
                  <a:pt x="151" y="10"/>
                </a:lnTo>
                <a:lnTo>
                  <a:pt x="147" y="10"/>
                </a:lnTo>
                <a:lnTo>
                  <a:pt x="147" y="10"/>
                </a:lnTo>
                <a:lnTo>
                  <a:pt x="125" y="7"/>
                </a:lnTo>
                <a:lnTo>
                  <a:pt x="113" y="6"/>
                </a:lnTo>
                <a:lnTo>
                  <a:pt x="106" y="7"/>
                </a:lnTo>
                <a:lnTo>
                  <a:pt x="106" y="7"/>
                </a:lnTo>
                <a:lnTo>
                  <a:pt x="100" y="7"/>
                </a:lnTo>
                <a:lnTo>
                  <a:pt x="94" y="6"/>
                </a:lnTo>
                <a:lnTo>
                  <a:pt x="84" y="2"/>
                </a:lnTo>
                <a:lnTo>
                  <a:pt x="84" y="2"/>
                </a:lnTo>
                <a:lnTo>
                  <a:pt x="80" y="0"/>
                </a:lnTo>
                <a:lnTo>
                  <a:pt x="74" y="2"/>
                </a:lnTo>
                <a:lnTo>
                  <a:pt x="69" y="3"/>
                </a:lnTo>
                <a:lnTo>
                  <a:pt x="67" y="6"/>
                </a:lnTo>
                <a:lnTo>
                  <a:pt x="67" y="7"/>
                </a:lnTo>
                <a:lnTo>
                  <a:pt x="67" y="7"/>
                </a:lnTo>
                <a:lnTo>
                  <a:pt x="66" y="12"/>
                </a:lnTo>
                <a:lnTo>
                  <a:pt x="63" y="13"/>
                </a:lnTo>
                <a:lnTo>
                  <a:pt x="59" y="13"/>
                </a:lnTo>
                <a:lnTo>
                  <a:pt x="53" y="10"/>
                </a:lnTo>
                <a:lnTo>
                  <a:pt x="53" y="10"/>
                </a:lnTo>
                <a:lnTo>
                  <a:pt x="46" y="7"/>
                </a:lnTo>
                <a:lnTo>
                  <a:pt x="39" y="7"/>
                </a:lnTo>
                <a:lnTo>
                  <a:pt x="33" y="7"/>
                </a:lnTo>
                <a:lnTo>
                  <a:pt x="32" y="9"/>
                </a:lnTo>
                <a:lnTo>
                  <a:pt x="32" y="10"/>
                </a:lnTo>
                <a:lnTo>
                  <a:pt x="32" y="10"/>
                </a:lnTo>
                <a:lnTo>
                  <a:pt x="30" y="15"/>
                </a:lnTo>
                <a:lnTo>
                  <a:pt x="27" y="17"/>
                </a:lnTo>
                <a:lnTo>
                  <a:pt x="22" y="22"/>
                </a:lnTo>
                <a:lnTo>
                  <a:pt x="22" y="22"/>
                </a:lnTo>
                <a:lnTo>
                  <a:pt x="19" y="25"/>
                </a:lnTo>
                <a:lnTo>
                  <a:pt x="16" y="30"/>
                </a:lnTo>
                <a:lnTo>
                  <a:pt x="16" y="30"/>
                </a:lnTo>
                <a:lnTo>
                  <a:pt x="19" y="33"/>
                </a:lnTo>
                <a:lnTo>
                  <a:pt x="22" y="36"/>
                </a:lnTo>
                <a:lnTo>
                  <a:pt x="22" y="36"/>
                </a:lnTo>
                <a:lnTo>
                  <a:pt x="24" y="37"/>
                </a:lnTo>
                <a:lnTo>
                  <a:pt x="29" y="39"/>
                </a:lnTo>
                <a:lnTo>
                  <a:pt x="33" y="37"/>
                </a:lnTo>
                <a:lnTo>
                  <a:pt x="34" y="35"/>
                </a:lnTo>
                <a:lnTo>
                  <a:pt x="34" y="35"/>
                </a:lnTo>
                <a:lnTo>
                  <a:pt x="36" y="35"/>
                </a:lnTo>
                <a:lnTo>
                  <a:pt x="37" y="35"/>
                </a:lnTo>
                <a:lnTo>
                  <a:pt x="43" y="36"/>
                </a:lnTo>
                <a:lnTo>
                  <a:pt x="50" y="40"/>
                </a:lnTo>
                <a:lnTo>
                  <a:pt x="57" y="46"/>
                </a:lnTo>
                <a:lnTo>
                  <a:pt x="57" y="46"/>
                </a:lnTo>
                <a:lnTo>
                  <a:pt x="60" y="49"/>
                </a:lnTo>
                <a:lnTo>
                  <a:pt x="57" y="50"/>
                </a:lnTo>
                <a:lnTo>
                  <a:pt x="53" y="50"/>
                </a:lnTo>
                <a:lnTo>
                  <a:pt x="52" y="52"/>
                </a:lnTo>
                <a:lnTo>
                  <a:pt x="50" y="53"/>
                </a:lnTo>
                <a:lnTo>
                  <a:pt x="50" y="53"/>
                </a:lnTo>
                <a:lnTo>
                  <a:pt x="49" y="56"/>
                </a:lnTo>
                <a:lnTo>
                  <a:pt x="47" y="56"/>
                </a:lnTo>
                <a:lnTo>
                  <a:pt x="42" y="56"/>
                </a:lnTo>
                <a:lnTo>
                  <a:pt x="37" y="56"/>
                </a:lnTo>
                <a:lnTo>
                  <a:pt x="34" y="56"/>
                </a:lnTo>
                <a:lnTo>
                  <a:pt x="34" y="56"/>
                </a:lnTo>
                <a:lnTo>
                  <a:pt x="30" y="57"/>
                </a:lnTo>
                <a:lnTo>
                  <a:pt x="23" y="59"/>
                </a:lnTo>
                <a:lnTo>
                  <a:pt x="12" y="59"/>
                </a:lnTo>
                <a:lnTo>
                  <a:pt x="12" y="59"/>
                </a:lnTo>
                <a:lnTo>
                  <a:pt x="7" y="60"/>
                </a:lnTo>
                <a:lnTo>
                  <a:pt x="3" y="63"/>
                </a:lnTo>
                <a:lnTo>
                  <a:pt x="0" y="66"/>
                </a:lnTo>
                <a:lnTo>
                  <a:pt x="0" y="69"/>
                </a:lnTo>
                <a:lnTo>
                  <a:pt x="0" y="69"/>
                </a:lnTo>
                <a:lnTo>
                  <a:pt x="0" y="70"/>
                </a:lnTo>
                <a:lnTo>
                  <a:pt x="3" y="70"/>
                </a:lnTo>
                <a:lnTo>
                  <a:pt x="9" y="70"/>
                </a:lnTo>
                <a:lnTo>
                  <a:pt x="17" y="69"/>
                </a:lnTo>
                <a:lnTo>
                  <a:pt x="20" y="70"/>
                </a:lnTo>
                <a:lnTo>
                  <a:pt x="23" y="70"/>
                </a:lnTo>
                <a:lnTo>
                  <a:pt x="23" y="70"/>
                </a:lnTo>
                <a:lnTo>
                  <a:pt x="24" y="72"/>
                </a:lnTo>
                <a:lnTo>
                  <a:pt x="27" y="72"/>
                </a:lnTo>
                <a:lnTo>
                  <a:pt x="32" y="70"/>
                </a:lnTo>
                <a:lnTo>
                  <a:pt x="34" y="70"/>
                </a:lnTo>
                <a:lnTo>
                  <a:pt x="36" y="70"/>
                </a:lnTo>
                <a:lnTo>
                  <a:pt x="37" y="72"/>
                </a:lnTo>
                <a:lnTo>
                  <a:pt x="37" y="72"/>
                </a:lnTo>
                <a:lnTo>
                  <a:pt x="40" y="73"/>
                </a:lnTo>
                <a:lnTo>
                  <a:pt x="44" y="74"/>
                </a:lnTo>
                <a:lnTo>
                  <a:pt x="47" y="73"/>
                </a:lnTo>
                <a:lnTo>
                  <a:pt x="50" y="74"/>
                </a:lnTo>
                <a:lnTo>
                  <a:pt x="50" y="74"/>
                </a:lnTo>
                <a:lnTo>
                  <a:pt x="56" y="74"/>
                </a:lnTo>
                <a:lnTo>
                  <a:pt x="61" y="74"/>
                </a:lnTo>
                <a:lnTo>
                  <a:pt x="71" y="73"/>
                </a:lnTo>
                <a:lnTo>
                  <a:pt x="71" y="73"/>
                </a:lnTo>
                <a:lnTo>
                  <a:pt x="73" y="69"/>
                </a:lnTo>
                <a:lnTo>
                  <a:pt x="74" y="64"/>
                </a:lnTo>
                <a:lnTo>
                  <a:pt x="74" y="64"/>
                </a:lnTo>
                <a:lnTo>
                  <a:pt x="74" y="63"/>
                </a:lnTo>
                <a:lnTo>
                  <a:pt x="76" y="62"/>
                </a:lnTo>
                <a:lnTo>
                  <a:pt x="81" y="60"/>
                </a:lnTo>
                <a:lnTo>
                  <a:pt x="81" y="60"/>
                </a:lnTo>
                <a:lnTo>
                  <a:pt x="84" y="59"/>
                </a:lnTo>
                <a:lnTo>
                  <a:pt x="86" y="57"/>
                </a:lnTo>
                <a:lnTo>
                  <a:pt x="88" y="56"/>
                </a:lnTo>
                <a:lnTo>
                  <a:pt x="90" y="54"/>
                </a:lnTo>
                <a:lnTo>
                  <a:pt x="90" y="54"/>
                </a:lnTo>
                <a:lnTo>
                  <a:pt x="94" y="53"/>
                </a:lnTo>
                <a:lnTo>
                  <a:pt x="97" y="52"/>
                </a:lnTo>
                <a:lnTo>
                  <a:pt x="100" y="52"/>
                </a:lnTo>
                <a:lnTo>
                  <a:pt x="100" y="52"/>
                </a:lnTo>
                <a:lnTo>
                  <a:pt x="104" y="54"/>
                </a:lnTo>
                <a:lnTo>
                  <a:pt x="107" y="56"/>
                </a:lnTo>
                <a:lnTo>
                  <a:pt x="110" y="54"/>
                </a:lnTo>
                <a:lnTo>
                  <a:pt x="110" y="54"/>
                </a:lnTo>
                <a:lnTo>
                  <a:pt x="114" y="53"/>
                </a:lnTo>
                <a:lnTo>
                  <a:pt x="116" y="52"/>
                </a:lnTo>
                <a:lnTo>
                  <a:pt x="120" y="49"/>
                </a:lnTo>
                <a:lnTo>
                  <a:pt x="120" y="49"/>
                </a:lnTo>
                <a:lnTo>
                  <a:pt x="123" y="44"/>
                </a:lnTo>
                <a:lnTo>
                  <a:pt x="125" y="43"/>
                </a:lnTo>
                <a:lnTo>
                  <a:pt x="134" y="44"/>
                </a:lnTo>
                <a:lnTo>
                  <a:pt x="134" y="44"/>
                </a:lnTo>
                <a:lnTo>
                  <a:pt x="138" y="44"/>
                </a:lnTo>
                <a:lnTo>
                  <a:pt x="143" y="43"/>
                </a:lnTo>
                <a:lnTo>
                  <a:pt x="145" y="40"/>
                </a:lnTo>
                <a:lnTo>
                  <a:pt x="147" y="37"/>
                </a:lnTo>
                <a:lnTo>
                  <a:pt x="147" y="37"/>
                </a:lnTo>
                <a:lnTo>
                  <a:pt x="148" y="35"/>
                </a:lnTo>
                <a:lnTo>
                  <a:pt x="153" y="33"/>
                </a:lnTo>
                <a:lnTo>
                  <a:pt x="160" y="30"/>
                </a:lnTo>
                <a:lnTo>
                  <a:pt x="160" y="30"/>
                </a:lnTo>
                <a:lnTo>
                  <a:pt x="167" y="26"/>
                </a:lnTo>
                <a:lnTo>
                  <a:pt x="174" y="23"/>
                </a:lnTo>
                <a:lnTo>
                  <a:pt x="174" y="23"/>
                </a:lnTo>
                <a:lnTo>
                  <a:pt x="174" y="22"/>
                </a:lnTo>
                <a:lnTo>
                  <a:pt x="175" y="19"/>
                </a:lnTo>
                <a:lnTo>
                  <a:pt x="175" y="19"/>
                </a:lnTo>
                <a:lnTo>
                  <a:pt x="171" y="17"/>
                </a:lnTo>
                <a:lnTo>
                  <a:pt x="168" y="17"/>
                </a:lnTo>
                <a:lnTo>
                  <a:pt x="165" y="16"/>
                </a:lnTo>
                <a:lnTo>
                  <a:pt x="161" y="15"/>
                </a:lnTo>
                <a:lnTo>
                  <a:pt x="161" y="15"/>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54" name="Freeform 241">
            <a:extLst>
              <a:ext uri="{FF2B5EF4-FFF2-40B4-BE49-F238E27FC236}">
                <a16:creationId xmlns:a16="http://schemas.microsoft.com/office/drawing/2014/main" id="{14CDC7A7-3F57-2F28-9602-5835D10CBD01}"/>
              </a:ext>
            </a:extLst>
          </p:cNvPr>
          <p:cNvSpPr>
            <a:spLocks/>
          </p:cNvSpPr>
          <p:nvPr userDrawn="1"/>
        </p:nvSpPr>
        <p:spPr bwMode="gray">
          <a:xfrm>
            <a:off x="5175435" y="2366667"/>
            <a:ext cx="141756" cy="65025"/>
          </a:xfrm>
          <a:custGeom>
            <a:avLst/>
            <a:gdLst/>
            <a:ahLst/>
            <a:cxnLst>
              <a:cxn ang="0">
                <a:pos x="45" y="39"/>
              </a:cxn>
              <a:cxn ang="0">
                <a:pos x="50" y="40"/>
              </a:cxn>
              <a:cxn ang="0">
                <a:pos x="56" y="49"/>
              </a:cxn>
              <a:cxn ang="0">
                <a:pos x="56" y="49"/>
              </a:cxn>
              <a:cxn ang="0">
                <a:pos x="72" y="46"/>
              </a:cxn>
              <a:cxn ang="0">
                <a:pos x="86" y="47"/>
              </a:cxn>
              <a:cxn ang="0">
                <a:pos x="86" y="46"/>
              </a:cxn>
              <a:cxn ang="0">
                <a:pos x="86" y="45"/>
              </a:cxn>
              <a:cxn ang="0">
                <a:pos x="90" y="43"/>
              </a:cxn>
              <a:cxn ang="0">
                <a:pos x="97" y="47"/>
              </a:cxn>
              <a:cxn ang="0">
                <a:pos x="103" y="50"/>
              </a:cxn>
              <a:cxn ang="0">
                <a:pos x="109" y="49"/>
              </a:cxn>
              <a:cxn ang="0">
                <a:pos x="109" y="46"/>
              </a:cxn>
              <a:cxn ang="0">
                <a:pos x="104" y="42"/>
              </a:cxn>
              <a:cxn ang="0">
                <a:pos x="104" y="39"/>
              </a:cxn>
              <a:cxn ang="0">
                <a:pos x="107" y="35"/>
              </a:cxn>
              <a:cxn ang="0">
                <a:pos x="97" y="30"/>
              </a:cxn>
              <a:cxn ang="0">
                <a:pos x="96" y="29"/>
              </a:cxn>
              <a:cxn ang="0">
                <a:pos x="94" y="22"/>
              </a:cxn>
              <a:cxn ang="0">
                <a:pos x="92" y="20"/>
              </a:cxn>
              <a:cxn ang="0">
                <a:pos x="86" y="17"/>
              </a:cxn>
              <a:cxn ang="0">
                <a:pos x="79" y="19"/>
              </a:cxn>
              <a:cxn ang="0">
                <a:pos x="70" y="20"/>
              </a:cxn>
              <a:cxn ang="0">
                <a:pos x="67" y="20"/>
              </a:cxn>
              <a:cxn ang="0">
                <a:pos x="63" y="16"/>
              </a:cxn>
              <a:cxn ang="0">
                <a:pos x="60" y="15"/>
              </a:cxn>
              <a:cxn ang="0">
                <a:pos x="55" y="13"/>
              </a:cxn>
              <a:cxn ang="0">
                <a:pos x="50" y="9"/>
              </a:cxn>
              <a:cxn ang="0">
                <a:pos x="39" y="8"/>
              </a:cxn>
              <a:cxn ang="0">
                <a:pos x="25" y="6"/>
              </a:cxn>
              <a:cxn ang="0">
                <a:pos x="16" y="2"/>
              </a:cxn>
              <a:cxn ang="0">
                <a:pos x="6" y="0"/>
              </a:cxn>
              <a:cxn ang="0">
                <a:pos x="0" y="3"/>
              </a:cxn>
              <a:cxn ang="0">
                <a:pos x="8" y="8"/>
              </a:cxn>
              <a:cxn ang="0">
                <a:pos x="22" y="12"/>
              </a:cxn>
              <a:cxn ang="0">
                <a:pos x="25" y="17"/>
              </a:cxn>
              <a:cxn ang="0">
                <a:pos x="27" y="23"/>
              </a:cxn>
              <a:cxn ang="0">
                <a:pos x="32" y="29"/>
              </a:cxn>
              <a:cxn ang="0">
                <a:pos x="30" y="35"/>
              </a:cxn>
              <a:cxn ang="0">
                <a:pos x="27" y="40"/>
              </a:cxn>
              <a:cxn ang="0">
                <a:pos x="37" y="40"/>
              </a:cxn>
              <a:cxn ang="0">
                <a:pos x="45" y="39"/>
              </a:cxn>
            </a:cxnLst>
            <a:rect l="0" t="0" r="r" b="b"/>
            <a:pathLst>
              <a:path w="109" h="50">
                <a:moveTo>
                  <a:pt x="45" y="39"/>
                </a:moveTo>
                <a:lnTo>
                  <a:pt x="45" y="39"/>
                </a:lnTo>
                <a:lnTo>
                  <a:pt x="47" y="39"/>
                </a:lnTo>
                <a:lnTo>
                  <a:pt x="50" y="40"/>
                </a:lnTo>
                <a:lnTo>
                  <a:pt x="56" y="49"/>
                </a:lnTo>
                <a:lnTo>
                  <a:pt x="56" y="49"/>
                </a:lnTo>
                <a:lnTo>
                  <a:pt x="56" y="49"/>
                </a:lnTo>
                <a:lnTo>
                  <a:pt x="56" y="49"/>
                </a:lnTo>
                <a:lnTo>
                  <a:pt x="72" y="46"/>
                </a:lnTo>
                <a:lnTo>
                  <a:pt x="72" y="46"/>
                </a:lnTo>
                <a:lnTo>
                  <a:pt x="79" y="46"/>
                </a:lnTo>
                <a:lnTo>
                  <a:pt x="86" y="47"/>
                </a:lnTo>
                <a:lnTo>
                  <a:pt x="86" y="47"/>
                </a:lnTo>
                <a:lnTo>
                  <a:pt x="86" y="46"/>
                </a:lnTo>
                <a:lnTo>
                  <a:pt x="86" y="45"/>
                </a:lnTo>
                <a:lnTo>
                  <a:pt x="86" y="45"/>
                </a:lnTo>
                <a:lnTo>
                  <a:pt x="87" y="43"/>
                </a:lnTo>
                <a:lnTo>
                  <a:pt x="90" y="43"/>
                </a:lnTo>
                <a:lnTo>
                  <a:pt x="97" y="47"/>
                </a:lnTo>
                <a:lnTo>
                  <a:pt x="97" y="47"/>
                </a:lnTo>
                <a:lnTo>
                  <a:pt x="99" y="49"/>
                </a:lnTo>
                <a:lnTo>
                  <a:pt x="103" y="50"/>
                </a:lnTo>
                <a:lnTo>
                  <a:pt x="106" y="49"/>
                </a:lnTo>
                <a:lnTo>
                  <a:pt x="109" y="49"/>
                </a:lnTo>
                <a:lnTo>
                  <a:pt x="109" y="49"/>
                </a:lnTo>
                <a:lnTo>
                  <a:pt x="109" y="46"/>
                </a:lnTo>
                <a:lnTo>
                  <a:pt x="107" y="45"/>
                </a:lnTo>
                <a:lnTo>
                  <a:pt x="104" y="42"/>
                </a:lnTo>
                <a:lnTo>
                  <a:pt x="104" y="42"/>
                </a:lnTo>
                <a:lnTo>
                  <a:pt x="104" y="39"/>
                </a:lnTo>
                <a:lnTo>
                  <a:pt x="107" y="35"/>
                </a:lnTo>
                <a:lnTo>
                  <a:pt x="107" y="35"/>
                </a:lnTo>
                <a:lnTo>
                  <a:pt x="101" y="32"/>
                </a:lnTo>
                <a:lnTo>
                  <a:pt x="97" y="30"/>
                </a:lnTo>
                <a:lnTo>
                  <a:pt x="97" y="30"/>
                </a:lnTo>
                <a:lnTo>
                  <a:pt x="96" y="29"/>
                </a:lnTo>
                <a:lnTo>
                  <a:pt x="94" y="26"/>
                </a:lnTo>
                <a:lnTo>
                  <a:pt x="94" y="22"/>
                </a:lnTo>
                <a:lnTo>
                  <a:pt x="92" y="20"/>
                </a:lnTo>
                <a:lnTo>
                  <a:pt x="92" y="20"/>
                </a:lnTo>
                <a:lnTo>
                  <a:pt x="89" y="19"/>
                </a:lnTo>
                <a:lnTo>
                  <a:pt x="86" y="17"/>
                </a:lnTo>
                <a:lnTo>
                  <a:pt x="86" y="17"/>
                </a:lnTo>
                <a:lnTo>
                  <a:pt x="79" y="19"/>
                </a:lnTo>
                <a:lnTo>
                  <a:pt x="73" y="19"/>
                </a:lnTo>
                <a:lnTo>
                  <a:pt x="70" y="20"/>
                </a:lnTo>
                <a:lnTo>
                  <a:pt x="70" y="20"/>
                </a:lnTo>
                <a:lnTo>
                  <a:pt x="67" y="20"/>
                </a:lnTo>
                <a:lnTo>
                  <a:pt x="66" y="19"/>
                </a:lnTo>
                <a:lnTo>
                  <a:pt x="63" y="16"/>
                </a:lnTo>
                <a:lnTo>
                  <a:pt x="60" y="15"/>
                </a:lnTo>
                <a:lnTo>
                  <a:pt x="60" y="15"/>
                </a:lnTo>
                <a:lnTo>
                  <a:pt x="57" y="15"/>
                </a:lnTo>
                <a:lnTo>
                  <a:pt x="55" y="13"/>
                </a:lnTo>
                <a:lnTo>
                  <a:pt x="50" y="9"/>
                </a:lnTo>
                <a:lnTo>
                  <a:pt x="50" y="9"/>
                </a:lnTo>
                <a:lnTo>
                  <a:pt x="46" y="8"/>
                </a:lnTo>
                <a:lnTo>
                  <a:pt x="39" y="8"/>
                </a:lnTo>
                <a:lnTo>
                  <a:pt x="30" y="8"/>
                </a:lnTo>
                <a:lnTo>
                  <a:pt x="25" y="6"/>
                </a:lnTo>
                <a:lnTo>
                  <a:pt x="25" y="6"/>
                </a:lnTo>
                <a:lnTo>
                  <a:pt x="16" y="2"/>
                </a:lnTo>
                <a:lnTo>
                  <a:pt x="10" y="0"/>
                </a:lnTo>
                <a:lnTo>
                  <a:pt x="6" y="0"/>
                </a:lnTo>
                <a:lnTo>
                  <a:pt x="6" y="0"/>
                </a:lnTo>
                <a:lnTo>
                  <a:pt x="0" y="3"/>
                </a:lnTo>
                <a:lnTo>
                  <a:pt x="0" y="3"/>
                </a:lnTo>
                <a:lnTo>
                  <a:pt x="8" y="8"/>
                </a:lnTo>
                <a:lnTo>
                  <a:pt x="15" y="9"/>
                </a:lnTo>
                <a:lnTo>
                  <a:pt x="22" y="12"/>
                </a:lnTo>
                <a:lnTo>
                  <a:pt x="23" y="15"/>
                </a:lnTo>
                <a:lnTo>
                  <a:pt x="25" y="17"/>
                </a:lnTo>
                <a:lnTo>
                  <a:pt x="25" y="17"/>
                </a:lnTo>
                <a:lnTo>
                  <a:pt x="27" y="23"/>
                </a:lnTo>
                <a:lnTo>
                  <a:pt x="29" y="26"/>
                </a:lnTo>
                <a:lnTo>
                  <a:pt x="32" y="29"/>
                </a:lnTo>
                <a:lnTo>
                  <a:pt x="30" y="35"/>
                </a:lnTo>
                <a:lnTo>
                  <a:pt x="30" y="35"/>
                </a:lnTo>
                <a:lnTo>
                  <a:pt x="29" y="37"/>
                </a:lnTo>
                <a:lnTo>
                  <a:pt x="27" y="40"/>
                </a:lnTo>
                <a:lnTo>
                  <a:pt x="27" y="40"/>
                </a:lnTo>
                <a:lnTo>
                  <a:pt x="37" y="40"/>
                </a:lnTo>
                <a:lnTo>
                  <a:pt x="45" y="39"/>
                </a:lnTo>
                <a:lnTo>
                  <a:pt x="45" y="39"/>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55" name="Freeform 242">
            <a:extLst>
              <a:ext uri="{FF2B5EF4-FFF2-40B4-BE49-F238E27FC236}">
                <a16:creationId xmlns:a16="http://schemas.microsoft.com/office/drawing/2014/main" id="{60E5E474-568D-DF78-ACB9-E4E1CA1745CF}"/>
              </a:ext>
            </a:extLst>
          </p:cNvPr>
          <p:cNvSpPr>
            <a:spLocks noEditPoints="1"/>
          </p:cNvSpPr>
          <p:nvPr userDrawn="1"/>
        </p:nvSpPr>
        <p:spPr bwMode="gray">
          <a:xfrm>
            <a:off x="4889323" y="2405682"/>
            <a:ext cx="388852" cy="152160"/>
          </a:xfrm>
          <a:custGeom>
            <a:avLst/>
            <a:gdLst/>
            <a:ahLst/>
            <a:cxnLst>
              <a:cxn ang="0">
                <a:pos x="292" y="69"/>
              </a:cxn>
              <a:cxn ang="0">
                <a:pos x="290" y="52"/>
              </a:cxn>
              <a:cxn ang="0">
                <a:pos x="293" y="44"/>
              </a:cxn>
              <a:cxn ang="0">
                <a:pos x="289" y="36"/>
              </a:cxn>
              <a:cxn ang="0">
                <a:pos x="279" y="27"/>
              </a:cxn>
              <a:cxn ang="0">
                <a:pos x="270" y="10"/>
              </a:cxn>
              <a:cxn ang="0">
                <a:pos x="247" y="10"/>
              </a:cxn>
              <a:cxn ang="0">
                <a:pos x="218" y="20"/>
              </a:cxn>
              <a:cxn ang="0">
                <a:pos x="189" y="20"/>
              </a:cxn>
              <a:cxn ang="0">
                <a:pos x="171" y="15"/>
              </a:cxn>
              <a:cxn ang="0">
                <a:pos x="156" y="7"/>
              </a:cxn>
              <a:cxn ang="0">
                <a:pos x="132" y="2"/>
              </a:cxn>
              <a:cxn ang="0">
                <a:pos x="91" y="10"/>
              </a:cxn>
              <a:cxn ang="0">
                <a:pos x="64" y="19"/>
              </a:cxn>
              <a:cxn ang="0">
                <a:pos x="47" y="23"/>
              </a:cxn>
              <a:cxn ang="0">
                <a:pos x="23" y="32"/>
              </a:cxn>
              <a:cxn ang="0">
                <a:pos x="1" y="40"/>
              </a:cxn>
              <a:cxn ang="0">
                <a:pos x="7" y="46"/>
              </a:cxn>
              <a:cxn ang="0">
                <a:pos x="10" y="52"/>
              </a:cxn>
              <a:cxn ang="0">
                <a:pos x="10" y="64"/>
              </a:cxn>
              <a:cxn ang="0">
                <a:pos x="14" y="76"/>
              </a:cxn>
              <a:cxn ang="0">
                <a:pos x="11" y="81"/>
              </a:cxn>
              <a:cxn ang="0">
                <a:pos x="20" y="90"/>
              </a:cxn>
              <a:cxn ang="0">
                <a:pos x="31" y="96"/>
              </a:cxn>
              <a:cxn ang="0">
                <a:pos x="41" y="98"/>
              </a:cxn>
              <a:cxn ang="0">
                <a:pos x="53" y="111"/>
              </a:cxn>
              <a:cxn ang="0">
                <a:pos x="70" y="106"/>
              </a:cxn>
              <a:cxn ang="0">
                <a:pos x="82" y="98"/>
              </a:cxn>
              <a:cxn ang="0">
                <a:pos x="108" y="113"/>
              </a:cxn>
              <a:cxn ang="0">
                <a:pos x="129" y="106"/>
              </a:cxn>
              <a:cxn ang="0">
                <a:pos x="145" y="103"/>
              </a:cxn>
              <a:cxn ang="0">
                <a:pos x="161" y="100"/>
              </a:cxn>
              <a:cxn ang="0">
                <a:pos x="156" y="108"/>
              </a:cxn>
              <a:cxn ang="0">
                <a:pos x="156" y="117"/>
              </a:cxn>
              <a:cxn ang="0">
                <a:pos x="166" y="107"/>
              </a:cxn>
              <a:cxn ang="0">
                <a:pos x="172" y="103"/>
              </a:cxn>
              <a:cxn ang="0">
                <a:pos x="186" y="103"/>
              </a:cxn>
              <a:cxn ang="0">
                <a:pos x="199" y="103"/>
              </a:cxn>
              <a:cxn ang="0">
                <a:pos x="226" y="98"/>
              </a:cxn>
              <a:cxn ang="0">
                <a:pos x="249" y="94"/>
              </a:cxn>
              <a:cxn ang="0">
                <a:pos x="265" y="90"/>
              </a:cxn>
              <a:cxn ang="0">
                <a:pos x="279" y="91"/>
              </a:cxn>
              <a:cxn ang="0">
                <a:pos x="292" y="96"/>
              </a:cxn>
              <a:cxn ang="0">
                <a:pos x="299" y="91"/>
              </a:cxn>
              <a:cxn ang="0">
                <a:pos x="24" y="20"/>
              </a:cxn>
              <a:cxn ang="0">
                <a:pos x="45" y="19"/>
              </a:cxn>
              <a:cxn ang="0">
                <a:pos x="34" y="9"/>
              </a:cxn>
              <a:cxn ang="0">
                <a:pos x="27" y="2"/>
              </a:cxn>
              <a:cxn ang="0">
                <a:pos x="7" y="2"/>
              </a:cxn>
              <a:cxn ang="0">
                <a:pos x="9" y="12"/>
              </a:cxn>
              <a:cxn ang="0">
                <a:pos x="4" y="20"/>
              </a:cxn>
              <a:cxn ang="0">
                <a:pos x="10" y="30"/>
              </a:cxn>
              <a:cxn ang="0">
                <a:pos x="24" y="20"/>
              </a:cxn>
            </a:cxnLst>
            <a:rect l="0" t="0" r="r" b="b"/>
            <a:pathLst>
              <a:path w="299" h="117">
                <a:moveTo>
                  <a:pt x="292" y="81"/>
                </a:moveTo>
                <a:lnTo>
                  <a:pt x="292" y="81"/>
                </a:lnTo>
                <a:lnTo>
                  <a:pt x="290" y="79"/>
                </a:lnTo>
                <a:lnTo>
                  <a:pt x="290" y="74"/>
                </a:lnTo>
                <a:lnTo>
                  <a:pt x="292" y="69"/>
                </a:lnTo>
                <a:lnTo>
                  <a:pt x="292" y="64"/>
                </a:lnTo>
                <a:lnTo>
                  <a:pt x="292" y="64"/>
                </a:lnTo>
                <a:lnTo>
                  <a:pt x="289" y="57"/>
                </a:lnTo>
                <a:lnTo>
                  <a:pt x="289" y="53"/>
                </a:lnTo>
                <a:lnTo>
                  <a:pt x="290" y="52"/>
                </a:lnTo>
                <a:lnTo>
                  <a:pt x="290" y="52"/>
                </a:lnTo>
                <a:lnTo>
                  <a:pt x="290" y="52"/>
                </a:lnTo>
                <a:lnTo>
                  <a:pt x="292" y="50"/>
                </a:lnTo>
                <a:lnTo>
                  <a:pt x="292" y="47"/>
                </a:lnTo>
                <a:lnTo>
                  <a:pt x="293" y="44"/>
                </a:lnTo>
                <a:lnTo>
                  <a:pt x="294" y="43"/>
                </a:lnTo>
                <a:lnTo>
                  <a:pt x="294" y="43"/>
                </a:lnTo>
                <a:lnTo>
                  <a:pt x="292" y="37"/>
                </a:lnTo>
                <a:lnTo>
                  <a:pt x="292" y="37"/>
                </a:lnTo>
                <a:lnTo>
                  <a:pt x="289" y="36"/>
                </a:lnTo>
                <a:lnTo>
                  <a:pt x="286" y="36"/>
                </a:lnTo>
                <a:lnTo>
                  <a:pt x="282" y="36"/>
                </a:lnTo>
                <a:lnTo>
                  <a:pt x="280" y="32"/>
                </a:lnTo>
                <a:lnTo>
                  <a:pt x="280" y="32"/>
                </a:lnTo>
                <a:lnTo>
                  <a:pt x="279" y="27"/>
                </a:lnTo>
                <a:lnTo>
                  <a:pt x="277" y="24"/>
                </a:lnTo>
                <a:lnTo>
                  <a:pt x="277" y="22"/>
                </a:lnTo>
                <a:lnTo>
                  <a:pt x="276" y="19"/>
                </a:lnTo>
                <a:lnTo>
                  <a:pt x="276" y="19"/>
                </a:lnTo>
                <a:lnTo>
                  <a:pt x="270" y="10"/>
                </a:lnTo>
                <a:lnTo>
                  <a:pt x="267" y="9"/>
                </a:lnTo>
                <a:lnTo>
                  <a:pt x="265" y="9"/>
                </a:lnTo>
                <a:lnTo>
                  <a:pt x="265" y="9"/>
                </a:lnTo>
                <a:lnTo>
                  <a:pt x="257" y="10"/>
                </a:lnTo>
                <a:lnTo>
                  <a:pt x="247" y="10"/>
                </a:lnTo>
                <a:lnTo>
                  <a:pt x="247" y="10"/>
                </a:lnTo>
                <a:lnTo>
                  <a:pt x="240" y="15"/>
                </a:lnTo>
                <a:lnTo>
                  <a:pt x="232" y="17"/>
                </a:lnTo>
                <a:lnTo>
                  <a:pt x="223" y="20"/>
                </a:lnTo>
                <a:lnTo>
                  <a:pt x="218" y="20"/>
                </a:lnTo>
                <a:lnTo>
                  <a:pt x="218" y="20"/>
                </a:lnTo>
                <a:lnTo>
                  <a:pt x="212" y="19"/>
                </a:lnTo>
                <a:lnTo>
                  <a:pt x="205" y="19"/>
                </a:lnTo>
                <a:lnTo>
                  <a:pt x="189" y="20"/>
                </a:lnTo>
                <a:lnTo>
                  <a:pt x="189" y="20"/>
                </a:lnTo>
                <a:lnTo>
                  <a:pt x="183" y="19"/>
                </a:lnTo>
                <a:lnTo>
                  <a:pt x="179" y="17"/>
                </a:lnTo>
                <a:lnTo>
                  <a:pt x="175" y="15"/>
                </a:lnTo>
                <a:lnTo>
                  <a:pt x="171" y="15"/>
                </a:lnTo>
                <a:lnTo>
                  <a:pt x="171" y="15"/>
                </a:lnTo>
                <a:lnTo>
                  <a:pt x="166" y="13"/>
                </a:lnTo>
                <a:lnTo>
                  <a:pt x="164" y="12"/>
                </a:lnTo>
                <a:lnTo>
                  <a:pt x="161" y="9"/>
                </a:lnTo>
                <a:lnTo>
                  <a:pt x="156" y="7"/>
                </a:lnTo>
                <a:lnTo>
                  <a:pt x="156" y="7"/>
                </a:lnTo>
                <a:lnTo>
                  <a:pt x="152" y="7"/>
                </a:lnTo>
                <a:lnTo>
                  <a:pt x="149" y="6"/>
                </a:lnTo>
                <a:lnTo>
                  <a:pt x="145" y="3"/>
                </a:lnTo>
                <a:lnTo>
                  <a:pt x="132" y="2"/>
                </a:lnTo>
                <a:lnTo>
                  <a:pt x="132" y="2"/>
                </a:lnTo>
                <a:lnTo>
                  <a:pt x="124" y="0"/>
                </a:lnTo>
                <a:lnTo>
                  <a:pt x="117" y="2"/>
                </a:lnTo>
                <a:lnTo>
                  <a:pt x="110" y="3"/>
                </a:lnTo>
                <a:lnTo>
                  <a:pt x="102" y="6"/>
                </a:lnTo>
                <a:lnTo>
                  <a:pt x="91" y="10"/>
                </a:lnTo>
                <a:lnTo>
                  <a:pt x="84" y="16"/>
                </a:lnTo>
                <a:lnTo>
                  <a:pt x="84" y="16"/>
                </a:lnTo>
                <a:lnTo>
                  <a:pt x="80" y="19"/>
                </a:lnTo>
                <a:lnTo>
                  <a:pt x="75" y="19"/>
                </a:lnTo>
                <a:lnTo>
                  <a:pt x="64" y="19"/>
                </a:lnTo>
                <a:lnTo>
                  <a:pt x="54" y="17"/>
                </a:lnTo>
                <a:lnTo>
                  <a:pt x="48" y="19"/>
                </a:lnTo>
                <a:lnTo>
                  <a:pt x="48" y="19"/>
                </a:lnTo>
                <a:lnTo>
                  <a:pt x="47" y="20"/>
                </a:lnTo>
                <a:lnTo>
                  <a:pt x="47" y="23"/>
                </a:lnTo>
                <a:lnTo>
                  <a:pt x="45" y="27"/>
                </a:lnTo>
                <a:lnTo>
                  <a:pt x="41" y="30"/>
                </a:lnTo>
                <a:lnTo>
                  <a:pt x="41" y="30"/>
                </a:lnTo>
                <a:lnTo>
                  <a:pt x="33" y="32"/>
                </a:lnTo>
                <a:lnTo>
                  <a:pt x="23" y="32"/>
                </a:lnTo>
                <a:lnTo>
                  <a:pt x="14" y="32"/>
                </a:lnTo>
                <a:lnTo>
                  <a:pt x="7" y="33"/>
                </a:lnTo>
                <a:lnTo>
                  <a:pt x="7" y="33"/>
                </a:lnTo>
                <a:lnTo>
                  <a:pt x="3" y="36"/>
                </a:lnTo>
                <a:lnTo>
                  <a:pt x="1" y="40"/>
                </a:lnTo>
                <a:lnTo>
                  <a:pt x="1" y="44"/>
                </a:lnTo>
                <a:lnTo>
                  <a:pt x="1" y="44"/>
                </a:lnTo>
                <a:lnTo>
                  <a:pt x="4" y="46"/>
                </a:lnTo>
                <a:lnTo>
                  <a:pt x="4" y="46"/>
                </a:lnTo>
                <a:lnTo>
                  <a:pt x="7" y="46"/>
                </a:lnTo>
                <a:lnTo>
                  <a:pt x="10" y="46"/>
                </a:lnTo>
                <a:lnTo>
                  <a:pt x="10" y="49"/>
                </a:lnTo>
                <a:lnTo>
                  <a:pt x="10" y="50"/>
                </a:lnTo>
                <a:lnTo>
                  <a:pt x="10" y="50"/>
                </a:lnTo>
                <a:lnTo>
                  <a:pt x="10" y="52"/>
                </a:lnTo>
                <a:lnTo>
                  <a:pt x="11" y="56"/>
                </a:lnTo>
                <a:lnTo>
                  <a:pt x="13" y="59"/>
                </a:lnTo>
                <a:lnTo>
                  <a:pt x="11" y="61"/>
                </a:lnTo>
                <a:lnTo>
                  <a:pt x="11" y="61"/>
                </a:lnTo>
                <a:lnTo>
                  <a:pt x="10" y="64"/>
                </a:lnTo>
                <a:lnTo>
                  <a:pt x="10" y="67"/>
                </a:lnTo>
                <a:lnTo>
                  <a:pt x="10" y="70"/>
                </a:lnTo>
                <a:lnTo>
                  <a:pt x="13" y="73"/>
                </a:lnTo>
                <a:lnTo>
                  <a:pt x="13" y="73"/>
                </a:lnTo>
                <a:lnTo>
                  <a:pt x="14" y="76"/>
                </a:lnTo>
                <a:lnTo>
                  <a:pt x="16" y="79"/>
                </a:lnTo>
                <a:lnTo>
                  <a:pt x="14" y="80"/>
                </a:lnTo>
                <a:lnTo>
                  <a:pt x="13" y="81"/>
                </a:lnTo>
                <a:lnTo>
                  <a:pt x="13" y="81"/>
                </a:lnTo>
                <a:lnTo>
                  <a:pt x="11" y="81"/>
                </a:lnTo>
                <a:lnTo>
                  <a:pt x="11" y="83"/>
                </a:lnTo>
                <a:lnTo>
                  <a:pt x="14" y="86"/>
                </a:lnTo>
                <a:lnTo>
                  <a:pt x="18" y="87"/>
                </a:lnTo>
                <a:lnTo>
                  <a:pt x="20" y="90"/>
                </a:lnTo>
                <a:lnTo>
                  <a:pt x="20" y="90"/>
                </a:lnTo>
                <a:lnTo>
                  <a:pt x="21" y="91"/>
                </a:lnTo>
                <a:lnTo>
                  <a:pt x="26" y="93"/>
                </a:lnTo>
                <a:lnTo>
                  <a:pt x="28" y="94"/>
                </a:lnTo>
                <a:lnTo>
                  <a:pt x="31" y="96"/>
                </a:lnTo>
                <a:lnTo>
                  <a:pt x="31" y="96"/>
                </a:lnTo>
                <a:lnTo>
                  <a:pt x="31" y="98"/>
                </a:lnTo>
                <a:lnTo>
                  <a:pt x="33" y="98"/>
                </a:lnTo>
                <a:lnTo>
                  <a:pt x="38" y="98"/>
                </a:lnTo>
                <a:lnTo>
                  <a:pt x="38" y="98"/>
                </a:lnTo>
                <a:lnTo>
                  <a:pt x="41" y="98"/>
                </a:lnTo>
                <a:lnTo>
                  <a:pt x="44" y="101"/>
                </a:lnTo>
                <a:lnTo>
                  <a:pt x="48" y="108"/>
                </a:lnTo>
                <a:lnTo>
                  <a:pt x="48" y="108"/>
                </a:lnTo>
                <a:lnTo>
                  <a:pt x="50" y="110"/>
                </a:lnTo>
                <a:lnTo>
                  <a:pt x="53" y="111"/>
                </a:lnTo>
                <a:lnTo>
                  <a:pt x="60" y="111"/>
                </a:lnTo>
                <a:lnTo>
                  <a:pt x="67" y="108"/>
                </a:lnTo>
                <a:lnTo>
                  <a:pt x="68" y="107"/>
                </a:lnTo>
                <a:lnTo>
                  <a:pt x="70" y="106"/>
                </a:lnTo>
                <a:lnTo>
                  <a:pt x="70" y="106"/>
                </a:lnTo>
                <a:lnTo>
                  <a:pt x="70" y="101"/>
                </a:lnTo>
                <a:lnTo>
                  <a:pt x="73" y="100"/>
                </a:lnTo>
                <a:lnTo>
                  <a:pt x="77" y="98"/>
                </a:lnTo>
                <a:lnTo>
                  <a:pt x="82" y="98"/>
                </a:lnTo>
                <a:lnTo>
                  <a:pt x="82" y="98"/>
                </a:lnTo>
                <a:lnTo>
                  <a:pt x="88" y="101"/>
                </a:lnTo>
                <a:lnTo>
                  <a:pt x="95" y="106"/>
                </a:lnTo>
                <a:lnTo>
                  <a:pt x="104" y="111"/>
                </a:lnTo>
                <a:lnTo>
                  <a:pt x="104" y="111"/>
                </a:lnTo>
                <a:lnTo>
                  <a:pt x="108" y="113"/>
                </a:lnTo>
                <a:lnTo>
                  <a:pt x="112" y="111"/>
                </a:lnTo>
                <a:lnTo>
                  <a:pt x="121" y="108"/>
                </a:lnTo>
                <a:lnTo>
                  <a:pt x="121" y="108"/>
                </a:lnTo>
                <a:lnTo>
                  <a:pt x="125" y="108"/>
                </a:lnTo>
                <a:lnTo>
                  <a:pt x="129" y="106"/>
                </a:lnTo>
                <a:lnTo>
                  <a:pt x="135" y="100"/>
                </a:lnTo>
                <a:lnTo>
                  <a:pt x="135" y="100"/>
                </a:lnTo>
                <a:lnTo>
                  <a:pt x="138" y="100"/>
                </a:lnTo>
                <a:lnTo>
                  <a:pt x="141" y="101"/>
                </a:lnTo>
                <a:lnTo>
                  <a:pt x="145" y="103"/>
                </a:lnTo>
                <a:lnTo>
                  <a:pt x="148" y="103"/>
                </a:lnTo>
                <a:lnTo>
                  <a:pt x="148" y="103"/>
                </a:lnTo>
                <a:lnTo>
                  <a:pt x="155" y="100"/>
                </a:lnTo>
                <a:lnTo>
                  <a:pt x="158" y="98"/>
                </a:lnTo>
                <a:lnTo>
                  <a:pt x="161" y="100"/>
                </a:lnTo>
                <a:lnTo>
                  <a:pt x="161" y="100"/>
                </a:lnTo>
                <a:lnTo>
                  <a:pt x="161" y="100"/>
                </a:lnTo>
                <a:lnTo>
                  <a:pt x="161" y="101"/>
                </a:lnTo>
                <a:lnTo>
                  <a:pt x="158" y="106"/>
                </a:lnTo>
                <a:lnTo>
                  <a:pt x="156" y="108"/>
                </a:lnTo>
                <a:lnTo>
                  <a:pt x="155" y="110"/>
                </a:lnTo>
                <a:lnTo>
                  <a:pt x="156" y="113"/>
                </a:lnTo>
                <a:lnTo>
                  <a:pt x="156" y="113"/>
                </a:lnTo>
                <a:lnTo>
                  <a:pt x="156" y="114"/>
                </a:lnTo>
                <a:lnTo>
                  <a:pt x="156" y="117"/>
                </a:lnTo>
                <a:lnTo>
                  <a:pt x="156" y="117"/>
                </a:lnTo>
                <a:lnTo>
                  <a:pt x="162" y="116"/>
                </a:lnTo>
                <a:lnTo>
                  <a:pt x="165" y="113"/>
                </a:lnTo>
                <a:lnTo>
                  <a:pt x="165" y="110"/>
                </a:lnTo>
                <a:lnTo>
                  <a:pt x="166" y="107"/>
                </a:lnTo>
                <a:lnTo>
                  <a:pt x="166" y="107"/>
                </a:lnTo>
                <a:lnTo>
                  <a:pt x="168" y="103"/>
                </a:lnTo>
                <a:lnTo>
                  <a:pt x="169" y="101"/>
                </a:lnTo>
                <a:lnTo>
                  <a:pt x="172" y="103"/>
                </a:lnTo>
                <a:lnTo>
                  <a:pt x="172" y="103"/>
                </a:lnTo>
                <a:lnTo>
                  <a:pt x="175" y="104"/>
                </a:lnTo>
                <a:lnTo>
                  <a:pt x="178" y="104"/>
                </a:lnTo>
                <a:lnTo>
                  <a:pt x="182" y="104"/>
                </a:lnTo>
                <a:lnTo>
                  <a:pt x="186" y="103"/>
                </a:lnTo>
                <a:lnTo>
                  <a:pt x="186" y="103"/>
                </a:lnTo>
                <a:lnTo>
                  <a:pt x="193" y="100"/>
                </a:lnTo>
                <a:lnTo>
                  <a:pt x="195" y="100"/>
                </a:lnTo>
                <a:lnTo>
                  <a:pt x="196" y="101"/>
                </a:lnTo>
                <a:lnTo>
                  <a:pt x="196" y="101"/>
                </a:lnTo>
                <a:lnTo>
                  <a:pt x="199" y="103"/>
                </a:lnTo>
                <a:lnTo>
                  <a:pt x="203" y="103"/>
                </a:lnTo>
                <a:lnTo>
                  <a:pt x="215" y="101"/>
                </a:lnTo>
                <a:lnTo>
                  <a:pt x="215" y="101"/>
                </a:lnTo>
                <a:lnTo>
                  <a:pt x="222" y="100"/>
                </a:lnTo>
                <a:lnTo>
                  <a:pt x="226" y="98"/>
                </a:lnTo>
                <a:lnTo>
                  <a:pt x="230" y="96"/>
                </a:lnTo>
                <a:lnTo>
                  <a:pt x="236" y="96"/>
                </a:lnTo>
                <a:lnTo>
                  <a:pt x="236" y="96"/>
                </a:lnTo>
                <a:lnTo>
                  <a:pt x="243" y="94"/>
                </a:lnTo>
                <a:lnTo>
                  <a:pt x="249" y="94"/>
                </a:lnTo>
                <a:lnTo>
                  <a:pt x="255" y="93"/>
                </a:lnTo>
                <a:lnTo>
                  <a:pt x="260" y="94"/>
                </a:lnTo>
                <a:lnTo>
                  <a:pt x="260" y="94"/>
                </a:lnTo>
                <a:lnTo>
                  <a:pt x="263" y="91"/>
                </a:lnTo>
                <a:lnTo>
                  <a:pt x="265" y="90"/>
                </a:lnTo>
                <a:lnTo>
                  <a:pt x="267" y="89"/>
                </a:lnTo>
                <a:lnTo>
                  <a:pt x="267" y="89"/>
                </a:lnTo>
                <a:lnTo>
                  <a:pt x="273" y="89"/>
                </a:lnTo>
                <a:lnTo>
                  <a:pt x="276" y="91"/>
                </a:lnTo>
                <a:lnTo>
                  <a:pt x="279" y="91"/>
                </a:lnTo>
                <a:lnTo>
                  <a:pt x="282" y="91"/>
                </a:lnTo>
                <a:lnTo>
                  <a:pt x="282" y="91"/>
                </a:lnTo>
                <a:lnTo>
                  <a:pt x="283" y="91"/>
                </a:lnTo>
                <a:lnTo>
                  <a:pt x="286" y="93"/>
                </a:lnTo>
                <a:lnTo>
                  <a:pt x="292" y="96"/>
                </a:lnTo>
                <a:lnTo>
                  <a:pt x="296" y="97"/>
                </a:lnTo>
                <a:lnTo>
                  <a:pt x="297" y="97"/>
                </a:lnTo>
                <a:lnTo>
                  <a:pt x="299" y="94"/>
                </a:lnTo>
                <a:lnTo>
                  <a:pt x="299" y="94"/>
                </a:lnTo>
                <a:lnTo>
                  <a:pt x="299" y="91"/>
                </a:lnTo>
                <a:lnTo>
                  <a:pt x="296" y="87"/>
                </a:lnTo>
                <a:lnTo>
                  <a:pt x="293" y="84"/>
                </a:lnTo>
                <a:lnTo>
                  <a:pt x="292" y="81"/>
                </a:lnTo>
                <a:lnTo>
                  <a:pt x="292" y="81"/>
                </a:lnTo>
                <a:close/>
                <a:moveTo>
                  <a:pt x="24" y="20"/>
                </a:moveTo>
                <a:lnTo>
                  <a:pt x="24" y="20"/>
                </a:lnTo>
                <a:lnTo>
                  <a:pt x="30" y="20"/>
                </a:lnTo>
                <a:lnTo>
                  <a:pt x="36" y="20"/>
                </a:lnTo>
                <a:lnTo>
                  <a:pt x="41" y="20"/>
                </a:lnTo>
                <a:lnTo>
                  <a:pt x="45" y="19"/>
                </a:lnTo>
                <a:lnTo>
                  <a:pt x="45" y="19"/>
                </a:lnTo>
                <a:lnTo>
                  <a:pt x="47" y="17"/>
                </a:lnTo>
                <a:lnTo>
                  <a:pt x="45" y="16"/>
                </a:lnTo>
                <a:lnTo>
                  <a:pt x="43" y="13"/>
                </a:lnTo>
                <a:lnTo>
                  <a:pt x="34" y="9"/>
                </a:lnTo>
                <a:lnTo>
                  <a:pt x="34" y="9"/>
                </a:lnTo>
                <a:lnTo>
                  <a:pt x="31" y="5"/>
                </a:lnTo>
                <a:lnTo>
                  <a:pt x="30" y="0"/>
                </a:lnTo>
                <a:lnTo>
                  <a:pt x="30" y="0"/>
                </a:lnTo>
                <a:lnTo>
                  <a:pt x="27" y="2"/>
                </a:lnTo>
                <a:lnTo>
                  <a:pt x="23" y="2"/>
                </a:lnTo>
                <a:lnTo>
                  <a:pt x="23" y="2"/>
                </a:lnTo>
                <a:lnTo>
                  <a:pt x="18" y="0"/>
                </a:lnTo>
                <a:lnTo>
                  <a:pt x="14" y="0"/>
                </a:lnTo>
                <a:lnTo>
                  <a:pt x="7" y="2"/>
                </a:lnTo>
                <a:lnTo>
                  <a:pt x="7" y="2"/>
                </a:lnTo>
                <a:lnTo>
                  <a:pt x="6" y="3"/>
                </a:lnTo>
                <a:lnTo>
                  <a:pt x="7" y="6"/>
                </a:lnTo>
                <a:lnTo>
                  <a:pt x="9" y="12"/>
                </a:lnTo>
                <a:lnTo>
                  <a:pt x="9" y="12"/>
                </a:lnTo>
                <a:lnTo>
                  <a:pt x="7" y="15"/>
                </a:lnTo>
                <a:lnTo>
                  <a:pt x="6" y="16"/>
                </a:lnTo>
                <a:lnTo>
                  <a:pt x="4" y="17"/>
                </a:lnTo>
                <a:lnTo>
                  <a:pt x="4" y="20"/>
                </a:lnTo>
                <a:lnTo>
                  <a:pt x="4" y="20"/>
                </a:lnTo>
                <a:lnTo>
                  <a:pt x="3" y="23"/>
                </a:lnTo>
                <a:lnTo>
                  <a:pt x="0" y="26"/>
                </a:lnTo>
                <a:lnTo>
                  <a:pt x="0" y="26"/>
                </a:lnTo>
                <a:lnTo>
                  <a:pt x="4" y="29"/>
                </a:lnTo>
                <a:lnTo>
                  <a:pt x="10" y="30"/>
                </a:lnTo>
                <a:lnTo>
                  <a:pt x="10" y="30"/>
                </a:lnTo>
                <a:lnTo>
                  <a:pt x="14" y="29"/>
                </a:lnTo>
                <a:lnTo>
                  <a:pt x="17" y="26"/>
                </a:lnTo>
                <a:lnTo>
                  <a:pt x="20" y="23"/>
                </a:lnTo>
                <a:lnTo>
                  <a:pt x="24" y="20"/>
                </a:lnTo>
                <a:lnTo>
                  <a:pt x="24" y="2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56" name="Freeform 243">
            <a:extLst>
              <a:ext uri="{FF2B5EF4-FFF2-40B4-BE49-F238E27FC236}">
                <a16:creationId xmlns:a16="http://schemas.microsoft.com/office/drawing/2014/main" id="{238F1AC2-A3AC-2909-47AB-8C6773BE0186}"/>
              </a:ext>
            </a:extLst>
          </p:cNvPr>
          <p:cNvSpPr>
            <a:spLocks/>
          </p:cNvSpPr>
          <p:nvPr userDrawn="1"/>
        </p:nvSpPr>
        <p:spPr bwMode="gray">
          <a:xfrm>
            <a:off x="5980451" y="2561743"/>
            <a:ext cx="48119" cy="44217"/>
          </a:xfrm>
          <a:custGeom>
            <a:avLst/>
            <a:gdLst/>
            <a:ahLst/>
            <a:cxnLst>
              <a:cxn ang="0">
                <a:pos x="19" y="0"/>
              </a:cxn>
              <a:cxn ang="0">
                <a:pos x="19" y="0"/>
              </a:cxn>
              <a:cxn ang="0">
                <a:pos x="13" y="0"/>
              </a:cxn>
              <a:cxn ang="0">
                <a:pos x="7" y="3"/>
              </a:cxn>
              <a:cxn ang="0">
                <a:pos x="3" y="5"/>
              </a:cxn>
              <a:cxn ang="0">
                <a:pos x="0" y="10"/>
              </a:cxn>
              <a:cxn ang="0">
                <a:pos x="0" y="10"/>
              </a:cxn>
              <a:cxn ang="0">
                <a:pos x="3" y="14"/>
              </a:cxn>
              <a:cxn ang="0">
                <a:pos x="3" y="14"/>
              </a:cxn>
              <a:cxn ang="0">
                <a:pos x="5" y="17"/>
              </a:cxn>
              <a:cxn ang="0">
                <a:pos x="6" y="20"/>
              </a:cxn>
              <a:cxn ang="0">
                <a:pos x="13" y="25"/>
              </a:cxn>
              <a:cxn ang="0">
                <a:pos x="13" y="25"/>
              </a:cxn>
              <a:cxn ang="0">
                <a:pos x="15" y="27"/>
              </a:cxn>
              <a:cxn ang="0">
                <a:pos x="15" y="28"/>
              </a:cxn>
              <a:cxn ang="0">
                <a:pos x="15" y="34"/>
              </a:cxn>
              <a:cxn ang="0">
                <a:pos x="15" y="34"/>
              </a:cxn>
              <a:cxn ang="0">
                <a:pos x="22" y="34"/>
              </a:cxn>
              <a:cxn ang="0">
                <a:pos x="22" y="34"/>
              </a:cxn>
              <a:cxn ang="0">
                <a:pos x="26" y="31"/>
              </a:cxn>
              <a:cxn ang="0">
                <a:pos x="30" y="25"/>
              </a:cxn>
              <a:cxn ang="0">
                <a:pos x="37" y="14"/>
              </a:cxn>
              <a:cxn ang="0">
                <a:pos x="37" y="14"/>
              </a:cxn>
              <a:cxn ang="0">
                <a:pos x="37" y="13"/>
              </a:cxn>
              <a:cxn ang="0">
                <a:pos x="36" y="11"/>
              </a:cxn>
              <a:cxn ang="0">
                <a:pos x="30" y="5"/>
              </a:cxn>
              <a:cxn ang="0">
                <a:pos x="24" y="1"/>
              </a:cxn>
              <a:cxn ang="0">
                <a:pos x="19" y="0"/>
              </a:cxn>
              <a:cxn ang="0">
                <a:pos x="19" y="0"/>
              </a:cxn>
            </a:cxnLst>
            <a:rect l="0" t="0" r="r" b="b"/>
            <a:pathLst>
              <a:path w="37" h="34">
                <a:moveTo>
                  <a:pt x="19" y="0"/>
                </a:moveTo>
                <a:lnTo>
                  <a:pt x="19" y="0"/>
                </a:lnTo>
                <a:lnTo>
                  <a:pt x="13" y="0"/>
                </a:lnTo>
                <a:lnTo>
                  <a:pt x="7" y="3"/>
                </a:lnTo>
                <a:lnTo>
                  <a:pt x="3" y="5"/>
                </a:lnTo>
                <a:lnTo>
                  <a:pt x="0" y="10"/>
                </a:lnTo>
                <a:lnTo>
                  <a:pt x="0" y="10"/>
                </a:lnTo>
                <a:lnTo>
                  <a:pt x="3" y="14"/>
                </a:lnTo>
                <a:lnTo>
                  <a:pt x="3" y="14"/>
                </a:lnTo>
                <a:lnTo>
                  <a:pt x="5" y="17"/>
                </a:lnTo>
                <a:lnTo>
                  <a:pt x="6" y="20"/>
                </a:lnTo>
                <a:lnTo>
                  <a:pt x="13" y="25"/>
                </a:lnTo>
                <a:lnTo>
                  <a:pt x="13" y="25"/>
                </a:lnTo>
                <a:lnTo>
                  <a:pt x="15" y="27"/>
                </a:lnTo>
                <a:lnTo>
                  <a:pt x="15" y="28"/>
                </a:lnTo>
                <a:lnTo>
                  <a:pt x="15" y="34"/>
                </a:lnTo>
                <a:lnTo>
                  <a:pt x="15" y="34"/>
                </a:lnTo>
                <a:lnTo>
                  <a:pt x="22" y="34"/>
                </a:lnTo>
                <a:lnTo>
                  <a:pt x="22" y="34"/>
                </a:lnTo>
                <a:lnTo>
                  <a:pt x="26" y="31"/>
                </a:lnTo>
                <a:lnTo>
                  <a:pt x="30" y="25"/>
                </a:lnTo>
                <a:lnTo>
                  <a:pt x="37" y="14"/>
                </a:lnTo>
                <a:lnTo>
                  <a:pt x="37" y="14"/>
                </a:lnTo>
                <a:lnTo>
                  <a:pt x="37" y="13"/>
                </a:lnTo>
                <a:lnTo>
                  <a:pt x="36" y="11"/>
                </a:lnTo>
                <a:lnTo>
                  <a:pt x="30" y="5"/>
                </a:lnTo>
                <a:lnTo>
                  <a:pt x="24" y="1"/>
                </a:lnTo>
                <a:lnTo>
                  <a:pt x="19" y="0"/>
                </a:lnTo>
                <a:lnTo>
                  <a:pt x="19" y="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57" name="Freeform 244">
            <a:extLst>
              <a:ext uri="{FF2B5EF4-FFF2-40B4-BE49-F238E27FC236}">
                <a16:creationId xmlns:a16="http://schemas.microsoft.com/office/drawing/2014/main" id="{6FC8A4D4-6207-AF42-9E35-665BFFC752C5}"/>
              </a:ext>
            </a:extLst>
          </p:cNvPr>
          <p:cNvSpPr>
            <a:spLocks/>
          </p:cNvSpPr>
          <p:nvPr userDrawn="1"/>
        </p:nvSpPr>
        <p:spPr bwMode="gray">
          <a:xfrm>
            <a:off x="6922019" y="2387475"/>
            <a:ext cx="144357" cy="133953"/>
          </a:xfrm>
          <a:custGeom>
            <a:avLst/>
            <a:gdLst/>
            <a:ahLst/>
            <a:cxnLst>
              <a:cxn ang="0">
                <a:pos x="106" y="4"/>
              </a:cxn>
              <a:cxn ang="0">
                <a:pos x="99" y="3"/>
              </a:cxn>
              <a:cxn ang="0">
                <a:pos x="93" y="0"/>
              </a:cxn>
              <a:cxn ang="0">
                <a:pos x="91" y="0"/>
              </a:cxn>
              <a:cxn ang="0">
                <a:pos x="89" y="6"/>
              </a:cxn>
              <a:cxn ang="0">
                <a:pos x="86" y="11"/>
              </a:cxn>
              <a:cxn ang="0">
                <a:pos x="83" y="11"/>
              </a:cxn>
              <a:cxn ang="0">
                <a:pos x="79" y="16"/>
              </a:cxn>
              <a:cxn ang="0">
                <a:pos x="73" y="20"/>
              </a:cxn>
              <a:cxn ang="0">
                <a:pos x="66" y="21"/>
              </a:cxn>
              <a:cxn ang="0">
                <a:pos x="66" y="27"/>
              </a:cxn>
              <a:cxn ang="0">
                <a:pos x="67" y="29"/>
              </a:cxn>
              <a:cxn ang="0">
                <a:pos x="56" y="30"/>
              </a:cxn>
              <a:cxn ang="0">
                <a:pos x="52" y="29"/>
              </a:cxn>
              <a:cxn ang="0">
                <a:pos x="47" y="26"/>
              </a:cxn>
              <a:cxn ang="0">
                <a:pos x="46" y="26"/>
              </a:cxn>
              <a:cxn ang="0">
                <a:pos x="40" y="30"/>
              </a:cxn>
              <a:cxn ang="0">
                <a:pos x="35" y="37"/>
              </a:cxn>
              <a:cxn ang="0">
                <a:pos x="22" y="46"/>
              </a:cxn>
              <a:cxn ang="0">
                <a:pos x="5" y="53"/>
              </a:cxn>
              <a:cxn ang="0">
                <a:pos x="0" y="60"/>
              </a:cxn>
              <a:cxn ang="0">
                <a:pos x="6" y="61"/>
              </a:cxn>
              <a:cxn ang="0">
                <a:pos x="16" y="67"/>
              </a:cxn>
              <a:cxn ang="0">
                <a:pos x="19" y="70"/>
              </a:cxn>
              <a:cxn ang="0">
                <a:pos x="20" y="74"/>
              </a:cxn>
              <a:cxn ang="0">
                <a:pos x="9" y="87"/>
              </a:cxn>
              <a:cxn ang="0">
                <a:pos x="7" y="90"/>
              </a:cxn>
              <a:cxn ang="0">
                <a:pos x="12" y="94"/>
              </a:cxn>
              <a:cxn ang="0">
                <a:pos x="12" y="97"/>
              </a:cxn>
              <a:cxn ang="0">
                <a:pos x="16" y="101"/>
              </a:cxn>
              <a:cxn ang="0">
                <a:pos x="20" y="101"/>
              </a:cxn>
              <a:cxn ang="0">
                <a:pos x="22" y="98"/>
              </a:cxn>
              <a:cxn ang="0">
                <a:pos x="33" y="98"/>
              </a:cxn>
              <a:cxn ang="0">
                <a:pos x="35" y="98"/>
              </a:cxn>
              <a:cxn ang="0">
                <a:pos x="36" y="100"/>
              </a:cxn>
              <a:cxn ang="0">
                <a:pos x="46" y="93"/>
              </a:cxn>
              <a:cxn ang="0">
                <a:pos x="52" y="91"/>
              </a:cxn>
              <a:cxn ang="0">
                <a:pos x="60" y="90"/>
              </a:cxn>
              <a:cxn ang="0">
                <a:pos x="69" y="87"/>
              </a:cxn>
              <a:cxn ang="0">
                <a:pos x="60" y="78"/>
              </a:cxn>
              <a:cxn ang="0">
                <a:pos x="54" y="74"/>
              </a:cxn>
              <a:cxn ang="0">
                <a:pos x="52" y="70"/>
              </a:cxn>
              <a:cxn ang="0">
                <a:pos x="54" y="61"/>
              </a:cxn>
              <a:cxn ang="0">
                <a:pos x="59" y="60"/>
              </a:cxn>
              <a:cxn ang="0">
                <a:pos x="74" y="51"/>
              </a:cxn>
              <a:cxn ang="0">
                <a:pos x="87" y="43"/>
              </a:cxn>
              <a:cxn ang="0">
                <a:pos x="90" y="34"/>
              </a:cxn>
              <a:cxn ang="0">
                <a:pos x="93" y="23"/>
              </a:cxn>
              <a:cxn ang="0">
                <a:pos x="100" y="14"/>
              </a:cxn>
              <a:cxn ang="0">
                <a:pos x="111" y="6"/>
              </a:cxn>
              <a:cxn ang="0">
                <a:pos x="106" y="4"/>
              </a:cxn>
            </a:cxnLst>
            <a:rect l="0" t="0" r="r" b="b"/>
            <a:pathLst>
              <a:path w="111" h="103">
                <a:moveTo>
                  <a:pt x="106" y="4"/>
                </a:moveTo>
                <a:lnTo>
                  <a:pt x="106" y="4"/>
                </a:lnTo>
                <a:lnTo>
                  <a:pt x="103" y="4"/>
                </a:lnTo>
                <a:lnTo>
                  <a:pt x="99" y="3"/>
                </a:lnTo>
                <a:lnTo>
                  <a:pt x="96" y="0"/>
                </a:lnTo>
                <a:lnTo>
                  <a:pt x="93" y="0"/>
                </a:lnTo>
                <a:lnTo>
                  <a:pt x="93" y="0"/>
                </a:lnTo>
                <a:lnTo>
                  <a:pt x="91" y="0"/>
                </a:lnTo>
                <a:lnTo>
                  <a:pt x="90" y="1"/>
                </a:lnTo>
                <a:lnTo>
                  <a:pt x="89" y="6"/>
                </a:lnTo>
                <a:lnTo>
                  <a:pt x="87" y="10"/>
                </a:lnTo>
                <a:lnTo>
                  <a:pt x="86" y="11"/>
                </a:lnTo>
                <a:lnTo>
                  <a:pt x="83" y="11"/>
                </a:lnTo>
                <a:lnTo>
                  <a:pt x="83" y="11"/>
                </a:lnTo>
                <a:lnTo>
                  <a:pt x="80" y="13"/>
                </a:lnTo>
                <a:lnTo>
                  <a:pt x="79" y="16"/>
                </a:lnTo>
                <a:lnTo>
                  <a:pt x="76" y="19"/>
                </a:lnTo>
                <a:lnTo>
                  <a:pt x="73" y="20"/>
                </a:lnTo>
                <a:lnTo>
                  <a:pt x="73" y="20"/>
                </a:lnTo>
                <a:lnTo>
                  <a:pt x="66" y="21"/>
                </a:lnTo>
                <a:lnTo>
                  <a:pt x="64" y="23"/>
                </a:lnTo>
                <a:lnTo>
                  <a:pt x="66" y="27"/>
                </a:lnTo>
                <a:lnTo>
                  <a:pt x="66" y="27"/>
                </a:lnTo>
                <a:lnTo>
                  <a:pt x="67" y="29"/>
                </a:lnTo>
                <a:lnTo>
                  <a:pt x="64" y="30"/>
                </a:lnTo>
                <a:lnTo>
                  <a:pt x="56" y="30"/>
                </a:lnTo>
                <a:lnTo>
                  <a:pt x="56" y="30"/>
                </a:lnTo>
                <a:lnTo>
                  <a:pt x="52" y="29"/>
                </a:lnTo>
                <a:lnTo>
                  <a:pt x="50" y="27"/>
                </a:lnTo>
                <a:lnTo>
                  <a:pt x="47" y="26"/>
                </a:lnTo>
                <a:lnTo>
                  <a:pt x="46" y="26"/>
                </a:lnTo>
                <a:lnTo>
                  <a:pt x="46" y="26"/>
                </a:lnTo>
                <a:lnTo>
                  <a:pt x="43" y="27"/>
                </a:lnTo>
                <a:lnTo>
                  <a:pt x="40" y="30"/>
                </a:lnTo>
                <a:lnTo>
                  <a:pt x="35" y="37"/>
                </a:lnTo>
                <a:lnTo>
                  <a:pt x="35" y="37"/>
                </a:lnTo>
                <a:lnTo>
                  <a:pt x="30" y="41"/>
                </a:lnTo>
                <a:lnTo>
                  <a:pt x="22" y="46"/>
                </a:lnTo>
                <a:lnTo>
                  <a:pt x="5" y="53"/>
                </a:lnTo>
                <a:lnTo>
                  <a:pt x="5" y="53"/>
                </a:lnTo>
                <a:lnTo>
                  <a:pt x="3" y="56"/>
                </a:lnTo>
                <a:lnTo>
                  <a:pt x="0" y="60"/>
                </a:lnTo>
                <a:lnTo>
                  <a:pt x="0" y="60"/>
                </a:lnTo>
                <a:lnTo>
                  <a:pt x="6" y="61"/>
                </a:lnTo>
                <a:lnTo>
                  <a:pt x="12" y="64"/>
                </a:lnTo>
                <a:lnTo>
                  <a:pt x="16" y="67"/>
                </a:lnTo>
                <a:lnTo>
                  <a:pt x="19" y="70"/>
                </a:lnTo>
                <a:lnTo>
                  <a:pt x="19" y="70"/>
                </a:lnTo>
                <a:lnTo>
                  <a:pt x="20" y="71"/>
                </a:lnTo>
                <a:lnTo>
                  <a:pt x="20" y="74"/>
                </a:lnTo>
                <a:lnTo>
                  <a:pt x="17" y="78"/>
                </a:lnTo>
                <a:lnTo>
                  <a:pt x="9" y="87"/>
                </a:lnTo>
                <a:lnTo>
                  <a:pt x="9" y="87"/>
                </a:lnTo>
                <a:lnTo>
                  <a:pt x="7" y="90"/>
                </a:lnTo>
                <a:lnTo>
                  <a:pt x="9" y="93"/>
                </a:lnTo>
                <a:lnTo>
                  <a:pt x="12" y="94"/>
                </a:lnTo>
                <a:lnTo>
                  <a:pt x="12" y="97"/>
                </a:lnTo>
                <a:lnTo>
                  <a:pt x="12" y="97"/>
                </a:lnTo>
                <a:lnTo>
                  <a:pt x="13" y="100"/>
                </a:lnTo>
                <a:lnTo>
                  <a:pt x="16" y="101"/>
                </a:lnTo>
                <a:lnTo>
                  <a:pt x="19" y="103"/>
                </a:lnTo>
                <a:lnTo>
                  <a:pt x="20" y="101"/>
                </a:lnTo>
                <a:lnTo>
                  <a:pt x="20" y="101"/>
                </a:lnTo>
                <a:lnTo>
                  <a:pt x="22" y="98"/>
                </a:lnTo>
                <a:lnTo>
                  <a:pt x="25" y="98"/>
                </a:lnTo>
                <a:lnTo>
                  <a:pt x="33" y="98"/>
                </a:lnTo>
                <a:lnTo>
                  <a:pt x="33" y="98"/>
                </a:lnTo>
                <a:lnTo>
                  <a:pt x="35" y="98"/>
                </a:lnTo>
                <a:lnTo>
                  <a:pt x="36" y="100"/>
                </a:lnTo>
                <a:lnTo>
                  <a:pt x="36" y="100"/>
                </a:lnTo>
                <a:lnTo>
                  <a:pt x="46" y="93"/>
                </a:lnTo>
                <a:lnTo>
                  <a:pt x="46" y="93"/>
                </a:lnTo>
                <a:lnTo>
                  <a:pt x="49" y="91"/>
                </a:lnTo>
                <a:lnTo>
                  <a:pt x="52" y="91"/>
                </a:lnTo>
                <a:lnTo>
                  <a:pt x="60" y="90"/>
                </a:lnTo>
                <a:lnTo>
                  <a:pt x="60" y="90"/>
                </a:lnTo>
                <a:lnTo>
                  <a:pt x="64" y="90"/>
                </a:lnTo>
                <a:lnTo>
                  <a:pt x="69" y="87"/>
                </a:lnTo>
                <a:lnTo>
                  <a:pt x="69" y="87"/>
                </a:lnTo>
                <a:lnTo>
                  <a:pt x="60" y="78"/>
                </a:lnTo>
                <a:lnTo>
                  <a:pt x="54" y="74"/>
                </a:lnTo>
                <a:lnTo>
                  <a:pt x="54" y="74"/>
                </a:lnTo>
                <a:lnTo>
                  <a:pt x="53" y="73"/>
                </a:lnTo>
                <a:lnTo>
                  <a:pt x="52" y="70"/>
                </a:lnTo>
                <a:lnTo>
                  <a:pt x="53" y="66"/>
                </a:lnTo>
                <a:lnTo>
                  <a:pt x="54" y="61"/>
                </a:lnTo>
                <a:lnTo>
                  <a:pt x="59" y="60"/>
                </a:lnTo>
                <a:lnTo>
                  <a:pt x="59" y="60"/>
                </a:lnTo>
                <a:lnTo>
                  <a:pt x="66" y="57"/>
                </a:lnTo>
                <a:lnTo>
                  <a:pt x="74" y="51"/>
                </a:lnTo>
                <a:lnTo>
                  <a:pt x="87" y="43"/>
                </a:lnTo>
                <a:lnTo>
                  <a:pt x="87" y="43"/>
                </a:lnTo>
                <a:lnTo>
                  <a:pt x="90" y="38"/>
                </a:lnTo>
                <a:lnTo>
                  <a:pt x="90" y="34"/>
                </a:lnTo>
                <a:lnTo>
                  <a:pt x="91" y="29"/>
                </a:lnTo>
                <a:lnTo>
                  <a:pt x="93" y="23"/>
                </a:lnTo>
                <a:lnTo>
                  <a:pt x="93" y="23"/>
                </a:lnTo>
                <a:lnTo>
                  <a:pt x="100" y="14"/>
                </a:lnTo>
                <a:lnTo>
                  <a:pt x="111" y="6"/>
                </a:lnTo>
                <a:lnTo>
                  <a:pt x="111" y="6"/>
                </a:lnTo>
                <a:lnTo>
                  <a:pt x="106" y="4"/>
                </a:lnTo>
                <a:lnTo>
                  <a:pt x="106" y="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58" name="Freeform 245">
            <a:extLst>
              <a:ext uri="{FF2B5EF4-FFF2-40B4-BE49-F238E27FC236}">
                <a16:creationId xmlns:a16="http://schemas.microsoft.com/office/drawing/2014/main" id="{15369B8C-8187-3EF5-DAC5-3DE17C1A8C2E}"/>
              </a:ext>
            </a:extLst>
          </p:cNvPr>
          <p:cNvSpPr>
            <a:spLocks/>
          </p:cNvSpPr>
          <p:nvPr userDrawn="1"/>
        </p:nvSpPr>
        <p:spPr bwMode="gray">
          <a:xfrm>
            <a:off x="6024668" y="2693094"/>
            <a:ext cx="157362" cy="88435"/>
          </a:xfrm>
          <a:custGeom>
            <a:avLst/>
            <a:gdLst/>
            <a:ahLst/>
            <a:cxnLst>
              <a:cxn ang="0">
                <a:pos x="121" y="44"/>
              </a:cxn>
              <a:cxn ang="0">
                <a:pos x="117" y="44"/>
              </a:cxn>
              <a:cxn ang="0">
                <a:pos x="106" y="42"/>
              </a:cxn>
              <a:cxn ang="0">
                <a:pos x="96" y="40"/>
              </a:cxn>
              <a:cxn ang="0">
                <a:pos x="90" y="38"/>
              </a:cxn>
              <a:cxn ang="0">
                <a:pos x="73" y="33"/>
              </a:cxn>
              <a:cxn ang="0">
                <a:pos x="66" y="27"/>
              </a:cxn>
              <a:cxn ang="0">
                <a:pos x="33" y="4"/>
              </a:cxn>
              <a:cxn ang="0">
                <a:pos x="29" y="1"/>
              </a:cxn>
              <a:cxn ang="0">
                <a:pos x="22" y="0"/>
              </a:cxn>
              <a:cxn ang="0">
                <a:pos x="20" y="1"/>
              </a:cxn>
              <a:cxn ang="0">
                <a:pos x="16" y="3"/>
              </a:cxn>
              <a:cxn ang="0">
                <a:pos x="10" y="4"/>
              </a:cxn>
              <a:cxn ang="0">
                <a:pos x="3" y="11"/>
              </a:cxn>
              <a:cxn ang="0">
                <a:pos x="3" y="13"/>
              </a:cxn>
              <a:cxn ang="0">
                <a:pos x="0" y="25"/>
              </a:cxn>
              <a:cxn ang="0">
                <a:pos x="0" y="27"/>
              </a:cxn>
              <a:cxn ang="0">
                <a:pos x="6" y="30"/>
              </a:cxn>
              <a:cxn ang="0">
                <a:pos x="9" y="31"/>
              </a:cxn>
              <a:cxn ang="0">
                <a:pos x="15" y="35"/>
              </a:cxn>
              <a:cxn ang="0">
                <a:pos x="20" y="38"/>
              </a:cxn>
              <a:cxn ang="0">
                <a:pos x="23" y="40"/>
              </a:cxn>
              <a:cxn ang="0">
                <a:pos x="33" y="44"/>
              </a:cxn>
              <a:cxn ang="0">
                <a:pos x="36" y="45"/>
              </a:cxn>
              <a:cxn ang="0">
                <a:pos x="46" y="52"/>
              </a:cxn>
              <a:cxn ang="0">
                <a:pos x="49" y="52"/>
              </a:cxn>
              <a:cxn ang="0">
                <a:pos x="62" y="50"/>
              </a:cxn>
              <a:cxn ang="0">
                <a:pos x="64" y="51"/>
              </a:cxn>
              <a:cxn ang="0">
                <a:pos x="70" y="58"/>
              </a:cxn>
              <a:cxn ang="0">
                <a:pos x="73" y="61"/>
              </a:cxn>
              <a:cxn ang="0">
                <a:pos x="87" y="64"/>
              </a:cxn>
              <a:cxn ang="0">
                <a:pos x="91" y="67"/>
              </a:cxn>
              <a:cxn ang="0">
                <a:pos x="106" y="68"/>
              </a:cxn>
              <a:cxn ang="0">
                <a:pos x="119" y="64"/>
              </a:cxn>
              <a:cxn ang="0">
                <a:pos x="121" y="61"/>
              </a:cxn>
              <a:cxn ang="0">
                <a:pos x="120" y="48"/>
              </a:cxn>
              <a:cxn ang="0">
                <a:pos x="121" y="44"/>
              </a:cxn>
            </a:cxnLst>
            <a:rect l="0" t="0" r="r" b="b"/>
            <a:pathLst>
              <a:path w="121" h="68">
                <a:moveTo>
                  <a:pt x="121" y="44"/>
                </a:moveTo>
                <a:lnTo>
                  <a:pt x="121" y="44"/>
                </a:lnTo>
                <a:lnTo>
                  <a:pt x="117" y="44"/>
                </a:lnTo>
                <a:lnTo>
                  <a:pt x="117" y="44"/>
                </a:lnTo>
                <a:lnTo>
                  <a:pt x="111" y="44"/>
                </a:lnTo>
                <a:lnTo>
                  <a:pt x="106" y="42"/>
                </a:lnTo>
                <a:lnTo>
                  <a:pt x="101" y="41"/>
                </a:lnTo>
                <a:lnTo>
                  <a:pt x="96" y="40"/>
                </a:lnTo>
                <a:lnTo>
                  <a:pt x="96" y="40"/>
                </a:lnTo>
                <a:lnTo>
                  <a:pt x="90" y="38"/>
                </a:lnTo>
                <a:lnTo>
                  <a:pt x="82" y="35"/>
                </a:lnTo>
                <a:lnTo>
                  <a:pt x="73" y="33"/>
                </a:lnTo>
                <a:lnTo>
                  <a:pt x="66" y="27"/>
                </a:lnTo>
                <a:lnTo>
                  <a:pt x="66" y="27"/>
                </a:lnTo>
                <a:lnTo>
                  <a:pt x="47" y="15"/>
                </a:lnTo>
                <a:lnTo>
                  <a:pt x="33" y="4"/>
                </a:lnTo>
                <a:lnTo>
                  <a:pt x="33" y="4"/>
                </a:lnTo>
                <a:lnTo>
                  <a:pt x="29" y="1"/>
                </a:lnTo>
                <a:lnTo>
                  <a:pt x="25" y="0"/>
                </a:lnTo>
                <a:lnTo>
                  <a:pt x="22" y="0"/>
                </a:lnTo>
                <a:lnTo>
                  <a:pt x="20" y="1"/>
                </a:lnTo>
                <a:lnTo>
                  <a:pt x="20" y="1"/>
                </a:lnTo>
                <a:lnTo>
                  <a:pt x="19" y="3"/>
                </a:lnTo>
                <a:lnTo>
                  <a:pt x="16" y="3"/>
                </a:lnTo>
                <a:lnTo>
                  <a:pt x="10" y="4"/>
                </a:lnTo>
                <a:lnTo>
                  <a:pt x="10" y="4"/>
                </a:lnTo>
                <a:lnTo>
                  <a:pt x="6" y="8"/>
                </a:lnTo>
                <a:lnTo>
                  <a:pt x="3" y="11"/>
                </a:lnTo>
                <a:lnTo>
                  <a:pt x="3" y="13"/>
                </a:lnTo>
                <a:lnTo>
                  <a:pt x="3" y="13"/>
                </a:lnTo>
                <a:lnTo>
                  <a:pt x="2" y="20"/>
                </a:lnTo>
                <a:lnTo>
                  <a:pt x="0" y="25"/>
                </a:lnTo>
                <a:lnTo>
                  <a:pt x="0" y="25"/>
                </a:lnTo>
                <a:lnTo>
                  <a:pt x="0" y="27"/>
                </a:lnTo>
                <a:lnTo>
                  <a:pt x="3" y="28"/>
                </a:lnTo>
                <a:lnTo>
                  <a:pt x="6" y="30"/>
                </a:lnTo>
                <a:lnTo>
                  <a:pt x="9" y="31"/>
                </a:lnTo>
                <a:lnTo>
                  <a:pt x="9" y="31"/>
                </a:lnTo>
                <a:lnTo>
                  <a:pt x="10" y="34"/>
                </a:lnTo>
                <a:lnTo>
                  <a:pt x="15" y="35"/>
                </a:lnTo>
                <a:lnTo>
                  <a:pt x="19" y="37"/>
                </a:lnTo>
                <a:lnTo>
                  <a:pt x="20" y="38"/>
                </a:lnTo>
                <a:lnTo>
                  <a:pt x="20" y="38"/>
                </a:lnTo>
                <a:lnTo>
                  <a:pt x="23" y="40"/>
                </a:lnTo>
                <a:lnTo>
                  <a:pt x="26" y="42"/>
                </a:lnTo>
                <a:lnTo>
                  <a:pt x="33" y="44"/>
                </a:lnTo>
                <a:lnTo>
                  <a:pt x="33" y="44"/>
                </a:lnTo>
                <a:lnTo>
                  <a:pt x="36" y="45"/>
                </a:lnTo>
                <a:lnTo>
                  <a:pt x="40" y="48"/>
                </a:lnTo>
                <a:lnTo>
                  <a:pt x="46" y="52"/>
                </a:lnTo>
                <a:lnTo>
                  <a:pt x="46" y="52"/>
                </a:lnTo>
                <a:lnTo>
                  <a:pt x="49" y="52"/>
                </a:lnTo>
                <a:lnTo>
                  <a:pt x="53" y="51"/>
                </a:lnTo>
                <a:lnTo>
                  <a:pt x="62" y="50"/>
                </a:lnTo>
                <a:lnTo>
                  <a:pt x="62" y="50"/>
                </a:lnTo>
                <a:lnTo>
                  <a:pt x="64" y="51"/>
                </a:lnTo>
                <a:lnTo>
                  <a:pt x="67" y="52"/>
                </a:lnTo>
                <a:lnTo>
                  <a:pt x="70" y="58"/>
                </a:lnTo>
                <a:lnTo>
                  <a:pt x="70" y="58"/>
                </a:lnTo>
                <a:lnTo>
                  <a:pt x="73" y="61"/>
                </a:lnTo>
                <a:lnTo>
                  <a:pt x="80" y="62"/>
                </a:lnTo>
                <a:lnTo>
                  <a:pt x="87" y="64"/>
                </a:lnTo>
                <a:lnTo>
                  <a:pt x="91" y="67"/>
                </a:lnTo>
                <a:lnTo>
                  <a:pt x="91" y="67"/>
                </a:lnTo>
                <a:lnTo>
                  <a:pt x="97" y="68"/>
                </a:lnTo>
                <a:lnTo>
                  <a:pt x="106" y="68"/>
                </a:lnTo>
                <a:lnTo>
                  <a:pt x="114" y="67"/>
                </a:lnTo>
                <a:lnTo>
                  <a:pt x="119" y="64"/>
                </a:lnTo>
                <a:lnTo>
                  <a:pt x="119" y="64"/>
                </a:lnTo>
                <a:lnTo>
                  <a:pt x="121" y="61"/>
                </a:lnTo>
                <a:lnTo>
                  <a:pt x="121" y="57"/>
                </a:lnTo>
                <a:lnTo>
                  <a:pt x="120" y="48"/>
                </a:lnTo>
                <a:lnTo>
                  <a:pt x="120" y="48"/>
                </a:lnTo>
                <a:lnTo>
                  <a:pt x="121" y="44"/>
                </a:lnTo>
                <a:lnTo>
                  <a:pt x="121" y="4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59" name="Freeform 246">
            <a:extLst>
              <a:ext uri="{FF2B5EF4-FFF2-40B4-BE49-F238E27FC236}">
                <a16:creationId xmlns:a16="http://schemas.microsoft.com/office/drawing/2014/main" id="{683868CC-CB9B-76B2-73FE-06F3F68D78C0}"/>
              </a:ext>
            </a:extLst>
          </p:cNvPr>
          <p:cNvSpPr>
            <a:spLocks/>
          </p:cNvSpPr>
          <p:nvPr userDrawn="1"/>
        </p:nvSpPr>
        <p:spPr bwMode="gray">
          <a:xfrm>
            <a:off x="6256158" y="2736011"/>
            <a:ext cx="179470" cy="390153"/>
          </a:xfrm>
          <a:custGeom>
            <a:avLst/>
            <a:gdLst/>
            <a:ahLst/>
            <a:cxnLst>
              <a:cxn ang="0">
                <a:pos x="108" y="267"/>
              </a:cxn>
              <a:cxn ang="0">
                <a:pos x="106" y="251"/>
              </a:cxn>
              <a:cxn ang="0">
                <a:pos x="96" y="237"/>
              </a:cxn>
              <a:cxn ang="0">
                <a:pos x="94" y="224"/>
              </a:cxn>
              <a:cxn ang="0">
                <a:pos x="97" y="213"/>
              </a:cxn>
              <a:cxn ang="0">
                <a:pos x="100" y="207"/>
              </a:cxn>
              <a:cxn ang="0">
                <a:pos x="96" y="200"/>
              </a:cxn>
              <a:cxn ang="0">
                <a:pos x="91" y="193"/>
              </a:cxn>
              <a:cxn ang="0">
                <a:pos x="83" y="180"/>
              </a:cxn>
              <a:cxn ang="0">
                <a:pos x="90" y="150"/>
              </a:cxn>
              <a:cxn ang="0">
                <a:pos x="104" y="149"/>
              </a:cxn>
              <a:cxn ang="0">
                <a:pos x="114" y="142"/>
              </a:cxn>
              <a:cxn ang="0">
                <a:pos x="123" y="136"/>
              </a:cxn>
              <a:cxn ang="0">
                <a:pos x="130" y="130"/>
              </a:cxn>
              <a:cxn ang="0">
                <a:pos x="137" y="118"/>
              </a:cxn>
              <a:cxn ang="0">
                <a:pos x="135" y="118"/>
              </a:cxn>
              <a:cxn ang="0">
                <a:pos x="123" y="119"/>
              </a:cxn>
              <a:cxn ang="0">
                <a:pos x="120" y="112"/>
              </a:cxn>
              <a:cxn ang="0">
                <a:pos x="110" y="109"/>
              </a:cxn>
              <a:cxn ang="0">
                <a:pos x="113" y="96"/>
              </a:cxn>
              <a:cxn ang="0">
                <a:pos x="106" y="92"/>
              </a:cxn>
              <a:cxn ang="0">
                <a:pos x="101" y="79"/>
              </a:cxn>
              <a:cxn ang="0">
                <a:pos x="96" y="75"/>
              </a:cxn>
              <a:cxn ang="0">
                <a:pos x="84" y="76"/>
              </a:cxn>
              <a:cxn ang="0">
                <a:pos x="83" y="68"/>
              </a:cxn>
              <a:cxn ang="0">
                <a:pos x="97" y="45"/>
              </a:cxn>
              <a:cxn ang="0">
                <a:pos x="100" y="22"/>
              </a:cxn>
              <a:cxn ang="0">
                <a:pos x="96" y="14"/>
              </a:cxn>
              <a:cxn ang="0">
                <a:pos x="91" y="11"/>
              </a:cxn>
              <a:cxn ang="0">
                <a:pos x="87" y="1"/>
              </a:cxn>
              <a:cxn ang="0">
                <a:pos x="77" y="2"/>
              </a:cxn>
              <a:cxn ang="0">
                <a:pos x="76" y="5"/>
              </a:cxn>
              <a:cxn ang="0">
                <a:pos x="71" y="11"/>
              </a:cxn>
              <a:cxn ang="0">
                <a:pos x="74" y="21"/>
              </a:cxn>
              <a:cxn ang="0">
                <a:pos x="70" y="22"/>
              </a:cxn>
              <a:cxn ang="0">
                <a:pos x="66" y="19"/>
              </a:cxn>
              <a:cxn ang="0">
                <a:pos x="47" y="32"/>
              </a:cxn>
              <a:cxn ang="0">
                <a:pos x="43" y="45"/>
              </a:cxn>
              <a:cxn ang="0">
                <a:pos x="39" y="59"/>
              </a:cxn>
              <a:cxn ang="0">
                <a:pos x="33" y="78"/>
              </a:cxn>
              <a:cxn ang="0">
                <a:pos x="29" y="79"/>
              </a:cxn>
              <a:cxn ang="0">
                <a:pos x="20" y="85"/>
              </a:cxn>
              <a:cxn ang="0">
                <a:pos x="16" y="98"/>
              </a:cxn>
              <a:cxn ang="0">
                <a:pos x="13" y="110"/>
              </a:cxn>
              <a:cxn ang="0">
                <a:pos x="6" y="123"/>
              </a:cxn>
              <a:cxn ang="0">
                <a:pos x="7" y="138"/>
              </a:cxn>
              <a:cxn ang="0">
                <a:pos x="19" y="146"/>
              </a:cxn>
              <a:cxn ang="0">
                <a:pos x="34" y="176"/>
              </a:cxn>
              <a:cxn ang="0">
                <a:pos x="34" y="197"/>
              </a:cxn>
              <a:cxn ang="0">
                <a:pos x="32" y="207"/>
              </a:cxn>
              <a:cxn ang="0">
                <a:pos x="47" y="213"/>
              </a:cxn>
              <a:cxn ang="0">
                <a:pos x="57" y="204"/>
              </a:cxn>
              <a:cxn ang="0">
                <a:pos x="67" y="193"/>
              </a:cxn>
              <a:cxn ang="0">
                <a:pos x="76" y="199"/>
              </a:cxn>
              <a:cxn ang="0">
                <a:pos x="83" y="217"/>
              </a:cxn>
              <a:cxn ang="0">
                <a:pos x="88" y="248"/>
              </a:cxn>
              <a:cxn ang="0">
                <a:pos x="97" y="264"/>
              </a:cxn>
              <a:cxn ang="0">
                <a:pos x="96" y="281"/>
              </a:cxn>
              <a:cxn ang="0">
                <a:pos x="98" y="295"/>
              </a:cxn>
              <a:cxn ang="0">
                <a:pos x="103" y="297"/>
              </a:cxn>
            </a:cxnLst>
            <a:rect l="0" t="0" r="r" b="b"/>
            <a:pathLst>
              <a:path w="138" h="300">
                <a:moveTo>
                  <a:pt x="111" y="274"/>
                </a:moveTo>
                <a:lnTo>
                  <a:pt x="111" y="274"/>
                </a:lnTo>
                <a:lnTo>
                  <a:pt x="111" y="270"/>
                </a:lnTo>
                <a:lnTo>
                  <a:pt x="108" y="267"/>
                </a:lnTo>
                <a:lnTo>
                  <a:pt x="107" y="264"/>
                </a:lnTo>
                <a:lnTo>
                  <a:pt x="107" y="261"/>
                </a:lnTo>
                <a:lnTo>
                  <a:pt x="107" y="261"/>
                </a:lnTo>
                <a:lnTo>
                  <a:pt x="106" y="251"/>
                </a:lnTo>
                <a:lnTo>
                  <a:pt x="104" y="247"/>
                </a:lnTo>
                <a:lnTo>
                  <a:pt x="100" y="241"/>
                </a:lnTo>
                <a:lnTo>
                  <a:pt x="100" y="241"/>
                </a:lnTo>
                <a:lnTo>
                  <a:pt x="96" y="237"/>
                </a:lnTo>
                <a:lnTo>
                  <a:pt x="94" y="233"/>
                </a:lnTo>
                <a:lnTo>
                  <a:pt x="93" y="229"/>
                </a:lnTo>
                <a:lnTo>
                  <a:pt x="94" y="224"/>
                </a:lnTo>
                <a:lnTo>
                  <a:pt x="94" y="224"/>
                </a:lnTo>
                <a:lnTo>
                  <a:pt x="96" y="221"/>
                </a:lnTo>
                <a:lnTo>
                  <a:pt x="97" y="217"/>
                </a:lnTo>
                <a:lnTo>
                  <a:pt x="96" y="214"/>
                </a:lnTo>
                <a:lnTo>
                  <a:pt x="97" y="213"/>
                </a:lnTo>
                <a:lnTo>
                  <a:pt x="97" y="213"/>
                </a:lnTo>
                <a:lnTo>
                  <a:pt x="98" y="213"/>
                </a:lnTo>
                <a:lnTo>
                  <a:pt x="100" y="210"/>
                </a:lnTo>
                <a:lnTo>
                  <a:pt x="100" y="207"/>
                </a:lnTo>
                <a:lnTo>
                  <a:pt x="97" y="206"/>
                </a:lnTo>
                <a:lnTo>
                  <a:pt x="97" y="206"/>
                </a:lnTo>
                <a:lnTo>
                  <a:pt x="96" y="203"/>
                </a:lnTo>
                <a:lnTo>
                  <a:pt x="96" y="200"/>
                </a:lnTo>
                <a:lnTo>
                  <a:pt x="96" y="197"/>
                </a:lnTo>
                <a:lnTo>
                  <a:pt x="94" y="194"/>
                </a:lnTo>
                <a:lnTo>
                  <a:pt x="94" y="194"/>
                </a:lnTo>
                <a:lnTo>
                  <a:pt x="91" y="193"/>
                </a:lnTo>
                <a:lnTo>
                  <a:pt x="87" y="189"/>
                </a:lnTo>
                <a:lnTo>
                  <a:pt x="84" y="184"/>
                </a:lnTo>
                <a:lnTo>
                  <a:pt x="83" y="180"/>
                </a:lnTo>
                <a:lnTo>
                  <a:pt x="83" y="180"/>
                </a:lnTo>
                <a:lnTo>
                  <a:pt x="86" y="155"/>
                </a:lnTo>
                <a:lnTo>
                  <a:pt x="86" y="155"/>
                </a:lnTo>
                <a:lnTo>
                  <a:pt x="87" y="152"/>
                </a:lnTo>
                <a:lnTo>
                  <a:pt x="90" y="150"/>
                </a:lnTo>
                <a:lnTo>
                  <a:pt x="94" y="150"/>
                </a:lnTo>
                <a:lnTo>
                  <a:pt x="94" y="150"/>
                </a:lnTo>
                <a:lnTo>
                  <a:pt x="100" y="150"/>
                </a:lnTo>
                <a:lnTo>
                  <a:pt x="104" y="149"/>
                </a:lnTo>
                <a:lnTo>
                  <a:pt x="107" y="146"/>
                </a:lnTo>
                <a:lnTo>
                  <a:pt x="107" y="146"/>
                </a:lnTo>
                <a:lnTo>
                  <a:pt x="110" y="143"/>
                </a:lnTo>
                <a:lnTo>
                  <a:pt x="114" y="142"/>
                </a:lnTo>
                <a:lnTo>
                  <a:pt x="118" y="140"/>
                </a:lnTo>
                <a:lnTo>
                  <a:pt x="121" y="138"/>
                </a:lnTo>
                <a:lnTo>
                  <a:pt x="121" y="138"/>
                </a:lnTo>
                <a:lnTo>
                  <a:pt x="123" y="136"/>
                </a:lnTo>
                <a:lnTo>
                  <a:pt x="125" y="135"/>
                </a:lnTo>
                <a:lnTo>
                  <a:pt x="128" y="133"/>
                </a:lnTo>
                <a:lnTo>
                  <a:pt x="130" y="130"/>
                </a:lnTo>
                <a:lnTo>
                  <a:pt x="130" y="130"/>
                </a:lnTo>
                <a:lnTo>
                  <a:pt x="131" y="128"/>
                </a:lnTo>
                <a:lnTo>
                  <a:pt x="134" y="123"/>
                </a:lnTo>
                <a:lnTo>
                  <a:pt x="137" y="118"/>
                </a:lnTo>
                <a:lnTo>
                  <a:pt x="137" y="118"/>
                </a:lnTo>
                <a:lnTo>
                  <a:pt x="138" y="118"/>
                </a:lnTo>
                <a:lnTo>
                  <a:pt x="138" y="118"/>
                </a:lnTo>
                <a:lnTo>
                  <a:pt x="137" y="118"/>
                </a:lnTo>
                <a:lnTo>
                  <a:pt x="135" y="118"/>
                </a:lnTo>
                <a:lnTo>
                  <a:pt x="131" y="119"/>
                </a:lnTo>
                <a:lnTo>
                  <a:pt x="131" y="119"/>
                </a:lnTo>
                <a:lnTo>
                  <a:pt x="125" y="120"/>
                </a:lnTo>
                <a:lnTo>
                  <a:pt x="123" y="119"/>
                </a:lnTo>
                <a:lnTo>
                  <a:pt x="121" y="118"/>
                </a:lnTo>
                <a:lnTo>
                  <a:pt x="121" y="113"/>
                </a:lnTo>
                <a:lnTo>
                  <a:pt x="121" y="113"/>
                </a:lnTo>
                <a:lnTo>
                  <a:pt x="120" y="112"/>
                </a:lnTo>
                <a:lnTo>
                  <a:pt x="118" y="110"/>
                </a:lnTo>
                <a:lnTo>
                  <a:pt x="111" y="109"/>
                </a:lnTo>
                <a:lnTo>
                  <a:pt x="111" y="109"/>
                </a:lnTo>
                <a:lnTo>
                  <a:pt x="110" y="109"/>
                </a:lnTo>
                <a:lnTo>
                  <a:pt x="110" y="106"/>
                </a:lnTo>
                <a:lnTo>
                  <a:pt x="111" y="99"/>
                </a:lnTo>
                <a:lnTo>
                  <a:pt x="111" y="99"/>
                </a:lnTo>
                <a:lnTo>
                  <a:pt x="113" y="96"/>
                </a:lnTo>
                <a:lnTo>
                  <a:pt x="111" y="93"/>
                </a:lnTo>
                <a:lnTo>
                  <a:pt x="108" y="92"/>
                </a:lnTo>
                <a:lnTo>
                  <a:pt x="106" y="92"/>
                </a:lnTo>
                <a:lnTo>
                  <a:pt x="106" y="92"/>
                </a:lnTo>
                <a:lnTo>
                  <a:pt x="103" y="91"/>
                </a:lnTo>
                <a:lnTo>
                  <a:pt x="101" y="86"/>
                </a:lnTo>
                <a:lnTo>
                  <a:pt x="100" y="82"/>
                </a:lnTo>
                <a:lnTo>
                  <a:pt x="101" y="79"/>
                </a:lnTo>
                <a:lnTo>
                  <a:pt x="101" y="79"/>
                </a:lnTo>
                <a:lnTo>
                  <a:pt x="101" y="78"/>
                </a:lnTo>
                <a:lnTo>
                  <a:pt x="100" y="76"/>
                </a:lnTo>
                <a:lnTo>
                  <a:pt x="96" y="75"/>
                </a:lnTo>
                <a:lnTo>
                  <a:pt x="91" y="75"/>
                </a:lnTo>
                <a:lnTo>
                  <a:pt x="86" y="76"/>
                </a:lnTo>
                <a:lnTo>
                  <a:pt x="86" y="76"/>
                </a:lnTo>
                <a:lnTo>
                  <a:pt x="84" y="76"/>
                </a:lnTo>
                <a:lnTo>
                  <a:pt x="83" y="75"/>
                </a:lnTo>
                <a:lnTo>
                  <a:pt x="84" y="71"/>
                </a:lnTo>
                <a:lnTo>
                  <a:pt x="83" y="68"/>
                </a:lnTo>
                <a:lnTo>
                  <a:pt x="83" y="68"/>
                </a:lnTo>
                <a:lnTo>
                  <a:pt x="84" y="64"/>
                </a:lnTo>
                <a:lnTo>
                  <a:pt x="87" y="58"/>
                </a:lnTo>
                <a:lnTo>
                  <a:pt x="91" y="52"/>
                </a:lnTo>
                <a:lnTo>
                  <a:pt x="97" y="45"/>
                </a:lnTo>
                <a:lnTo>
                  <a:pt x="97" y="45"/>
                </a:lnTo>
                <a:lnTo>
                  <a:pt x="100" y="41"/>
                </a:lnTo>
                <a:lnTo>
                  <a:pt x="101" y="34"/>
                </a:lnTo>
                <a:lnTo>
                  <a:pt x="100" y="22"/>
                </a:lnTo>
                <a:lnTo>
                  <a:pt x="100" y="22"/>
                </a:lnTo>
                <a:lnTo>
                  <a:pt x="100" y="18"/>
                </a:lnTo>
                <a:lnTo>
                  <a:pt x="98" y="15"/>
                </a:lnTo>
                <a:lnTo>
                  <a:pt x="96" y="14"/>
                </a:lnTo>
                <a:lnTo>
                  <a:pt x="94" y="14"/>
                </a:lnTo>
                <a:lnTo>
                  <a:pt x="94" y="14"/>
                </a:lnTo>
                <a:lnTo>
                  <a:pt x="93" y="14"/>
                </a:lnTo>
                <a:lnTo>
                  <a:pt x="91" y="11"/>
                </a:lnTo>
                <a:lnTo>
                  <a:pt x="90" y="5"/>
                </a:lnTo>
                <a:lnTo>
                  <a:pt x="90" y="5"/>
                </a:lnTo>
                <a:lnTo>
                  <a:pt x="90" y="2"/>
                </a:lnTo>
                <a:lnTo>
                  <a:pt x="87" y="1"/>
                </a:lnTo>
                <a:lnTo>
                  <a:pt x="83" y="0"/>
                </a:lnTo>
                <a:lnTo>
                  <a:pt x="80" y="1"/>
                </a:lnTo>
                <a:lnTo>
                  <a:pt x="80" y="1"/>
                </a:lnTo>
                <a:lnTo>
                  <a:pt x="77" y="2"/>
                </a:lnTo>
                <a:lnTo>
                  <a:pt x="77" y="2"/>
                </a:lnTo>
                <a:lnTo>
                  <a:pt x="77" y="2"/>
                </a:lnTo>
                <a:lnTo>
                  <a:pt x="77" y="2"/>
                </a:lnTo>
                <a:lnTo>
                  <a:pt x="76" y="5"/>
                </a:lnTo>
                <a:lnTo>
                  <a:pt x="76" y="8"/>
                </a:lnTo>
                <a:lnTo>
                  <a:pt x="73" y="9"/>
                </a:lnTo>
                <a:lnTo>
                  <a:pt x="73" y="9"/>
                </a:lnTo>
                <a:lnTo>
                  <a:pt x="71" y="11"/>
                </a:lnTo>
                <a:lnTo>
                  <a:pt x="71" y="14"/>
                </a:lnTo>
                <a:lnTo>
                  <a:pt x="73" y="17"/>
                </a:lnTo>
                <a:lnTo>
                  <a:pt x="74" y="21"/>
                </a:lnTo>
                <a:lnTo>
                  <a:pt x="74" y="21"/>
                </a:lnTo>
                <a:lnTo>
                  <a:pt x="76" y="22"/>
                </a:lnTo>
                <a:lnTo>
                  <a:pt x="76" y="24"/>
                </a:lnTo>
                <a:lnTo>
                  <a:pt x="73" y="24"/>
                </a:lnTo>
                <a:lnTo>
                  <a:pt x="70" y="22"/>
                </a:lnTo>
                <a:lnTo>
                  <a:pt x="67" y="21"/>
                </a:lnTo>
                <a:lnTo>
                  <a:pt x="67" y="21"/>
                </a:lnTo>
                <a:lnTo>
                  <a:pt x="67" y="19"/>
                </a:lnTo>
                <a:lnTo>
                  <a:pt x="66" y="19"/>
                </a:lnTo>
                <a:lnTo>
                  <a:pt x="63" y="21"/>
                </a:lnTo>
                <a:lnTo>
                  <a:pt x="54" y="27"/>
                </a:lnTo>
                <a:lnTo>
                  <a:pt x="54" y="27"/>
                </a:lnTo>
                <a:lnTo>
                  <a:pt x="47" y="32"/>
                </a:lnTo>
                <a:lnTo>
                  <a:pt x="44" y="35"/>
                </a:lnTo>
                <a:lnTo>
                  <a:pt x="44" y="39"/>
                </a:lnTo>
                <a:lnTo>
                  <a:pt x="44" y="39"/>
                </a:lnTo>
                <a:lnTo>
                  <a:pt x="43" y="45"/>
                </a:lnTo>
                <a:lnTo>
                  <a:pt x="42" y="49"/>
                </a:lnTo>
                <a:lnTo>
                  <a:pt x="40" y="55"/>
                </a:lnTo>
                <a:lnTo>
                  <a:pt x="39" y="59"/>
                </a:lnTo>
                <a:lnTo>
                  <a:pt x="39" y="59"/>
                </a:lnTo>
                <a:lnTo>
                  <a:pt x="39" y="64"/>
                </a:lnTo>
                <a:lnTo>
                  <a:pt x="37" y="69"/>
                </a:lnTo>
                <a:lnTo>
                  <a:pt x="34" y="75"/>
                </a:lnTo>
                <a:lnTo>
                  <a:pt x="33" y="78"/>
                </a:lnTo>
                <a:lnTo>
                  <a:pt x="33" y="78"/>
                </a:lnTo>
                <a:lnTo>
                  <a:pt x="33" y="79"/>
                </a:lnTo>
                <a:lnTo>
                  <a:pt x="32" y="79"/>
                </a:lnTo>
                <a:lnTo>
                  <a:pt x="29" y="79"/>
                </a:lnTo>
                <a:lnTo>
                  <a:pt x="22" y="78"/>
                </a:lnTo>
                <a:lnTo>
                  <a:pt x="22" y="78"/>
                </a:lnTo>
                <a:lnTo>
                  <a:pt x="20" y="79"/>
                </a:lnTo>
                <a:lnTo>
                  <a:pt x="20" y="85"/>
                </a:lnTo>
                <a:lnTo>
                  <a:pt x="19" y="89"/>
                </a:lnTo>
                <a:lnTo>
                  <a:pt x="17" y="93"/>
                </a:lnTo>
                <a:lnTo>
                  <a:pt x="17" y="93"/>
                </a:lnTo>
                <a:lnTo>
                  <a:pt x="16" y="98"/>
                </a:lnTo>
                <a:lnTo>
                  <a:pt x="16" y="103"/>
                </a:lnTo>
                <a:lnTo>
                  <a:pt x="16" y="109"/>
                </a:lnTo>
                <a:lnTo>
                  <a:pt x="14" y="110"/>
                </a:lnTo>
                <a:lnTo>
                  <a:pt x="13" y="110"/>
                </a:lnTo>
                <a:lnTo>
                  <a:pt x="13" y="110"/>
                </a:lnTo>
                <a:lnTo>
                  <a:pt x="10" y="113"/>
                </a:lnTo>
                <a:lnTo>
                  <a:pt x="9" y="116"/>
                </a:lnTo>
                <a:lnTo>
                  <a:pt x="6" y="123"/>
                </a:lnTo>
                <a:lnTo>
                  <a:pt x="6" y="123"/>
                </a:lnTo>
                <a:lnTo>
                  <a:pt x="0" y="128"/>
                </a:lnTo>
                <a:lnTo>
                  <a:pt x="0" y="128"/>
                </a:lnTo>
                <a:lnTo>
                  <a:pt x="7" y="138"/>
                </a:lnTo>
                <a:lnTo>
                  <a:pt x="12" y="140"/>
                </a:lnTo>
                <a:lnTo>
                  <a:pt x="16" y="143"/>
                </a:lnTo>
                <a:lnTo>
                  <a:pt x="16" y="143"/>
                </a:lnTo>
                <a:lnTo>
                  <a:pt x="19" y="146"/>
                </a:lnTo>
                <a:lnTo>
                  <a:pt x="22" y="149"/>
                </a:lnTo>
                <a:lnTo>
                  <a:pt x="27" y="157"/>
                </a:lnTo>
                <a:lnTo>
                  <a:pt x="32" y="167"/>
                </a:lnTo>
                <a:lnTo>
                  <a:pt x="34" y="176"/>
                </a:lnTo>
                <a:lnTo>
                  <a:pt x="34" y="176"/>
                </a:lnTo>
                <a:lnTo>
                  <a:pt x="36" y="183"/>
                </a:lnTo>
                <a:lnTo>
                  <a:pt x="34" y="190"/>
                </a:lnTo>
                <a:lnTo>
                  <a:pt x="34" y="197"/>
                </a:lnTo>
                <a:lnTo>
                  <a:pt x="32" y="202"/>
                </a:lnTo>
                <a:lnTo>
                  <a:pt x="32" y="202"/>
                </a:lnTo>
                <a:lnTo>
                  <a:pt x="30" y="204"/>
                </a:lnTo>
                <a:lnTo>
                  <a:pt x="32" y="207"/>
                </a:lnTo>
                <a:lnTo>
                  <a:pt x="39" y="210"/>
                </a:lnTo>
                <a:lnTo>
                  <a:pt x="39" y="210"/>
                </a:lnTo>
                <a:lnTo>
                  <a:pt x="43" y="211"/>
                </a:lnTo>
                <a:lnTo>
                  <a:pt x="47" y="213"/>
                </a:lnTo>
                <a:lnTo>
                  <a:pt x="50" y="211"/>
                </a:lnTo>
                <a:lnTo>
                  <a:pt x="54" y="209"/>
                </a:lnTo>
                <a:lnTo>
                  <a:pt x="54" y="209"/>
                </a:lnTo>
                <a:lnTo>
                  <a:pt x="57" y="204"/>
                </a:lnTo>
                <a:lnTo>
                  <a:pt x="61" y="200"/>
                </a:lnTo>
                <a:lnTo>
                  <a:pt x="66" y="197"/>
                </a:lnTo>
                <a:lnTo>
                  <a:pt x="67" y="193"/>
                </a:lnTo>
                <a:lnTo>
                  <a:pt x="67" y="193"/>
                </a:lnTo>
                <a:lnTo>
                  <a:pt x="69" y="190"/>
                </a:lnTo>
                <a:lnTo>
                  <a:pt x="69" y="190"/>
                </a:lnTo>
                <a:lnTo>
                  <a:pt x="71" y="192"/>
                </a:lnTo>
                <a:lnTo>
                  <a:pt x="76" y="199"/>
                </a:lnTo>
                <a:lnTo>
                  <a:pt x="76" y="199"/>
                </a:lnTo>
                <a:lnTo>
                  <a:pt x="78" y="202"/>
                </a:lnTo>
                <a:lnTo>
                  <a:pt x="80" y="206"/>
                </a:lnTo>
                <a:lnTo>
                  <a:pt x="83" y="217"/>
                </a:lnTo>
                <a:lnTo>
                  <a:pt x="83" y="217"/>
                </a:lnTo>
                <a:lnTo>
                  <a:pt x="84" y="234"/>
                </a:lnTo>
                <a:lnTo>
                  <a:pt x="86" y="244"/>
                </a:lnTo>
                <a:lnTo>
                  <a:pt x="88" y="248"/>
                </a:lnTo>
                <a:lnTo>
                  <a:pt x="90" y="251"/>
                </a:lnTo>
                <a:lnTo>
                  <a:pt x="90" y="251"/>
                </a:lnTo>
                <a:lnTo>
                  <a:pt x="94" y="257"/>
                </a:lnTo>
                <a:lnTo>
                  <a:pt x="97" y="264"/>
                </a:lnTo>
                <a:lnTo>
                  <a:pt x="97" y="271"/>
                </a:lnTo>
                <a:lnTo>
                  <a:pt x="97" y="277"/>
                </a:lnTo>
                <a:lnTo>
                  <a:pt x="97" y="277"/>
                </a:lnTo>
                <a:lnTo>
                  <a:pt x="96" y="281"/>
                </a:lnTo>
                <a:lnTo>
                  <a:pt x="97" y="285"/>
                </a:lnTo>
                <a:lnTo>
                  <a:pt x="98" y="291"/>
                </a:lnTo>
                <a:lnTo>
                  <a:pt x="98" y="295"/>
                </a:lnTo>
                <a:lnTo>
                  <a:pt x="98" y="295"/>
                </a:lnTo>
                <a:lnTo>
                  <a:pt x="98" y="300"/>
                </a:lnTo>
                <a:lnTo>
                  <a:pt x="98" y="300"/>
                </a:lnTo>
                <a:lnTo>
                  <a:pt x="100" y="300"/>
                </a:lnTo>
                <a:lnTo>
                  <a:pt x="103" y="297"/>
                </a:lnTo>
                <a:lnTo>
                  <a:pt x="107" y="287"/>
                </a:lnTo>
                <a:lnTo>
                  <a:pt x="111" y="274"/>
                </a:lnTo>
                <a:lnTo>
                  <a:pt x="111" y="27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60" name="Freeform 247">
            <a:extLst>
              <a:ext uri="{FF2B5EF4-FFF2-40B4-BE49-F238E27FC236}">
                <a16:creationId xmlns:a16="http://schemas.microsoft.com/office/drawing/2014/main" id="{418320AD-87C8-9F16-6A29-F3CFF8D8610A}"/>
              </a:ext>
            </a:extLst>
          </p:cNvPr>
          <p:cNvSpPr>
            <a:spLocks/>
          </p:cNvSpPr>
          <p:nvPr userDrawn="1"/>
        </p:nvSpPr>
        <p:spPr bwMode="gray">
          <a:xfrm>
            <a:off x="6197635" y="2741213"/>
            <a:ext cx="58524" cy="35114"/>
          </a:xfrm>
          <a:custGeom>
            <a:avLst/>
            <a:gdLst/>
            <a:ahLst/>
            <a:cxnLst>
              <a:cxn ang="0">
                <a:pos x="45" y="8"/>
              </a:cxn>
              <a:cxn ang="0">
                <a:pos x="45" y="8"/>
              </a:cxn>
              <a:cxn ang="0">
                <a:pos x="40" y="4"/>
              </a:cxn>
              <a:cxn ang="0">
                <a:pos x="35" y="4"/>
              </a:cxn>
              <a:cxn ang="0">
                <a:pos x="31" y="4"/>
              </a:cxn>
              <a:cxn ang="0">
                <a:pos x="27" y="4"/>
              </a:cxn>
              <a:cxn ang="0">
                <a:pos x="27" y="4"/>
              </a:cxn>
              <a:cxn ang="0">
                <a:pos x="20" y="0"/>
              </a:cxn>
              <a:cxn ang="0">
                <a:pos x="17" y="0"/>
              </a:cxn>
              <a:cxn ang="0">
                <a:pos x="14" y="1"/>
              </a:cxn>
              <a:cxn ang="0">
                <a:pos x="14" y="1"/>
              </a:cxn>
              <a:cxn ang="0">
                <a:pos x="8" y="4"/>
              </a:cxn>
              <a:cxn ang="0">
                <a:pos x="5" y="7"/>
              </a:cxn>
              <a:cxn ang="0">
                <a:pos x="3" y="11"/>
              </a:cxn>
              <a:cxn ang="0">
                <a:pos x="3" y="11"/>
              </a:cxn>
              <a:cxn ang="0">
                <a:pos x="0" y="18"/>
              </a:cxn>
              <a:cxn ang="0">
                <a:pos x="0" y="18"/>
              </a:cxn>
              <a:cxn ang="0">
                <a:pos x="1" y="21"/>
              </a:cxn>
              <a:cxn ang="0">
                <a:pos x="3" y="23"/>
              </a:cxn>
              <a:cxn ang="0">
                <a:pos x="3" y="23"/>
              </a:cxn>
              <a:cxn ang="0">
                <a:pos x="5" y="23"/>
              </a:cxn>
              <a:cxn ang="0">
                <a:pos x="8" y="24"/>
              </a:cxn>
              <a:cxn ang="0">
                <a:pos x="11" y="24"/>
              </a:cxn>
              <a:cxn ang="0">
                <a:pos x="14" y="24"/>
              </a:cxn>
              <a:cxn ang="0">
                <a:pos x="14" y="24"/>
              </a:cxn>
              <a:cxn ang="0">
                <a:pos x="18" y="24"/>
              </a:cxn>
              <a:cxn ang="0">
                <a:pos x="21" y="25"/>
              </a:cxn>
              <a:cxn ang="0">
                <a:pos x="24" y="27"/>
              </a:cxn>
              <a:cxn ang="0">
                <a:pos x="30" y="25"/>
              </a:cxn>
              <a:cxn ang="0">
                <a:pos x="30" y="25"/>
              </a:cxn>
              <a:cxn ang="0">
                <a:pos x="34" y="25"/>
              </a:cxn>
              <a:cxn ang="0">
                <a:pos x="38" y="25"/>
              </a:cxn>
              <a:cxn ang="0">
                <a:pos x="42" y="25"/>
              </a:cxn>
              <a:cxn ang="0">
                <a:pos x="45" y="24"/>
              </a:cxn>
              <a:cxn ang="0">
                <a:pos x="45" y="24"/>
              </a:cxn>
              <a:cxn ang="0">
                <a:pos x="45" y="20"/>
              </a:cxn>
              <a:cxn ang="0">
                <a:pos x="45" y="15"/>
              </a:cxn>
              <a:cxn ang="0">
                <a:pos x="44" y="10"/>
              </a:cxn>
              <a:cxn ang="0">
                <a:pos x="44" y="10"/>
              </a:cxn>
              <a:cxn ang="0">
                <a:pos x="45" y="8"/>
              </a:cxn>
              <a:cxn ang="0">
                <a:pos x="45" y="8"/>
              </a:cxn>
            </a:cxnLst>
            <a:rect l="0" t="0" r="r" b="b"/>
            <a:pathLst>
              <a:path w="45" h="27">
                <a:moveTo>
                  <a:pt x="45" y="8"/>
                </a:moveTo>
                <a:lnTo>
                  <a:pt x="45" y="8"/>
                </a:lnTo>
                <a:lnTo>
                  <a:pt x="40" y="4"/>
                </a:lnTo>
                <a:lnTo>
                  <a:pt x="35" y="4"/>
                </a:lnTo>
                <a:lnTo>
                  <a:pt x="31" y="4"/>
                </a:lnTo>
                <a:lnTo>
                  <a:pt x="27" y="4"/>
                </a:lnTo>
                <a:lnTo>
                  <a:pt x="27" y="4"/>
                </a:lnTo>
                <a:lnTo>
                  <a:pt x="20" y="0"/>
                </a:lnTo>
                <a:lnTo>
                  <a:pt x="17" y="0"/>
                </a:lnTo>
                <a:lnTo>
                  <a:pt x="14" y="1"/>
                </a:lnTo>
                <a:lnTo>
                  <a:pt x="14" y="1"/>
                </a:lnTo>
                <a:lnTo>
                  <a:pt x="8" y="4"/>
                </a:lnTo>
                <a:lnTo>
                  <a:pt x="5" y="7"/>
                </a:lnTo>
                <a:lnTo>
                  <a:pt x="3" y="11"/>
                </a:lnTo>
                <a:lnTo>
                  <a:pt x="3" y="11"/>
                </a:lnTo>
                <a:lnTo>
                  <a:pt x="0" y="18"/>
                </a:lnTo>
                <a:lnTo>
                  <a:pt x="0" y="18"/>
                </a:lnTo>
                <a:lnTo>
                  <a:pt x="1" y="21"/>
                </a:lnTo>
                <a:lnTo>
                  <a:pt x="3" y="23"/>
                </a:lnTo>
                <a:lnTo>
                  <a:pt x="3" y="23"/>
                </a:lnTo>
                <a:lnTo>
                  <a:pt x="5" y="23"/>
                </a:lnTo>
                <a:lnTo>
                  <a:pt x="8" y="24"/>
                </a:lnTo>
                <a:lnTo>
                  <a:pt x="11" y="24"/>
                </a:lnTo>
                <a:lnTo>
                  <a:pt x="14" y="24"/>
                </a:lnTo>
                <a:lnTo>
                  <a:pt x="14" y="24"/>
                </a:lnTo>
                <a:lnTo>
                  <a:pt x="18" y="24"/>
                </a:lnTo>
                <a:lnTo>
                  <a:pt x="21" y="25"/>
                </a:lnTo>
                <a:lnTo>
                  <a:pt x="24" y="27"/>
                </a:lnTo>
                <a:lnTo>
                  <a:pt x="30" y="25"/>
                </a:lnTo>
                <a:lnTo>
                  <a:pt x="30" y="25"/>
                </a:lnTo>
                <a:lnTo>
                  <a:pt x="34" y="25"/>
                </a:lnTo>
                <a:lnTo>
                  <a:pt x="38" y="25"/>
                </a:lnTo>
                <a:lnTo>
                  <a:pt x="42" y="25"/>
                </a:lnTo>
                <a:lnTo>
                  <a:pt x="45" y="24"/>
                </a:lnTo>
                <a:lnTo>
                  <a:pt x="45" y="24"/>
                </a:lnTo>
                <a:lnTo>
                  <a:pt x="45" y="20"/>
                </a:lnTo>
                <a:lnTo>
                  <a:pt x="45" y="15"/>
                </a:lnTo>
                <a:lnTo>
                  <a:pt x="44" y="10"/>
                </a:lnTo>
                <a:lnTo>
                  <a:pt x="44" y="10"/>
                </a:lnTo>
                <a:lnTo>
                  <a:pt x="45" y="8"/>
                </a:lnTo>
                <a:lnTo>
                  <a:pt x="45" y="8"/>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61" name="Freeform 248">
            <a:extLst>
              <a:ext uri="{FF2B5EF4-FFF2-40B4-BE49-F238E27FC236}">
                <a16:creationId xmlns:a16="http://schemas.microsoft.com/office/drawing/2014/main" id="{2CCD8B7F-4E6C-EDFC-F86D-506A518FC5BA}"/>
              </a:ext>
            </a:extLst>
          </p:cNvPr>
          <p:cNvSpPr>
            <a:spLocks/>
          </p:cNvSpPr>
          <p:nvPr userDrawn="1"/>
        </p:nvSpPr>
        <p:spPr bwMode="gray">
          <a:xfrm>
            <a:off x="6457737" y="2851756"/>
            <a:ext cx="150859" cy="316024"/>
          </a:xfrm>
          <a:custGeom>
            <a:avLst/>
            <a:gdLst/>
            <a:ahLst/>
            <a:cxnLst>
              <a:cxn ang="0">
                <a:pos x="79" y="24"/>
              </a:cxn>
              <a:cxn ang="0">
                <a:pos x="73" y="12"/>
              </a:cxn>
              <a:cxn ang="0">
                <a:pos x="61" y="6"/>
              </a:cxn>
              <a:cxn ang="0">
                <a:pos x="52" y="0"/>
              </a:cxn>
              <a:cxn ang="0">
                <a:pos x="42" y="9"/>
              </a:cxn>
              <a:cxn ang="0">
                <a:pos x="30" y="10"/>
              </a:cxn>
              <a:cxn ang="0">
                <a:pos x="19" y="9"/>
              </a:cxn>
              <a:cxn ang="0">
                <a:pos x="16" y="12"/>
              </a:cxn>
              <a:cxn ang="0">
                <a:pos x="6" y="10"/>
              </a:cxn>
              <a:cxn ang="0">
                <a:pos x="0" y="14"/>
              </a:cxn>
              <a:cxn ang="0">
                <a:pos x="7" y="26"/>
              </a:cxn>
              <a:cxn ang="0">
                <a:pos x="15" y="36"/>
              </a:cxn>
              <a:cxn ang="0">
                <a:pos x="27" y="43"/>
              </a:cxn>
              <a:cxn ang="0">
                <a:pos x="37" y="41"/>
              </a:cxn>
              <a:cxn ang="0">
                <a:pos x="42" y="53"/>
              </a:cxn>
              <a:cxn ang="0">
                <a:pos x="43" y="60"/>
              </a:cxn>
              <a:cxn ang="0">
                <a:pos x="33" y="64"/>
              </a:cxn>
              <a:cxn ang="0">
                <a:pos x="33" y="68"/>
              </a:cxn>
              <a:cxn ang="0">
                <a:pos x="49" y="80"/>
              </a:cxn>
              <a:cxn ang="0">
                <a:pos x="57" y="94"/>
              </a:cxn>
              <a:cxn ang="0">
                <a:pos x="67" y="107"/>
              </a:cxn>
              <a:cxn ang="0">
                <a:pos x="76" y="120"/>
              </a:cxn>
              <a:cxn ang="0">
                <a:pos x="86" y="131"/>
              </a:cxn>
              <a:cxn ang="0">
                <a:pos x="86" y="152"/>
              </a:cxn>
              <a:cxn ang="0">
                <a:pos x="93" y="169"/>
              </a:cxn>
              <a:cxn ang="0">
                <a:pos x="84" y="181"/>
              </a:cxn>
              <a:cxn ang="0">
                <a:pos x="76" y="192"/>
              </a:cxn>
              <a:cxn ang="0">
                <a:pos x="66" y="194"/>
              </a:cxn>
              <a:cxn ang="0">
                <a:pos x="61" y="198"/>
              </a:cxn>
              <a:cxn ang="0">
                <a:pos x="66" y="208"/>
              </a:cxn>
              <a:cxn ang="0">
                <a:pos x="50" y="208"/>
              </a:cxn>
              <a:cxn ang="0">
                <a:pos x="47" y="211"/>
              </a:cxn>
              <a:cxn ang="0">
                <a:pos x="42" y="219"/>
              </a:cxn>
              <a:cxn ang="0">
                <a:pos x="46" y="223"/>
              </a:cxn>
              <a:cxn ang="0">
                <a:pos x="40" y="235"/>
              </a:cxn>
              <a:cxn ang="0">
                <a:pos x="49" y="242"/>
              </a:cxn>
              <a:cxn ang="0">
                <a:pos x="63" y="231"/>
              </a:cxn>
              <a:cxn ang="0">
                <a:pos x="67" y="225"/>
              </a:cxn>
              <a:cxn ang="0">
                <a:pos x="71" y="216"/>
              </a:cxn>
              <a:cxn ang="0">
                <a:pos x="81" y="215"/>
              </a:cxn>
              <a:cxn ang="0">
                <a:pos x="103" y="204"/>
              </a:cxn>
              <a:cxn ang="0">
                <a:pos x="113" y="192"/>
              </a:cxn>
              <a:cxn ang="0">
                <a:pos x="114" y="159"/>
              </a:cxn>
              <a:cxn ang="0">
                <a:pos x="106" y="131"/>
              </a:cxn>
              <a:cxn ang="0">
                <a:pos x="97" y="120"/>
              </a:cxn>
              <a:cxn ang="0">
                <a:pos x="70" y="98"/>
              </a:cxn>
              <a:cxn ang="0">
                <a:pos x="63" y="85"/>
              </a:cxn>
              <a:cxn ang="0">
                <a:pos x="59" y="70"/>
              </a:cxn>
              <a:cxn ang="0">
                <a:pos x="66" y="57"/>
              </a:cxn>
              <a:cxn ang="0">
                <a:pos x="71" y="50"/>
              </a:cxn>
              <a:cxn ang="0">
                <a:pos x="77" y="41"/>
              </a:cxn>
              <a:cxn ang="0">
                <a:pos x="90" y="33"/>
              </a:cxn>
              <a:cxn ang="0">
                <a:pos x="87" y="29"/>
              </a:cxn>
            </a:cxnLst>
            <a:rect l="0" t="0" r="r" b="b"/>
            <a:pathLst>
              <a:path w="116" h="243">
                <a:moveTo>
                  <a:pt x="87" y="29"/>
                </a:moveTo>
                <a:lnTo>
                  <a:pt x="87" y="29"/>
                </a:lnTo>
                <a:lnTo>
                  <a:pt x="83" y="27"/>
                </a:lnTo>
                <a:lnTo>
                  <a:pt x="79" y="24"/>
                </a:lnTo>
                <a:lnTo>
                  <a:pt x="73" y="20"/>
                </a:lnTo>
                <a:lnTo>
                  <a:pt x="71" y="17"/>
                </a:lnTo>
                <a:lnTo>
                  <a:pt x="71" y="17"/>
                </a:lnTo>
                <a:lnTo>
                  <a:pt x="73" y="12"/>
                </a:lnTo>
                <a:lnTo>
                  <a:pt x="73" y="9"/>
                </a:lnTo>
                <a:lnTo>
                  <a:pt x="67" y="7"/>
                </a:lnTo>
                <a:lnTo>
                  <a:pt x="67" y="7"/>
                </a:lnTo>
                <a:lnTo>
                  <a:pt x="61" y="6"/>
                </a:lnTo>
                <a:lnTo>
                  <a:pt x="57" y="4"/>
                </a:lnTo>
                <a:lnTo>
                  <a:pt x="54" y="0"/>
                </a:lnTo>
                <a:lnTo>
                  <a:pt x="54" y="0"/>
                </a:lnTo>
                <a:lnTo>
                  <a:pt x="52" y="0"/>
                </a:lnTo>
                <a:lnTo>
                  <a:pt x="47" y="2"/>
                </a:lnTo>
                <a:lnTo>
                  <a:pt x="44" y="4"/>
                </a:lnTo>
                <a:lnTo>
                  <a:pt x="42" y="9"/>
                </a:lnTo>
                <a:lnTo>
                  <a:pt x="42" y="9"/>
                </a:lnTo>
                <a:lnTo>
                  <a:pt x="39" y="10"/>
                </a:lnTo>
                <a:lnTo>
                  <a:pt x="37" y="10"/>
                </a:lnTo>
                <a:lnTo>
                  <a:pt x="34" y="9"/>
                </a:lnTo>
                <a:lnTo>
                  <a:pt x="30" y="10"/>
                </a:lnTo>
                <a:lnTo>
                  <a:pt x="30" y="10"/>
                </a:lnTo>
                <a:lnTo>
                  <a:pt x="26" y="12"/>
                </a:lnTo>
                <a:lnTo>
                  <a:pt x="23" y="10"/>
                </a:lnTo>
                <a:lnTo>
                  <a:pt x="19" y="9"/>
                </a:lnTo>
                <a:lnTo>
                  <a:pt x="17" y="9"/>
                </a:lnTo>
                <a:lnTo>
                  <a:pt x="16" y="10"/>
                </a:lnTo>
                <a:lnTo>
                  <a:pt x="16" y="10"/>
                </a:lnTo>
                <a:lnTo>
                  <a:pt x="16" y="12"/>
                </a:lnTo>
                <a:lnTo>
                  <a:pt x="15" y="12"/>
                </a:lnTo>
                <a:lnTo>
                  <a:pt x="10" y="12"/>
                </a:lnTo>
                <a:lnTo>
                  <a:pt x="7" y="10"/>
                </a:lnTo>
                <a:lnTo>
                  <a:pt x="6" y="10"/>
                </a:lnTo>
                <a:lnTo>
                  <a:pt x="5" y="12"/>
                </a:lnTo>
                <a:lnTo>
                  <a:pt x="5" y="12"/>
                </a:lnTo>
                <a:lnTo>
                  <a:pt x="0" y="14"/>
                </a:lnTo>
                <a:lnTo>
                  <a:pt x="0" y="14"/>
                </a:lnTo>
                <a:lnTo>
                  <a:pt x="5" y="20"/>
                </a:lnTo>
                <a:lnTo>
                  <a:pt x="6" y="23"/>
                </a:lnTo>
                <a:lnTo>
                  <a:pt x="6" y="23"/>
                </a:lnTo>
                <a:lnTo>
                  <a:pt x="7" y="26"/>
                </a:lnTo>
                <a:lnTo>
                  <a:pt x="10" y="29"/>
                </a:lnTo>
                <a:lnTo>
                  <a:pt x="13" y="33"/>
                </a:lnTo>
                <a:lnTo>
                  <a:pt x="15" y="36"/>
                </a:lnTo>
                <a:lnTo>
                  <a:pt x="15" y="36"/>
                </a:lnTo>
                <a:lnTo>
                  <a:pt x="16" y="39"/>
                </a:lnTo>
                <a:lnTo>
                  <a:pt x="20" y="41"/>
                </a:lnTo>
                <a:lnTo>
                  <a:pt x="24" y="43"/>
                </a:lnTo>
                <a:lnTo>
                  <a:pt x="27" y="43"/>
                </a:lnTo>
                <a:lnTo>
                  <a:pt x="27" y="43"/>
                </a:lnTo>
                <a:lnTo>
                  <a:pt x="30" y="41"/>
                </a:lnTo>
                <a:lnTo>
                  <a:pt x="33" y="41"/>
                </a:lnTo>
                <a:lnTo>
                  <a:pt x="37" y="41"/>
                </a:lnTo>
                <a:lnTo>
                  <a:pt x="39" y="46"/>
                </a:lnTo>
                <a:lnTo>
                  <a:pt x="39" y="46"/>
                </a:lnTo>
                <a:lnTo>
                  <a:pt x="40" y="50"/>
                </a:lnTo>
                <a:lnTo>
                  <a:pt x="42" y="53"/>
                </a:lnTo>
                <a:lnTo>
                  <a:pt x="43" y="56"/>
                </a:lnTo>
                <a:lnTo>
                  <a:pt x="43" y="58"/>
                </a:lnTo>
                <a:lnTo>
                  <a:pt x="43" y="58"/>
                </a:lnTo>
                <a:lnTo>
                  <a:pt x="43" y="60"/>
                </a:lnTo>
                <a:lnTo>
                  <a:pt x="42" y="60"/>
                </a:lnTo>
                <a:lnTo>
                  <a:pt x="39" y="61"/>
                </a:lnTo>
                <a:lnTo>
                  <a:pt x="34" y="63"/>
                </a:lnTo>
                <a:lnTo>
                  <a:pt x="33" y="64"/>
                </a:lnTo>
                <a:lnTo>
                  <a:pt x="32" y="66"/>
                </a:lnTo>
                <a:lnTo>
                  <a:pt x="32" y="66"/>
                </a:lnTo>
                <a:lnTo>
                  <a:pt x="32" y="67"/>
                </a:lnTo>
                <a:lnTo>
                  <a:pt x="33" y="68"/>
                </a:lnTo>
                <a:lnTo>
                  <a:pt x="39" y="73"/>
                </a:lnTo>
                <a:lnTo>
                  <a:pt x="46" y="77"/>
                </a:lnTo>
                <a:lnTo>
                  <a:pt x="47" y="78"/>
                </a:lnTo>
                <a:lnTo>
                  <a:pt x="49" y="80"/>
                </a:lnTo>
                <a:lnTo>
                  <a:pt x="49" y="80"/>
                </a:lnTo>
                <a:lnTo>
                  <a:pt x="50" y="84"/>
                </a:lnTo>
                <a:lnTo>
                  <a:pt x="52" y="87"/>
                </a:lnTo>
                <a:lnTo>
                  <a:pt x="57" y="94"/>
                </a:lnTo>
                <a:lnTo>
                  <a:pt x="57" y="94"/>
                </a:lnTo>
                <a:lnTo>
                  <a:pt x="60" y="98"/>
                </a:lnTo>
                <a:lnTo>
                  <a:pt x="63" y="103"/>
                </a:lnTo>
                <a:lnTo>
                  <a:pt x="67" y="107"/>
                </a:lnTo>
                <a:lnTo>
                  <a:pt x="70" y="113"/>
                </a:lnTo>
                <a:lnTo>
                  <a:pt x="70" y="113"/>
                </a:lnTo>
                <a:lnTo>
                  <a:pt x="73" y="115"/>
                </a:lnTo>
                <a:lnTo>
                  <a:pt x="76" y="120"/>
                </a:lnTo>
                <a:lnTo>
                  <a:pt x="83" y="124"/>
                </a:lnTo>
                <a:lnTo>
                  <a:pt x="83" y="124"/>
                </a:lnTo>
                <a:lnTo>
                  <a:pt x="86" y="127"/>
                </a:lnTo>
                <a:lnTo>
                  <a:pt x="86" y="131"/>
                </a:lnTo>
                <a:lnTo>
                  <a:pt x="86" y="141"/>
                </a:lnTo>
                <a:lnTo>
                  <a:pt x="86" y="141"/>
                </a:lnTo>
                <a:lnTo>
                  <a:pt x="86" y="145"/>
                </a:lnTo>
                <a:lnTo>
                  <a:pt x="86" y="152"/>
                </a:lnTo>
                <a:lnTo>
                  <a:pt x="89" y="159"/>
                </a:lnTo>
                <a:lnTo>
                  <a:pt x="91" y="167"/>
                </a:lnTo>
                <a:lnTo>
                  <a:pt x="91" y="167"/>
                </a:lnTo>
                <a:lnTo>
                  <a:pt x="93" y="169"/>
                </a:lnTo>
                <a:lnTo>
                  <a:pt x="93" y="172"/>
                </a:lnTo>
                <a:lnTo>
                  <a:pt x="91" y="175"/>
                </a:lnTo>
                <a:lnTo>
                  <a:pt x="90" y="178"/>
                </a:lnTo>
                <a:lnTo>
                  <a:pt x="84" y="181"/>
                </a:lnTo>
                <a:lnTo>
                  <a:pt x="80" y="185"/>
                </a:lnTo>
                <a:lnTo>
                  <a:pt x="80" y="185"/>
                </a:lnTo>
                <a:lnTo>
                  <a:pt x="79" y="189"/>
                </a:lnTo>
                <a:lnTo>
                  <a:pt x="76" y="192"/>
                </a:lnTo>
                <a:lnTo>
                  <a:pt x="74" y="194"/>
                </a:lnTo>
                <a:lnTo>
                  <a:pt x="73" y="195"/>
                </a:lnTo>
                <a:lnTo>
                  <a:pt x="66" y="194"/>
                </a:lnTo>
                <a:lnTo>
                  <a:pt x="66" y="194"/>
                </a:lnTo>
                <a:lnTo>
                  <a:pt x="63" y="194"/>
                </a:lnTo>
                <a:lnTo>
                  <a:pt x="61" y="195"/>
                </a:lnTo>
                <a:lnTo>
                  <a:pt x="61" y="196"/>
                </a:lnTo>
                <a:lnTo>
                  <a:pt x="61" y="198"/>
                </a:lnTo>
                <a:lnTo>
                  <a:pt x="66" y="204"/>
                </a:lnTo>
                <a:lnTo>
                  <a:pt x="66" y="206"/>
                </a:lnTo>
                <a:lnTo>
                  <a:pt x="66" y="208"/>
                </a:lnTo>
                <a:lnTo>
                  <a:pt x="66" y="208"/>
                </a:lnTo>
                <a:lnTo>
                  <a:pt x="64" y="209"/>
                </a:lnTo>
                <a:lnTo>
                  <a:pt x="63" y="209"/>
                </a:lnTo>
                <a:lnTo>
                  <a:pt x="56" y="208"/>
                </a:lnTo>
                <a:lnTo>
                  <a:pt x="50" y="208"/>
                </a:lnTo>
                <a:lnTo>
                  <a:pt x="49" y="208"/>
                </a:lnTo>
                <a:lnTo>
                  <a:pt x="47" y="208"/>
                </a:lnTo>
                <a:lnTo>
                  <a:pt x="47" y="208"/>
                </a:lnTo>
                <a:lnTo>
                  <a:pt x="47" y="211"/>
                </a:lnTo>
                <a:lnTo>
                  <a:pt x="44" y="212"/>
                </a:lnTo>
                <a:lnTo>
                  <a:pt x="37" y="216"/>
                </a:lnTo>
                <a:lnTo>
                  <a:pt x="37" y="216"/>
                </a:lnTo>
                <a:lnTo>
                  <a:pt x="42" y="219"/>
                </a:lnTo>
                <a:lnTo>
                  <a:pt x="44" y="222"/>
                </a:lnTo>
                <a:lnTo>
                  <a:pt x="44" y="222"/>
                </a:lnTo>
                <a:lnTo>
                  <a:pt x="46" y="222"/>
                </a:lnTo>
                <a:lnTo>
                  <a:pt x="46" y="223"/>
                </a:lnTo>
                <a:lnTo>
                  <a:pt x="44" y="226"/>
                </a:lnTo>
                <a:lnTo>
                  <a:pt x="42" y="231"/>
                </a:lnTo>
                <a:lnTo>
                  <a:pt x="40" y="235"/>
                </a:lnTo>
                <a:lnTo>
                  <a:pt x="40" y="235"/>
                </a:lnTo>
                <a:lnTo>
                  <a:pt x="42" y="241"/>
                </a:lnTo>
                <a:lnTo>
                  <a:pt x="44" y="242"/>
                </a:lnTo>
                <a:lnTo>
                  <a:pt x="46" y="243"/>
                </a:lnTo>
                <a:lnTo>
                  <a:pt x="49" y="242"/>
                </a:lnTo>
                <a:lnTo>
                  <a:pt x="49" y="242"/>
                </a:lnTo>
                <a:lnTo>
                  <a:pt x="56" y="235"/>
                </a:lnTo>
                <a:lnTo>
                  <a:pt x="63" y="231"/>
                </a:lnTo>
                <a:lnTo>
                  <a:pt x="63" y="231"/>
                </a:lnTo>
                <a:lnTo>
                  <a:pt x="64" y="229"/>
                </a:lnTo>
                <a:lnTo>
                  <a:pt x="64" y="228"/>
                </a:lnTo>
                <a:lnTo>
                  <a:pt x="64" y="225"/>
                </a:lnTo>
                <a:lnTo>
                  <a:pt x="67" y="225"/>
                </a:lnTo>
                <a:lnTo>
                  <a:pt x="67" y="225"/>
                </a:lnTo>
                <a:lnTo>
                  <a:pt x="69" y="223"/>
                </a:lnTo>
                <a:lnTo>
                  <a:pt x="70" y="222"/>
                </a:lnTo>
                <a:lnTo>
                  <a:pt x="71" y="216"/>
                </a:lnTo>
                <a:lnTo>
                  <a:pt x="71" y="216"/>
                </a:lnTo>
                <a:lnTo>
                  <a:pt x="73" y="215"/>
                </a:lnTo>
                <a:lnTo>
                  <a:pt x="74" y="214"/>
                </a:lnTo>
                <a:lnTo>
                  <a:pt x="81" y="215"/>
                </a:lnTo>
                <a:lnTo>
                  <a:pt x="81" y="215"/>
                </a:lnTo>
                <a:lnTo>
                  <a:pt x="86" y="214"/>
                </a:lnTo>
                <a:lnTo>
                  <a:pt x="91" y="211"/>
                </a:lnTo>
                <a:lnTo>
                  <a:pt x="103" y="204"/>
                </a:lnTo>
                <a:lnTo>
                  <a:pt x="103" y="204"/>
                </a:lnTo>
                <a:lnTo>
                  <a:pt x="107" y="201"/>
                </a:lnTo>
                <a:lnTo>
                  <a:pt x="111" y="196"/>
                </a:lnTo>
                <a:lnTo>
                  <a:pt x="113" y="192"/>
                </a:lnTo>
                <a:lnTo>
                  <a:pt x="116" y="182"/>
                </a:lnTo>
                <a:lnTo>
                  <a:pt x="116" y="182"/>
                </a:lnTo>
                <a:lnTo>
                  <a:pt x="116" y="171"/>
                </a:lnTo>
                <a:lnTo>
                  <a:pt x="114" y="159"/>
                </a:lnTo>
                <a:lnTo>
                  <a:pt x="111" y="145"/>
                </a:lnTo>
                <a:lnTo>
                  <a:pt x="111" y="145"/>
                </a:lnTo>
                <a:lnTo>
                  <a:pt x="110" y="140"/>
                </a:lnTo>
                <a:lnTo>
                  <a:pt x="106" y="131"/>
                </a:lnTo>
                <a:lnTo>
                  <a:pt x="100" y="124"/>
                </a:lnTo>
                <a:lnTo>
                  <a:pt x="98" y="121"/>
                </a:lnTo>
                <a:lnTo>
                  <a:pt x="97" y="120"/>
                </a:lnTo>
                <a:lnTo>
                  <a:pt x="97" y="120"/>
                </a:lnTo>
                <a:lnTo>
                  <a:pt x="91" y="117"/>
                </a:lnTo>
                <a:lnTo>
                  <a:pt x="83" y="111"/>
                </a:lnTo>
                <a:lnTo>
                  <a:pt x="70" y="98"/>
                </a:lnTo>
                <a:lnTo>
                  <a:pt x="70" y="98"/>
                </a:lnTo>
                <a:lnTo>
                  <a:pt x="69" y="95"/>
                </a:lnTo>
                <a:lnTo>
                  <a:pt x="67" y="93"/>
                </a:lnTo>
                <a:lnTo>
                  <a:pt x="66" y="90"/>
                </a:lnTo>
                <a:lnTo>
                  <a:pt x="63" y="85"/>
                </a:lnTo>
                <a:lnTo>
                  <a:pt x="63" y="85"/>
                </a:lnTo>
                <a:lnTo>
                  <a:pt x="60" y="83"/>
                </a:lnTo>
                <a:lnTo>
                  <a:pt x="59" y="77"/>
                </a:lnTo>
                <a:lnTo>
                  <a:pt x="59" y="70"/>
                </a:lnTo>
                <a:lnTo>
                  <a:pt x="60" y="64"/>
                </a:lnTo>
                <a:lnTo>
                  <a:pt x="60" y="64"/>
                </a:lnTo>
                <a:lnTo>
                  <a:pt x="61" y="60"/>
                </a:lnTo>
                <a:lnTo>
                  <a:pt x="66" y="57"/>
                </a:lnTo>
                <a:lnTo>
                  <a:pt x="69" y="54"/>
                </a:lnTo>
                <a:lnTo>
                  <a:pt x="70" y="51"/>
                </a:lnTo>
                <a:lnTo>
                  <a:pt x="71" y="50"/>
                </a:lnTo>
                <a:lnTo>
                  <a:pt x="71" y="50"/>
                </a:lnTo>
                <a:lnTo>
                  <a:pt x="71" y="47"/>
                </a:lnTo>
                <a:lnTo>
                  <a:pt x="71" y="44"/>
                </a:lnTo>
                <a:lnTo>
                  <a:pt x="74" y="41"/>
                </a:lnTo>
                <a:lnTo>
                  <a:pt x="77" y="41"/>
                </a:lnTo>
                <a:lnTo>
                  <a:pt x="77" y="41"/>
                </a:lnTo>
                <a:lnTo>
                  <a:pt x="81" y="40"/>
                </a:lnTo>
                <a:lnTo>
                  <a:pt x="84" y="39"/>
                </a:lnTo>
                <a:lnTo>
                  <a:pt x="90" y="33"/>
                </a:lnTo>
                <a:lnTo>
                  <a:pt x="90" y="33"/>
                </a:lnTo>
                <a:lnTo>
                  <a:pt x="91" y="31"/>
                </a:lnTo>
                <a:lnTo>
                  <a:pt x="91" y="31"/>
                </a:lnTo>
                <a:lnTo>
                  <a:pt x="87" y="29"/>
                </a:lnTo>
                <a:lnTo>
                  <a:pt x="87" y="29"/>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62" name="Freeform 249">
            <a:extLst>
              <a:ext uri="{FF2B5EF4-FFF2-40B4-BE49-F238E27FC236}">
                <a16:creationId xmlns:a16="http://schemas.microsoft.com/office/drawing/2014/main" id="{306E5E96-1DEC-AB50-F7DB-78FDFF00E191}"/>
              </a:ext>
            </a:extLst>
          </p:cNvPr>
          <p:cNvSpPr>
            <a:spLocks/>
          </p:cNvSpPr>
          <p:nvPr userDrawn="1"/>
        </p:nvSpPr>
        <p:spPr bwMode="gray">
          <a:xfrm>
            <a:off x="6461638" y="3042931"/>
            <a:ext cx="117046" cy="89736"/>
          </a:xfrm>
          <a:custGeom>
            <a:avLst/>
            <a:gdLst/>
            <a:ahLst/>
            <a:cxnLst>
              <a:cxn ang="0">
                <a:pos x="44" y="61"/>
              </a:cxn>
              <a:cxn ang="0">
                <a:pos x="47" y="61"/>
              </a:cxn>
              <a:cxn ang="0">
                <a:pos x="60" y="62"/>
              </a:cxn>
              <a:cxn ang="0">
                <a:pos x="63" y="61"/>
              </a:cxn>
              <a:cxn ang="0">
                <a:pos x="63" y="59"/>
              </a:cxn>
              <a:cxn ang="0">
                <a:pos x="58" y="51"/>
              </a:cxn>
              <a:cxn ang="0">
                <a:pos x="58" y="48"/>
              </a:cxn>
              <a:cxn ang="0">
                <a:pos x="63" y="47"/>
              </a:cxn>
              <a:cxn ang="0">
                <a:pos x="70" y="48"/>
              </a:cxn>
              <a:cxn ang="0">
                <a:pos x="73" y="45"/>
              </a:cxn>
              <a:cxn ang="0">
                <a:pos x="77" y="38"/>
              </a:cxn>
              <a:cxn ang="0">
                <a:pos x="81" y="34"/>
              </a:cxn>
              <a:cxn ang="0">
                <a:pos x="88" y="28"/>
              </a:cxn>
              <a:cxn ang="0">
                <a:pos x="90" y="22"/>
              </a:cxn>
              <a:cxn ang="0">
                <a:pos x="88" y="20"/>
              </a:cxn>
              <a:cxn ang="0">
                <a:pos x="84" y="10"/>
              </a:cxn>
              <a:cxn ang="0">
                <a:pos x="83" y="0"/>
              </a:cxn>
              <a:cxn ang="0">
                <a:pos x="77" y="3"/>
              </a:cxn>
              <a:cxn ang="0">
                <a:pos x="71" y="3"/>
              </a:cxn>
              <a:cxn ang="0">
                <a:pos x="64" y="1"/>
              </a:cxn>
              <a:cxn ang="0">
                <a:pos x="60" y="5"/>
              </a:cxn>
              <a:cxn ang="0">
                <a:pos x="60" y="8"/>
              </a:cxn>
              <a:cxn ang="0">
                <a:pos x="56" y="11"/>
              </a:cxn>
              <a:cxn ang="0">
                <a:pos x="56" y="10"/>
              </a:cxn>
              <a:cxn ang="0">
                <a:pos x="53" y="7"/>
              </a:cxn>
              <a:cxn ang="0">
                <a:pos x="47" y="4"/>
              </a:cxn>
              <a:cxn ang="0">
                <a:pos x="46" y="3"/>
              </a:cxn>
              <a:cxn ang="0">
                <a:pos x="37" y="3"/>
              </a:cxn>
              <a:cxn ang="0">
                <a:pos x="24" y="3"/>
              </a:cxn>
              <a:cxn ang="0">
                <a:pos x="20" y="3"/>
              </a:cxn>
              <a:cxn ang="0">
                <a:pos x="9" y="8"/>
              </a:cxn>
              <a:cxn ang="0">
                <a:pos x="3" y="14"/>
              </a:cxn>
              <a:cxn ang="0">
                <a:pos x="2" y="21"/>
              </a:cxn>
              <a:cxn ang="0">
                <a:pos x="3" y="28"/>
              </a:cxn>
              <a:cxn ang="0">
                <a:pos x="4" y="32"/>
              </a:cxn>
              <a:cxn ang="0">
                <a:pos x="6" y="37"/>
              </a:cxn>
              <a:cxn ang="0">
                <a:pos x="6" y="41"/>
              </a:cxn>
              <a:cxn ang="0">
                <a:pos x="6" y="41"/>
              </a:cxn>
              <a:cxn ang="0">
                <a:pos x="10" y="48"/>
              </a:cxn>
              <a:cxn ang="0">
                <a:pos x="10" y="55"/>
              </a:cxn>
              <a:cxn ang="0">
                <a:pos x="14" y="58"/>
              </a:cxn>
              <a:cxn ang="0">
                <a:pos x="20" y="57"/>
              </a:cxn>
              <a:cxn ang="0">
                <a:pos x="20" y="59"/>
              </a:cxn>
              <a:cxn ang="0">
                <a:pos x="20" y="65"/>
              </a:cxn>
              <a:cxn ang="0">
                <a:pos x="23" y="67"/>
              </a:cxn>
              <a:cxn ang="0">
                <a:pos x="31" y="65"/>
              </a:cxn>
              <a:cxn ang="0">
                <a:pos x="33" y="67"/>
              </a:cxn>
              <a:cxn ang="0">
                <a:pos x="34" y="69"/>
              </a:cxn>
              <a:cxn ang="0">
                <a:pos x="41" y="65"/>
              </a:cxn>
              <a:cxn ang="0">
                <a:pos x="44" y="61"/>
              </a:cxn>
            </a:cxnLst>
            <a:rect l="0" t="0" r="r" b="b"/>
            <a:pathLst>
              <a:path w="90" h="69">
                <a:moveTo>
                  <a:pt x="44" y="61"/>
                </a:moveTo>
                <a:lnTo>
                  <a:pt x="44" y="61"/>
                </a:lnTo>
                <a:lnTo>
                  <a:pt x="46" y="61"/>
                </a:lnTo>
                <a:lnTo>
                  <a:pt x="47" y="61"/>
                </a:lnTo>
                <a:lnTo>
                  <a:pt x="53" y="61"/>
                </a:lnTo>
                <a:lnTo>
                  <a:pt x="60" y="62"/>
                </a:lnTo>
                <a:lnTo>
                  <a:pt x="61" y="62"/>
                </a:lnTo>
                <a:lnTo>
                  <a:pt x="63" y="61"/>
                </a:lnTo>
                <a:lnTo>
                  <a:pt x="63" y="61"/>
                </a:lnTo>
                <a:lnTo>
                  <a:pt x="63" y="59"/>
                </a:lnTo>
                <a:lnTo>
                  <a:pt x="63" y="57"/>
                </a:lnTo>
                <a:lnTo>
                  <a:pt x="58" y="51"/>
                </a:lnTo>
                <a:lnTo>
                  <a:pt x="58" y="49"/>
                </a:lnTo>
                <a:lnTo>
                  <a:pt x="58" y="48"/>
                </a:lnTo>
                <a:lnTo>
                  <a:pt x="60" y="47"/>
                </a:lnTo>
                <a:lnTo>
                  <a:pt x="63" y="47"/>
                </a:lnTo>
                <a:lnTo>
                  <a:pt x="63" y="47"/>
                </a:lnTo>
                <a:lnTo>
                  <a:pt x="70" y="48"/>
                </a:lnTo>
                <a:lnTo>
                  <a:pt x="71" y="47"/>
                </a:lnTo>
                <a:lnTo>
                  <a:pt x="73" y="45"/>
                </a:lnTo>
                <a:lnTo>
                  <a:pt x="76" y="42"/>
                </a:lnTo>
                <a:lnTo>
                  <a:pt x="77" y="38"/>
                </a:lnTo>
                <a:lnTo>
                  <a:pt x="77" y="38"/>
                </a:lnTo>
                <a:lnTo>
                  <a:pt x="81" y="34"/>
                </a:lnTo>
                <a:lnTo>
                  <a:pt x="87" y="31"/>
                </a:lnTo>
                <a:lnTo>
                  <a:pt x="88" y="28"/>
                </a:lnTo>
                <a:lnTo>
                  <a:pt x="90" y="25"/>
                </a:lnTo>
                <a:lnTo>
                  <a:pt x="90" y="22"/>
                </a:lnTo>
                <a:lnTo>
                  <a:pt x="88" y="20"/>
                </a:lnTo>
                <a:lnTo>
                  <a:pt x="88" y="20"/>
                </a:lnTo>
                <a:lnTo>
                  <a:pt x="86" y="15"/>
                </a:lnTo>
                <a:lnTo>
                  <a:pt x="84" y="10"/>
                </a:lnTo>
                <a:lnTo>
                  <a:pt x="83" y="0"/>
                </a:lnTo>
                <a:lnTo>
                  <a:pt x="83" y="0"/>
                </a:lnTo>
                <a:lnTo>
                  <a:pt x="80" y="1"/>
                </a:lnTo>
                <a:lnTo>
                  <a:pt x="77" y="3"/>
                </a:lnTo>
                <a:lnTo>
                  <a:pt x="71" y="3"/>
                </a:lnTo>
                <a:lnTo>
                  <a:pt x="71" y="3"/>
                </a:lnTo>
                <a:lnTo>
                  <a:pt x="68" y="1"/>
                </a:lnTo>
                <a:lnTo>
                  <a:pt x="64" y="1"/>
                </a:lnTo>
                <a:lnTo>
                  <a:pt x="61" y="3"/>
                </a:lnTo>
                <a:lnTo>
                  <a:pt x="60" y="5"/>
                </a:lnTo>
                <a:lnTo>
                  <a:pt x="60" y="5"/>
                </a:lnTo>
                <a:lnTo>
                  <a:pt x="60" y="8"/>
                </a:lnTo>
                <a:lnTo>
                  <a:pt x="58" y="11"/>
                </a:lnTo>
                <a:lnTo>
                  <a:pt x="56" y="11"/>
                </a:lnTo>
                <a:lnTo>
                  <a:pt x="56" y="10"/>
                </a:lnTo>
                <a:lnTo>
                  <a:pt x="56" y="10"/>
                </a:lnTo>
                <a:lnTo>
                  <a:pt x="56" y="8"/>
                </a:lnTo>
                <a:lnTo>
                  <a:pt x="53" y="7"/>
                </a:lnTo>
                <a:lnTo>
                  <a:pt x="50" y="5"/>
                </a:lnTo>
                <a:lnTo>
                  <a:pt x="47" y="4"/>
                </a:lnTo>
                <a:lnTo>
                  <a:pt x="47" y="4"/>
                </a:lnTo>
                <a:lnTo>
                  <a:pt x="46" y="3"/>
                </a:lnTo>
                <a:lnTo>
                  <a:pt x="43" y="3"/>
                </a:lnTo>
                <a:lnTo>
                  <a:pt x="37" y="3"/>
                </a:lnTo>
                <a:lnTo>
                  <a:pt x="30" y="3"/>
                </a:lnTo>
                <a:lnTo>
                  <a:pt x="24" y="3"/>
                </a:lnTo>
                <a:lnTo>
                  <a:pt x="24" y="3"/>
                </a:lnTo>
                <a:lnTo>
                  <a:pt x="20" y="3"/>
                </a:lnTo>
                <a:lnTo>
                  <a:pt x="14" y="4"/>
                </a:lnTo>
                <a:lnTo>
                  <a:pt x="9" y="8"/>
                </a:lnTo>
                <a:lnTo>
                  <a:pt x="3" y="14"/>
                </a:lnTo>
                <a:lnTo>
                  <a:pt x="3" y="14"/>
                </a:lnTo>
                <a:lnTo>
                  <a:pt x="0" y="18"/>
                </a:lnTo>
                <a:lnTo>
                  <a:pt x="2" y="21"/>
                </a:lnTo>
                <a:lnTo>
                  <a:pt x="3" y="24"/>
                </a:lnTo>
                <a:lnTo>
                  <a:pt x="3" y="28"/>
                </a:lnTo>
                <a:lnTo>
                  <a:pt x="3" y="28"/>
                </a:lnTo>
                <a:lnTo>
                  <a:pt x="4" y="32"/>
                </a:lnTo>
                <a:lnTo>
                  <a:pt x="6" y="35"/>
                </a:lnTo>
                <a:lnTo>
                  <a:pt x="6" y="37"/>
                </a:lnTo>
                <a:lnTo>
                  <a:pt x="6" y="41"/>
                </a:lnTo>
                <a:lnTo>
                  <a:pt x="6" y="41"/>
                </a:lnTo>
                <a:lnTo>
                  <a:pt x="6" y="41"/>
                </a:lnTo>
                <a:lnTo>
                  <a:pt x="6" y="41"/>
                </a:lnTo>
                <a:lnTo>
                  <a:pt x="9" y="44"/>
                </a:lnTo>
                <a:lnTo>
                  <a:pt x="10" y="48"/>
                </a:lnTo>
                <a:lnTo>
                  <a:pt x="10" y="55"/>
                </a:lnTo>
                <a:lnTo>
                  <a:pt x="10" y="55"/>
                </a:lnTo>
                <a:lnTo>
                  <a:pt x="12" y="58"/>
                </a:lnTo>
                <a:lnTo>
                  <a:pt x="14" y="58"/>
                </a:lnTo>
                <a:lnTo>
                  <a:pt x="20" y="57"/>
                </a:lnTo>
                <a:lnTo>
                  <a:pt x="20" y="57"/>
                </a:lnTo>
                <a:lnTo>
                  <a:pt x="21" y="58"/>
                </a:lnTo>
                <a:lnTo>
                  <a:pt x="20" y="59"/>
                </a:lnTo>
                <a:lnTo>
                  <a:pt x="20" y="62"/>
                </a:lnTo>
                <a:lnTo>
                  <a:pt x="20" y="65"/>
                </a:lnTo>
                <a:lnTo>
                  <a:pt x="20" y="65"/>
                </a:lnTo>
                <a:lnTo>
                  <a:pt x="23" y="67"/>
                </a:lnTo>
                <a:lnTo>
                  <a:pt x="27" y="65"/>
                </a:lnTo>
                <a:lnTo>
                  <a:pt x="31" y="65"/>
                </a:lnTo>
                <a:lnTo>
                  <a:pt x="33" y="65"/>
                </a:lnTo>
                <a:lnTo>
                  <a:pt x="33" y="67"/>
                </a:lnTo>
                <a:lnTo>
                  <a:pt x="33" y="67"/>
                </a:lnTo>
                <a:lnTo>
                  <a:pt x="34" y="69"/>
                </a:lnTo>
                <a:lnTo>
                  <a:pt x="34" y="69"/>
                </a:lnTo>
                <a:lnTo>
                  <a:pt x="41" y="65"/>
                </a:lnTo>
                <a:lnTo>
                  <a:pt x="44" y="64"/>
                </a:lnTo>
                <a:lnTo>
                  <a:pt x="44" y="61"/>
                </a:lnTo>
                <a:lnTo>
                  <a:pt x="44" y="61"/>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63" name="Freeform 250">
            <a:extLst>
              <a:ext uri="{FF2B5EF4-FFF2-40B4-BE49-F238E27FC236}">
                <a16:creationId xmlns:a16="http://schemas.microsoft.com/office/drawing/2014/main" id="{A24FBEF9-ED23-84D4-8D8E-3084D1342778}"/>
              </a:ext>
            </a:extLst>
          </p:cNvPr>
          <p:cNvSpPr>
            <a:spLocks/>
          </p:cNvSpPr>
          <p:nvPr userDrawn="1"/>
        </p:nvSpPr>
        <p:spPr bwMode="gray">
          <a:xfrm>
            <a:off x="6417422" y="2869963"/>
            <a:ext cx="152160" cy="187274"/>
          </a:xfrm>
          <a:custGeom>
            <a:avLst/>
            <a:gdLst/>
            <a:ahLst/>
            <a:cxnLst>
              <a:cxn ang="0">
                <a:pos x="78" y="64"/>
              </a:cxn>
              <a:cxn ang="0">
                <a:pos x="64" y="54"/>
              </a:cxn>
              <a:cxn ang="0">
                <a:pos x="63" y="52"/>
              </a:cxn>
              <a:cxn ang="0">
                <a:pos x="70" y="47"/>
              </a:cxn>
              <a:cxn ang="0">
                <a:pos x="74" y="44"/>
              </a:cxn>
              <a:cxn ang="0">
                <a:pos x="73" y="39"/>
              </a:cxn>
              <a:cxn ang="0">
                <a:pos x="70" y="32"/>
              </a:cxn>
              <a:cxn ang="0">
                <a:pos x="61" y="27"/>
              </a:cxn>
              <a:cxn ang="0">
                <a:pos x="55" y="29"/>
              </a:cxn>
              <a:cxn ang="0">
                <a:pos x="46" y="22"/>
              </a:cxn>
              <a:cxn ang="0">
                <a:pos x="41" y="15"/>
              </a:cxn>
              <a:cxn ang="0">
                <a:pos x="37" y="9"/>
              </a:cxn>
              <a:cxn ang="0">
                <a:pos x="31" y="0"/>
              </a:cxn>
              <a:cxn ang="0">
                <a:pos x="24" y="2"/>
              </a:cxn>
              <a:cxn ang="0">
                <a:pos x="21" y="7"/>
              </a:cxn>
              <a:cxn ang="0">
                <a:pos x="24" y="13"/>
              </a:cxn>
              <a:cxn ang="0">
                <a:pos x="23" y="22"/>
              </a:cxn>
              <a:cxn ang="0">
                <a:pos x="19" y="20"/>
              </a:cxn>
              <a:cxn ang="0">
                <a:pos x="13" y="15"/>
              </a:cxn>
              <a:cxn ang="0">
                <a:pos x="7" y="25"/>
              </a:cxn>
              <a:cxn ang="0">
                <a:pos x="4" y="30"/>
              </a:cxn>
              <a:cxn ang="0">
                <a:pos x="0" y="33"/>
              </a:cxn>
              <a:cxn ang="0">
                <a:pos x="3" y="37"/>
              </a:cxn>
              <a:cxn ang="0">
                <a:pos x="4" y="49"/>
              </a:cxn>
              <a:cxn ang="0">
                <a:pos x="6" y="50"/>
              </a:cxn>
              <a:cxn ang="0">
                <a:pos x="14" y="50"/>
              </a:cxn>
              <a:cxn ang="0">
                <a:pos x="16" y="57"/>
              </a:cxn>
              <a:cxn ang="0">
                <a:pos x="14" y="69"/>
              </a:cxn>
              <a:cxn ang="0">
                <a:pos x="11" y="76"/>
              </a:cxn>
              <a:cxn ang="0">
                <a:pos x="10" y="81"/>
              </a:cxn>
              <a:cxn ang="0">
                <a:pos x="16" y="83"/>
              </a:cxn>
              <a:cxn ang="0">
                <a:pos x="28" y="74"/>
              </a:cxn>
              <a:cxn ang="0">
                <a:pos x="36" y="76"/>
              </a:cxn>
              <a:cxn ang="0">
                <a:pos x="41" y="76"/>
              </a:cxn>
              <a:cxn ang="0">
                <a:pos x="46" y="73"/>
              </a:cxn>
              <a:cxn ang="0">
                <a:pos x="57" y="70"/>
              </a:cxn>
              <a:cxn ang="0">
                <a:pos x="67" y="79"/>
              </a:cxn>
              <a:cxn ang="0">
                <a:pos x="74" y="86"/>
              </a:cxn>
              <a:cxn ang="0">
                <a:pos x="73" y="100"/>
              </a:cxn>
              <a:cxn ang="0">
                <a:pos x="74" y="103"/>
              </a:cxn>
              <a:cxn ang="0">
                <a:pos x="84" y="114"/>
              </a:cxn>
              <a:cxn ang="0">
                <a:pos x="85" y="126"/>
              </a:cxn>
              <a:cxn ang="0">
                <a:pos x="83" y="138"/>
              </a:cxn>
              <a:cxn ang="0">
                <a:pos x="90" y="141"/>
              </a:cxn>
              <a:cxn ang="0">
                <a:pos x="90" y="144"/>
              </a:cxn>
              <a:cxn ang="0">
                <a:pos x="94" y="138"/>
              </a:cxn>
              <a:cxn ang="0">
                <a:pos x="98" y="134"/>
              </a:cxn>
              <a:cxn ang="0">
                <a:pos x="105" y="136"/>
              </a:cxn>
              <a:cxn ang="0">
                <a:pos x="117" y="133"/>
              </a:cxn>
              <a:cxn ang="0">
                <a:pos x="117" y="127"/>
              </a:cxn>
              <a:cxn ang="0">
                <a:pos x="114" y="110"/>
              </a:cxn>
              <a:cxn ang="0">
                <a:pos x="104" y="101"/>
              </a:cxn>
              <a:cxn ang="0">
                <a:pos x="98" y="93"/>
              </a:cxn>
              <a:cxn ang="0">
                <a:pos x="88" y="80"/>
              </a:cxn>
              <a:cxn ang="0">
                <a:pos x="81" y="70"/>
              </a:cxn>
            </a:cxnLst>
            <a:rect l="0" t="0" r="r" b="b"/>
            <a:pathLst>
              <a:path w="117" h="144">
                <a:moveTo>
                  <a:pt x="80" y="66"/>
                </a:moveTo>
                <a:lnTo>
                  <a:pt x="80" y="66"/>
                </a:lnTo>
                <a:lnTo>
                  <a:pt x="78" y="64"/>
                </a:lnTo>
                <a:lnTo>
                  <a:pt x="77" y="63"/>
                </a:lnTo>
                <a:lnTo>
                  <a:pt x="70" y="59"/>
                </a:lnTo>
                <a:lnTo>
                  <a:pt x="64" y="54"/>
                </a:lnTo>
                <a:lnTo>
                  <a:pt x="63" y="53"/>
                </a:lnTo>
                <a:lnTo>
                  <a:pt x="63" y="52"/>
                </a:lnTo>
                <a:lnTo>
                  <a:pt x="63" y="52"/>
                </a:lnTo>
                <a:lnTo>
                  <a:pt x="64" y="50"/>
                </a:lnTo>
                <a:lnTo>
                  <a:pt x="65" y="49"/>
                </a:lnTo>
                <a:lnTo>
                  <a:pt x="70" y="47"/>
                </a:lnTo>
                <a:lnTo>
                  <a:pt x="73" y="46"/>
                </a:lnTo>
                <a:lnTo>
                  <a:pt x="74" y="46"/>
                </a:lnTo>
                <a:lnTo>
                  <a:pt x="74" y="44"/>
                </a:lnTo>
                <a:lnTo>
                  <a:pt x="74" y="44"/>
                </a:lnTo>
                <a:lnTo>
                  <a:pt x="74" y="42"/>
                </a:lnTo>
                <a:lnTo>
                  <a:pt x="73" y="39"/>
                </a:lnTo>
                <a:lnTo>
                  <a:pt x="71" y="36"/>
                </a:lnTo>
                <a:lnTo>
                  <a:pt x="70" y="32"/>
                </a:lnTo>
                <a:lnTo>
                  <a:pt x="70" y="32"/>
                </a:lnTo>
                <a:lnTo>
                  <a:pt x="68" y="27"/>
                </a:lnTo>
                <a:lnTo>
                  <a:pt x="64" y="27"/>
                </a:lnTo>
                <a:lnTo>
                  <a:pt x="61" y="27"/>
                </a:lnTo>
                <a:lnTo>
                  <a:pt x="58" y="29"/>
                </a:lnTo>
                <a:lnTo>
                  <a:pt x="58" y="29"/>
                </a:lnTo>
                <a:lnTo>
                  <a:pt x="55" y="29"/>
                </a:lnTo>
                <a:lnTo>
                  <a:pt x="51" y="27"/>
                </a:lnTo>
                <a:lnTo>
                  <a:pt x="47" y="25"/>
                </a:lnTo>
                <a:lnTo>
                  <a:pt x="46" y="22"/>
                </a:lnTo>
                <a:lnTo>
                  <a:pt x="46" y="22"/>
                </a:lnTo>
                <a:lnTo>
                  <a:pt x="44" y="19"/>
                </a:lnTo>
                <a:lnTo>
                  <a:pt x="41" y="15"/>
                </a:lnTo>
                <a:lnTo>
                  <a:pt x="38" y="12"/>
                </a:lnTo>
                <a:lnTo>
                  <a:pt x="37" y="9"/>
                </a:lnTo>
                <a:lnTo>
                  <a:pt x="37" y="9"/>
                </a:lnTo>
                <a:lnTo>
                  <a:pt x="36" y="6"/>
                </a:lnTo>
                <a:lnTo>
                  <a:pt x="31" y="0"/>
                </a:lnTo>
                <a:lnTo>
                  <a:pt x="31" y="0"/>
                </a:lnTo>
                <a:lnTo>
                  <a:pt x="27" y="2"/>
                </a:lnTo>
                <a:lnTo>
                  <a:pt x="24" y="2"/>
                </a:lnTo>
                <a:lnTo>
                  <a:pt x="24" y="2"/>
                </a:lnTo>
                <a:lnTo>
                  <a:pt x="23" y="2"/>
                </a:lnTo>
                <a:lnTo>
                  <a:pt x="23" y="5"/>
                </a:lnTo>
                <a:lnTo>
                  <a:pt x="21" y="7"/>
                </a:lnTo>
                <a:lnTo>
                  <a:pt x="23" y="10"/>
                </a:lnTo>
                <a:lnTo>
                  <a:pt x="23" y="10"/>
                </a:lnTo>
                <a:lnTo>
                  <a:pt x="24" y="13"/>
                </a:lnTo>
                <a:lnTo>
                  <a:pt x="24" y="17"/>
                </a:lnTo>
                <a:lnTo>
                  <a:pt x="24" y="22"/>
                </a:lnTo>
                <a:lnTo>
                  <a:pt x="23" y="22"/>
                </a:lnTo>
                <a:lnTo>
                  <a:pt x="21" y="22"/>
                </a:lnTo>
                <a:lnTo>
                  <a:pt x="21" y="22"/>
                </a:lnTo>
                <a:lnTo>
                  <a:pt x="19" y="20"/>
                </a:lnTo>
                <a:lnTo>
                  <a:pt x="17" y="17"/>
                </a:lnTo>
                <a:lnTo>
                  <a:pt x="16" y="16"/>
                </a:lnTo>
                <a:lnTo>
                  <a:pt x="13" y="15"/>
                </a:lnTo>
                <a:lnTo>
                  <a:pt x="13" y="15"/>
                </a:lnTo>
                <a:lnTo>
                  <a:pt x="10" y="20"/>
                </a:lnTo>
                <a:lnTo>
                  <a:pt x="7" y="25"/>
                </a:lnTo>
                <a:lnTo>
                  <a:pt x="6" y="27"/>
                </a:lnTo>
                <a:lnTo>
                  <a:pt x="6" y="27"/>
                </a:lnTo>
                <a:lnTo>
                  <a:pt x="4" y="30"/>
                </a:lnTo>
                <a:lnTo>
                  <a:pt x="3" y="30"/>
                </a:lnTo>
                <a:lnTo>
                  <a:pt x="0" y="33"/>
                </a:lnTo>
                <a:lnTo>
                  <a:pt x="0" y="33"/>
                </a:lnTo>
                <a:lnTo>
                  <a:pt x="3" y="36"/>
                </a:lnTo>
                <a:lnTo>
                  <a:pt x="3" y="36"/>
                </a:lnTo>
                <a:lnTo>
                  <a:pt x="3" y="37"/>
                </a:lnTo>
                <a:lnTo>
                  <a:pt x="3" y="40"/>
                </a:lnTo>
                <a:lnTo>
                  <a:pt x="3" y="44"/>
                </a:lnTo>
                <a:lnTo>
                  <a:pt x="4" y="49"/>
                </a:lnTo>
                <a:lnTo>
                  <a:pt x="4" y="49"/>
                </a:lnTo>
                <a:lnTo>
                  <a:pt x="6" y="49"/>
                </a:lnTo>
                <a:lnTo>
                  <a:pt x="6" y="50"/>
                </a:lnTo>
                <a:lnTo>
                  <a:pt x="10" y="49"/>
                </a:lnTo>
                <a:lnTo>
                  <a:pt x="13" y="49"/>
                </a:lnTo>
                <a:lnTo>
                  <a:pt x="14" y="50"/>
                </a:lnTo>
                <a:lnTo>
                  <a:pt x="16" y="52"/>
                </a:lnTo>
                <a:lnTo>
                  <a:pt x="16" y="52"/>
                </a:lnTo>
                <a:lnTo>
                  <a:pt x="16" y="57"/>
                </a:lnTo>
                <a:lnTo>
                  <a:pt x="16" y="60"/>
                </a:lnTo>
                <a:lnTo>
                  <a:pt x="14" y="64"/>
                </a:lnTo>
                <a:lnTo>
                  <a:pt x="14" y="69"/>
                </a:lnTo>
                <a:lnTo>
                  <a:pt x="14" y="69"/>
                </a:lnTo>
                <a:lnTo>
                  <a:pt x="13" y="73"/>
                </a:lnTo>
                <a:lnTo>
                  <a:pt x="11" y="76"/>
                </a:lnTo>
                <a:lnTo>
                  <a:pt x="10" y="79"/>
                </a:lnTo>
                <a:lnTo>
                  <a:pt x="10" y="81"/>
                </a:lnTo>
                <a:lnTo>
                  <a:pt x="10" y="81"/>
                </a:lnTo>
                <a:lnTo>
                  <a:pt x="10" y="83"/>
                </a:lnTo>
                <a:lnTo>
                  <a:pt x="11" y="84"/>
                </a:lnTo>
                <a:lnTo>
                  <a:pt x="16" y="83"/>
                </a:lnTo>
                <a:lnTo>
                  <a:pt x="24" y="76"/>
                </a:lnTo>
                <a:lnTo>
                  <a:pt x="24" y="76"/>
                </a:lnTo>
                <a:lnTo>
                  <a:pt x="28" y="74"/>
                </a:lnTo>
                <a:lnTo>
                  <a:pt x="31" y="73"/>
                </a:lnTo>
                <a:lnTo>
                  <a:pt x="34" y="74"/>
                </a:lnTo>
                <a:lnTo>
                  <a:pt x="36" y="76"/>
                </a:lnTo>
                <a:lnTo>
                  <a:pt x="36" y="76"/>
                </a:lnTo>
                <a:lnTo>
                  <a:pt x="38" y="77"/>
                </a:lnTo>
                <a:lnTo>
                  <a:pt x="41" y="76"/>
                </a:lnTo>
                <a:lnTo>
                  <a:pt x="44" y="74"/>
                </a:lnTo>
                <a:lnTo>
                  <a:pt x="46" y="73"/>
                </a:lnTo>
                <a:lnTo>
                  <a:pt x="46" y="73"/>
                </a:lnTo>
                <a:lnTo>
                  <a:pt x="48" y="70"/>
                </a:lnTo>
                <a:lnTo>
                  <a:pt x="53" y="70"/>
                </a:lnTo>
                <a:lnTo>
                  <a:pt x="57" y="70"/>
                </a:lnTo>
                <a:lnTo>
                  <a:pt x="61" y="71"/>
                </a:lnTo>
                <a:lnTo>
                  <a:pt x="61" y="71"/>
                </a:lnTo>
                <a:lnTo>
                  <a:pt x="67" y="79"/>
                </a:lnTo>
                <a:lnTo>
                  <a:pt x="73" y="84"/>
                </a:lnTo>
                <a:lnTo>
                  <a:pt x="73" y="84"/>
                </a:lnTo>
                <a:lnTo>
                  <a:pt x="74" y="86"/>
                </a:lnTo>
                <a:lnTo>
                  <a:pt x="74" y="87"/>
                </a:lnTo>
                <a:lnTo>
                  <a:pt x="73" y="94"/>
                </a:lnTo>
                <a:lnTo>
                  <a:pt x="73" y="100"/>
                </a:lnTo>
                <a:lnTo>
                  <a:pt x="73" y="101"/>
                </a:lnTo>
                <a:lnTo>
                  <a:pt x="74" y="103"/>
                </a:lnTo>
                <a:lnTo>
                  <a:pt x="74" y="103"/>
                </a:lnTo>
                <a:lnTo>
                  <a:pt x="78" y="106"/>
                </a:lnTo>
                <a:lnTo>
                  <a:pt x="81" y="108"/>
                </a:lnTo>
                <a:lnTo>
                  <a:pt x="84" y="114"/>
                </a:lnTo>
                <a:lnTo>
                  <a:pt x="85" y="120"/>
                </a:lnTo>
                <a:lnTo>
                  <a:pt x="85" y="120"/>
                </a:lnTo>
                <a:lnTo>
                  <a:pt x="85" y="126"/>
                </a:lnTo>
                <a:lnTo>
                  <a:pt x="85" y="130"/>
                </a:lnTo>
                <a:lnTo>
                  <a:pt x="85" y="134"/>
                </a:lnTo>
                <a:lnTo>
                  <a:pt x="83" y="138"/>
                </a:lnTo>
                <a:lnTo>
                  <a:pt x="83" y="138"/>
                </a:lnTo>
                <a:lnTo>
                  <a:pt x="88" y="140"/>
                </a:lnTo>
                <a:lnTo>
                  <a:pt x="90" y="141"/>
                </a:lnTo>
                <a:lnTo>
                  <a:pt x="90" y="143"/>
                </a:lnTo>
                <a:lnTo>
                  <a:pt x="90" y="143"/>
                </a:lnTo>
                <a:lnTo>
                  <a:pt x="90" y="144"/>
                </a:lnTo>
                <a:lnTo>
                  <a:pt x="92" y="144"/>
                </a:lnTo>
                <a:lnTo>
                  <a:pt x="94" y="141"/>
                </a:lnTo>
                <a:lnTo>
                  <a:pt x="94" y="138"/>
                </a:lnTo>
                <a:lnTo>
                  <a:pt x="94" y="138"/>
                </a:lnTo>
                <a:lnTo>
                  <a:pt x="95" y="136"/>
                </a:lnTo>
                <a:lnTo>
                  <a:pt x="98" y="134"/>
                </a:lnTo>
                <a:lnTo>
                  <a:pt x="102" y="134"/>
                </a:lnTo>
                <a:lnTo>
                  <a:pt x="105" y="136"/>
                </a:lnTo>
                <a:lnTo>
                  <a:pt x="105" y="136"/>
                </a:lnTo>
                <a:lnTo>
                  <a:pt x="111" y="136"/>
                </a:lnTo>
                <a:lnTo>
                  <a:pt x="114" y="134"/>
                </a:lnTo>
                <a:lnTo>
                  <a:pt x="117" y="133"/>
                </a:lnTo>
                <a:lnTo>
                  <a:pt x="117" y="133"/>
                </a:lnTo>
                <a:lnTo>
                  <a:pt x="117" y="127"/>
                </a:lnTo>
                <a:lnTo>
                  <a:pt x="117" y="127"/>
                </a:lnTo>
                <a:lnTo>
                  <a:pt x="117" y="117"/>
                </a:lnTo>
                <a:lnTo>
                  <a:pt x="117" y="113"/>
                </a:lnTo>
                <a:lnTo>
                  <a:pt x="114" y="110"/>
                </a:lnTo>
                <a:lnTo>
                  <a:pt x="114" y="110"/>
                </a:lnTo>
                <a:lnTo>
                  <a:pt x="107" y="106"/>
                </a:lnTo>
                <a:lnTo>
                  <a:pt x="104" y="101"/>
                </a:lnTo>
                <a:lnTo>
                  <a:pt x="101" y="99"/>
                </a:lnTo>
                <a:lnTo>
                  <a:pt x="101" y="99"/>
                </a:lnTo>
                <a:lnTo>
                  <a:pt x="98" y="93"/>
                </a:lnTo>
                <a:lnTo>
                  <a:pt x="94" y="89"/>
                </a:lnTo>
                <a:lnTo>
                  <a:pt x="91" y="84"/>
                </a:lnTo>
                <a:lnTo>
                  <a:pt x="88" y="80"/>
                </a:lnTo>
                <a:lnTo>
                  <a:pt x="88" y="80"/>
                </a:lnTo>
                <a:lnTo>
                  <a:pt x="83" y="73"/>
                </a:lnTo>
                <a:lnTo>
                  <a:pt x="81" y="70"/>
                </a:lnTo>
                <a:lnTo>
                  <a:pt x="80" y="66"/>
                </a:lnTo>
                <a:lnTo>
                  <a:pt x="80" y="66"/>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64" name="Freeform 251">
            <a:extLst>
              <a:ext uri="{FF2B5EF4-FFF2-40B4-BE49-F238E27FC236}">
                <a16:creationId xmlns:a16="http://schemas.microsoft.com/office/drawing/2014/main" id="{FEBA4A12-4287-77FA-BB12-F0F8337EE4F9}"/>
              </a:ext>
            </a:extLst>
          </p:cNvPr>
          <p:cNvSpPr>
            <a:spLocks/>
          </p:cNvSpPr>
          <p:nvPr userDrawn="1"/>
        </p:nvSpPr>
        <p:spPr bwMode="gray">
          <a:xfrm>
            <a:off x="6364100" y="2912880"/>
            <a:ext cx="163864" cy="314723"/>
          </a:xfrm>
          <a:custGeom>
            <a:avLst/>
            <a:gdLst/>
            <a:ahLst/>
            <a:cxnLst>
              <a:cxn ang="0">
                <a:pos x="77" y="121"/>
              </a:cxn>
              <a:cxn ang="0">
                <a:pos x="84" y="108"/>
              </a:cxn>
              <a:cxn ang="0">
                <a:pos x="99" y="103"/>
              </a:cxn>
              <a:cxn ang="0">
                <a:pos x="121" y="103"/>
              </a:cxn>
              <a:cxn ang="0">
                <a:pos x="124" y="105"/>
              </a:cxn>
              <a:cxn ang="0">
                <a:pos x="126" y="87"/>
              </a:cxn>
              <a:cxn ang="0">
                <a:pos x="119" y="73"/>
              </a:cxn>
              <a:cxn ang="0">
                <a:pos x="114" y="67"/>
              </a:cxn>
              <a:cxn ang="0">
                <a:pos x="114" y="51"/>
              </a:cxn>
              <a:cxn ang="0">
                <a:pos x="102" y="38"/>
              </a:cxn>
              <a:cxn ang="0">
                <a:pos x="87" y="40"/>
              </a:cxn>
              <a:cxn ang="0">
                <a:pos x="79" y="44"/>
              </a:cxn>
              <a:cxn ang="0">
                <a:pos x="72" y="40"/>
              </a:cxn>
              <a:cxn ang="0">
                <a:pos x="57" y="50"/>
              </a:cxn>
              <a:cxn ang="0">
                <a:pos x="51" y="48"/>
              </a:cxn>
              <a:cxn ang="0">
                <a:pos x="55" y="36"/>
              </a:cxn>
              <a:cxn ang="0">
                <a:pos x="57" y="24"/>
              </a:cxn>
              <a:cxn ang="0">
                <a:pos x="54" y="16"/>
              </a:cxn>
              <a:cxn ang="0">
                <a:pos x="45" y="16"/>
              </a:cxn>
              <a:cxn ang="0">
                <a:pos x="44" y="4"/>
              </a:cxn>
              <a:cxn ang="0">
                <a:pos x="41" y="0"/>
              </a:cxn>
              <a:cxn ang="0">
                <a:pos x="31" y="6"/>
              </a:cxn>
              <a:cxn ang="0">
                <a:pos x="21" y="13"/>
              </a:cxn>
              <a:cxn ang="0">
                <a:pos x="7" y="14"/>
              </a:cxn>
              <a:cxn ang="0">
                <a:pos x="0" y="44"/>
              </a:cxn>
              <a:cxn ang="0">
                <a:pos x="8" y="57"/>
              </a:cxn>
              <a:cxn ang="0">
                <a:pos x="13" y="64"/>
              </a:cxn>
              <a:cxn ang="0">
                <a:pos x="17" y="71"/>
              </a:cxn>
              <a:cxn ang="0">
                <a:pos x="14" y="77"/>
              </a:cxn>
              <a:cxn ang="0">
                <a:pos x="11" y="88"/>
              </a:cxn>
              <a:cxn ang="0">
                <a:pos x="13" y="101"/>
              </a:cxn>
              <a:cxn ang="0">
                <a:pos x="23" y="115"/>
              </a:cxn>
              <a:cxn ang="0">
                <a:pos x="25" y="131"/>
              </a:cxn>
              <a:cxn ang="0">
                <a:pos x="24" y="151"/>
              </a:cxn>
              <a:cxn ang="0">
                <a:pos x="15" y="164"/>
              </a:cxn>
              <a:cxn ang="0">
                <a:pos x="8" y="201"/>
              </a:cxn>
              <a:cxn ang="0">
                <a:pos x="20" y="208"/>
              </a:cxn>
              <a:cxn ang="0">
                <a:pos x="37" y="231"/>
              </a:cxn>
              <a:cxn ang="0">
                <a:pos x="52" y="235"/>
              </a:cxn>
              <a:cxn ang="0">
                <a:pos x="55" y="242"/>
              </a:cxn>
              <a:cxn ang="0">
                <a:pos x="68" y="241"/>
              </a:cxn>
              <a:cxn ang="0">
                <a:pos x="72" y="235"/>
              </a:cxn>
              <a:cxn ang="0">
                <a:pos x="54" y="225"/>
              </a:cxn>
              <a:cxn ang="0">
                <a:pos x="44" y="218"/>
              </a:cxn>
              <a:cxn ang="0">
                <a:pos x="41" y="202"/>
              </a:cxn>
              <a:cxn ang="0">
                <a:pos x="37" y="192"/>
              </a:cxn>
              <a:cxn ang="0">
                <a:pos x="27" y="184"/>
              </a:cxn>
              <a:cxn ang="0">
                <a:pos x="28" y="158"/>
              </a:cxn>
              <a:cxn ang="0">
                <a:pos x="37" y="132"/>
              </a:cxn>
              <a:cxn ang="0">
                <a:pos x="37" y="124"/>
              </a:cxn>
              <a:cxn ang="0">
                <a:pos x="50" y="120"/>
              </a:cxn>
              <a:cxn ang="0">
                <a:pos x="54" y="130"/>
              </a:cxn>
              <a:cxn ang="0">
                <a:pos x="68" y="132"/>
              </a:cxn>
              <a:cxn ang="0">
                <a:pos x="79" y="141"/>
              </a:cxn>
              <a:cxn ang="0">
                <a:pos x="81" y="141"/>
              </a:cxn>
              <a:cxn ang="0">
                <a:pos x="78" y="128"/>
              </a:cxn>
            </a:cxnLst>
            <a:rect l="0" t="0" r="r" b="b"/>
            <a:pathLst>
              <a:path w="126" h="242">
                <a:moveTo>
                  <a:pt x="78" y="128"/>
                </a:moveTo>
                <a:lnTo>
                  <a:pt x="78" y="128"/>
                </a:lnTo>
                <a:lnTo>
                  <a:pt x="78" y="124"/>
                </a:lnTo>
                <a:lnTo>
                  <a:pt x="77" y="121"/>
                </a:lnTo>
                <a:lnTo>
                  <a:pt x="75" y="118"/>
                </a:lnTo>
                <a:lnTo>
                  <a:pt x="78" y="114"/>
                </a:lnTo>
                <a:lnTo>
                  <a:pt x="78" y="114"/>
                </a:lnTo>
                <a:lnTo>
                  <a:pt x="84" y="108"/>
                </a:lnTo>
                <a:lnTo>
                  <a:pt x="89" y="104"/>
                </a:lnTo>
                <a:lnTo>
                  <a:pt x="95" y="103"/>
                </a:lnTo>
                <a:lnTo>
                  <a:pt x="99" y="103"/>
                </a:lnTo>
                <a:lnTo>
                  <a:pt x="99" y="103"/>
                </a:lnTo>
                <a:lnTo>
                  <a:pt x="105" y="103"/>
                </a:lnTo>
                <a:lnTo>
                  <a:pt x="112" y="103"/>
                </a:lnTo>
                <a:lnTo>
                  <a:pt x="118" y="103"/>
                </a:lnTo>
                <a:lnTo>
                  <a:pt x="121" y="103"/>
                </a:lnTo>
                <a:lnTo>
                  <a:pt x="122" y="104"/>
                </a:lnTo>
                <a:lnTo>
                  <a:pt x="122" y="104"/>
                </a:lnTo>
                <a:lnTo>
                  <a:pt x="124" y="105"/>
                </a:lnTo>
                <a:lnTo>
                  <a:pt x="124" y="105"/>
                </a:lnTo>
                <a:lnTo>
                  <a:pt x="126" y="101"/>
                </a:lnTo>
                <a:lnTo>
                  <a:pt x="126" y="97"/>
                </a:lnTo>
                <a:lnTo>
                  <a:pt x="126" y="93"/>
                </a:lnTo>
                <a:lnTo>
                  <a:pt x="126" y="87"/>
                </a:lnTo>
                <a:lnTo>
                  <a:pt x="126" y="87"/>
                </a:lnTo>
                <a:lnTo>
                  <a:pt x="125" y="81"/>
                </a:lnTo>
                <a:lnTo>
                  <a:pt x="122" y="75"/>
                </a:lnTo>
                <a:lnTo>
                  <a:pt x="119" y="73"/>
                </a:lnTo>
                <a:lnTo>
                  <a:pt x="115" y="70"/>
                </a:lnTo>
                <a:lnTo>
                  <a:pt x="115" y="70"/>
                </a:lnTo>
                <a:lnTo>
                  <a:pt x="114" y="68"/>
                </a:lnTo>
                <a:lnTo>
                  <a:pt x="114" y="67"/>
                </a:lnTo>
                <a:lnTo>
                  <a:pt x="114" y="61"/>
                </a:lnTo>
                <a:lnTo>
                  <a:pt x="115" y="54"/>
                </a:lnTo>
                <a:lnTo>
                  <a:pt x="115" y="53"/>
                </a:lnTo>
                <a:lnTo>
                  <a:pt x="114" y="51"/>
                </a:lnTo>
                <a:lnTo>
                  <a:pt x="114" y="51"/>
                </a:lnTo>
                <a:lnTo>
                  <a:pt x="108" y="46"/>
                </a:lnTo>
                <a:lnTo>
                  <a:pt x="102" y="38"/>
                </a:lnTo>
                <a:lnTo>
                  <a:pt x="102" y="38"/>
                </a:lnTo>
                <a:lnTo>
                  <a:pt x="98" y="37"/>
                </a:lnTo>
                <a:lnTo>
                  <a:pt x="94" y="37"/>
                </a:lnTo>
                <a:lnTo>
                  <a:pt x="89" y="37"/>
                </a:lnTo>
                <a:lnTo>
                  <a:pt x="87" y="40"/>
                </a:lnTo>
                <a:lnTo>
                  <a:pt x="87" y="40"/>
                </a:lnTo>
                <a:lnTo>
                  <a:pt x="85" y="41"/>
                </a:lnTo>
                <a:lnTo>
                  <a:pt x="82" y="43"/>
                </a:lnTo>
                <a:lnTo>
                  <a:pt x="79" y="44"/>
                </a:lnTo>
                <a:lnTo>
                  <a:pt x="77" y="43"/>
                </a:lnTo>
                <a:lnTo>
                  <a:pt x="77" y="43"/>
                </a:lnTo>
                <a:lnTo>
                  <a:pt x="75" y="41"/>
                </a:lnTo>
                <a:lnTo>
                  <a:pt x="72" y="40"/>
                </a:lnTo>
                <a:lnTo>
                  <a:pt x="69" y="41"/>
                </a:lnTo>
                <a:lnTo>
                  <a:pt x="65" y="43"/>
                </a:lnTo>
                <a:lnTo>
                  <a:pt x="65" y="43"/>
                </a:lnTo>
                <a:lnTo>
                  <a:pt x="57" y="50"/>
                </a:lnTo>
                <a:lnTo>
                  <a:pt x="52" y="51"/>
                </a:lnTo>
                <a:lnTo>
                  <a:pt x="51" y="50"/>
                </a:lnTo>
                <a:lnTo>
                  <a:pt x="51" y="48"/>
                </a:lnTo>
                <a:lnTo>
                  <a:pt x="51" y="48"/>
                </a:lnTo>
                <a:lnTo>
                  <a:pt x="51" y="46"/>
                </a:lnTo>
                <a:lnTo>
                  <a:pt x="52" y="43"/>
                </a:lnTo>
                <a:lnTo>
                  <a:pt x="54" y="40"/>
                </a:lnTo>
                <a:lnTo>
                  <a:pt x="55" y="36"/>
                </a:lnTo>
                <a:lnTo>
                  <a:pt x="55" y="36"/>
                </a:lnTo>
                <a:lnTo>
                  <a:pt x="55" y="31"/>
                </a:lnTo>
                <a:lnTo>
                  <a:pt x="57" y="27"/>
                </a:lnTo>
                <a:lnTo>
                  <a:pt x="57" y="24"/>
                </a:lnTo>
                <a:lnTo>
                  <a:pt x="57" y="19"/>
                </a:lnTo>
                <a:lnTo>
                  <a:pt x="57" y="19"/>
                </a:lnTo>
                <a:lnTo>
                  <a:pt x="55" y="17"/>
                </a:lnTo>
                <a:lnTo>
                  <a:pt x="54" y="16"/>
                </a:lnTo>
                <a:lnTo>
                  <a:pt x="51" y="16"/>
                </a:lnTo>
                <a:lnTo>
                  <a:pt x="47" y="17"/>
                </a:lnTo>
                <a:lnTo>
                  <a:pt x="47" y="16"/>
                </a:lnTo>
                <a:lnTo>
                  <a:pt x="45" y="16"/>
                </a:lnTo>
                <a:lnTo>
                  <a:pt x="45" y="16"/>
                </a:lnTo>
                <a:lnTo>
                  <a:pt x="44" y="11"/>
                </a:lnTo>
                <a:lnTo>
                  <a:pt x="44" y="7"/>
                </a:lnTo>
                <a:lnTo>
                  <a:pt x="44" y="4"/>
                </a:lnTo>
                <a:lnTo>
                  <a:pt x="44" y="3"/>
                </a:lnTo>
                <a:lnTo>
                  <a:pt x="44" y="3"/>
                </a:lnTo>
                <a:lnTo>
                  <a:pt x="41" y="0"/>
                </a:lnTo>
                <a:lnTo>
                  <a:pt x="41" y="0"/>
                </a:lnTo>
                <a:lnTo>
                  <a:pt x="38" y="2"/>
                </a:lnTo>
                <a:lnTo>
                  <a:pt x="38" y="2"/>
                </a:lnTo>
                <a:lnTo>
                  <a:pt x="35" y="4"/>
                </a:lnTo>
                <a:lnTo>
                  <a:pt x="31" y="6"/>
                </a:lnTo>
                <a:lnTo>
                  <a:pt x="27" y="7"/>
                </a:lnTo>
                <a:lnTo>
                  <a:pt x="24" y="10"/>
                </a:lnTo>
                <a:lnTo>
                  <a:pt x="24" y="10"/>
                </a:lnTo>
                <a:lnTo>
                  <a:pt x="21" y="13"/>
                </a:lnTo>
                <a:lnTo>
                  <a:pt x="17" y="14"/>
                </a:lnTo>
                <a:lnTo>
                  <a:pt x="11" y="14"/>
                </a:lnTo>
                <a:lnTo>
                  <a:pt x="11" y="14"/>
                </a:lnTo>
                <a:lnTo>
                  <a:pt x="7" y="14"/>
                </a:lnTo>
                <a:lnTo>
                  <a:pt x="4" y="16"/>
                </a:lnTo>
                <a:lnTo>
                  <a:pt x="3" y="19"/>
                </a:lnTo>
                <a:lnTo>
                  <a:pt x="3" y="19"/>
                </a:lnTo>
                <a:lnTo>
                  <a:pt x="0" y="44"/>
                </a:lnTo>
                <a:lnTo>
                  <a:pt x="0" y="44"/>
                </a:lnTo>
                <a:lnTo>
                  <a:pt x="1" y="48"/>
                </a:lnTo>
                <a:lnTo>
                  <a:pt x="4" y="53"/>
                </a:lnTo>
                <a:lnTo>
                  <a:pt x="8" y="57"/>
                </a:lnTo>
                <a:lnTo>
                  <a:pt x="11" y="58"/>
                </a:lnTo>
                <a:lnTo>
                  <a:pt x="11" y="58"/>
                </a:lnTo>
                <a:lnTo>
                  <a:pt x="13" y="61"/>
                </a:lnTo>
                <a:lnTo>
                  <a:pt x="13" y="64"/>
                </a:lnTo>
                <a:lnTo>
                  <a:pt x="13" y="67"/>
                </a:lnTo>
                <a:lnTo>
                  <a:pt x="14" y="70"/>
                </a:lnTo>
                <a:lnTo>
                  <a:pt x="14" y="70"/>
                </a:lnTo>
                <a:lnTo>
                  <a:pt x="17" y="71"/>
                </a:lnTo>
                <a:lnTo>
                  <a:pt x="17" y="74"/>
                </a:lnTo>
                <a:lnTo>
                  <a:pt x="15" y="77"/>
                </a:lnTo>
                <a:lnTo>
                  <a:pt x="14" y="77"/>
                </a:lnTo>
                <a:lnTo>
                  <a:pt x="14" y="77"/>
                </a:lnTo>
                <a:lnTo>
                  <a:pt x="13" y="78"/>
                </a:lnTo>
                <a:lnTo>
                  <a:pt x="14" y="81"/>
                </a:lnTo>
                <a:lnTo>
                  <a:pt x="13" y="85"/>
                </a:lnTo>
                <a:lnTo>
                  <a:pt x="11" y="88"/>
                </a:lnTo>
                <a:lnTo>
                  <a:pt x="11" y="88"/>
                </a:lnTo>
                <a:lnTo>
                  <a:pt x="10" y="93"/>
                </a:lnTo>
                <a:lnTo>
                  <a:pt x="11" y="97"/>
                </a:lnTo>
                <a:lnTo>
                  <a:pt x="13" y="101"/>
                </a:lnTo>
                <a:lnTo>
                  <a:pt x="17" y="105"/>
                </a:lnTo>
                <a:lnTo>
                  <a:pt x="17" y="105"/>
                </a:lnTo>
                <a:lnTo>
                  <a:pt x="21" y="111"/>
                </a:lnTo>
                <a:lnTo>
                  <a:pt x="23" y="115"/>
                </a:lnTo>
                <a:lnTo>
                  <a:pt x="24" y="125"/>
                </a:lnTo>
                <a:lnTo>
                  <a:pt x="24" y="125"/>
                </a:lnTo>
                <a:lnTo>
                  <a:pt x="24" y="128"/>
                </a:lnTo>
                <a:lnTo>
                  <a:pt x="25" y="131"/>
                </a:lnTo>
                <a:lnTo>
                  <a:pt x="28" y="134"/>
                </a:lnTo>
                <a:lnTo>
                  <a:pt x="28" y="138"/>
                </a:lnTo>
                <a:lnTo>
                  <a:pt x="28" y="138"/>
                </a:lnTo>
                <a:lnTo>
                  <a:pt x="24" y="151"/>
                </a:lnTo>
                <a:lnTo>
                  <a:pt x="20" y="161"/>
                </a:lnTo>
                <a:lnTo>
                  <a:pt x="17" y="164"/>
                </a:lnTo>
                <a:lnTo>
                  <a:pt x="15" y="164"/>
                </a:lnTo>
                <a:lnTo>
                  <a:pt x="15" y="164"/>
                </a:lnTo>
                <a:lnTo>
                  <a:pt x="10" y="188"/>
                </a:lnTo>
                <a:lnTo>
                  <a:pt x="10" y="188"/>
                </a:lnTo>
                <a:lnTo>
                  <a:pt x="8" y="198"/>
                </a:lnTo>
                <a:lnTo>
                  <a:pt x="8" y="201"/>
                </a:lnTo>
                <a:lnTo>
                  <a:pt x="11" y="202"/>
                </a:lnTo>
                <a:lnTo>
                  <a:pt x="11" y="202"/>
                </a:lnTo>
                <a:lnTo>
                  <a:pt x="15" y="204"/>
                </a:lnTo>
                <a:lnTo>
                  <a:pt x="20" y="208"/>
                </a:lnTo>
                <a:lnTo>
                  <a:pt x="32" y="222"/>
                </a:lnTo>
                <a:lnTo>
                  <a:pt x="32" y="222"/>
                </a:lnTo>
                <a:lnTo>
                  <a:pt x="37" y="231"/>
                </a:lnTo>
                <a:lnTo>
                  <a:pt x="37" y="231"/>
                </a:lnTo>
                <a:lnTo>
                  <a:pt x="47" y="231"/>
                </a:lnTo>
                <a:lnTo>
                  <a:pt x="47" y="231"/>
                </a:lnTo>
                <a:lnTo>
                  <a:pt x="50" y="232"/>
                </a:lnTo>
                <a:lnTo>
                  <a:pt x="52" y="235"/>
                </a:lnTo>
                <a:lnTo>
                  <a:pt x="54" y="238"/>
                </a:lnTo>
                <a:lnTo>
                  <a:pt x="54" y="241"/>
                </a:lnTo>
                <a:lnTo>
                  <a:pt x="54" y="241"/>
                </a:lnTo>
                <a:lnTo>
                  <a:pt x="55" y="242"/>
                </a:lnTo>
                <a:lnTo>
                  <a:pt x="60" y="242"/>
                </a:lnTo>
                <a:lnTo>
                  <a:pt x="67" y="242"/>
                </a:lnTo>
                <a:lnTo>
                  <a:pt x="67" y="242"/>
                </a:lnTo>
                <a:lnTo>
                  <a:pt x="68" y="241"/>
                </a:lnTo>
                <a:lnTo>
                  <a:pt x="68" y="239"/>
                </a:lnTo>
                <a:lnTo>
                  <a:pt x="69" y="238"/>
                </a:lnTo>
                <a:lnTo>
                  <a:pt x="72" y="235"/>
                </a:lnTo>
                <a:lnTo>
                  <a:pt x="72" y="235"/>
                </a:lnTo>
                <a:lnTo>
                  <a:pt x="68" y="232"/>
                </a:lnTo>
                <a:lnTo>
                  <a:pt x="64" y="229"/>
                </a:lnTo>
                <a:lnTo>
                  <a:pt x="58" y="226"/>
                </a:lnTo>
                <a:lnTo>
                  <a:pt x="54" y="225"/>
                </a:lnTo>
                <a:lnTo>
                  <a:pt x="54" y="225"/>
                </a:lnTo>
                <a:lnTo>
                  <a:pt x="51" y="223"/>
                </a:lnTo>
                <a:lnTo>
                  <a:pt x="48" y="222"/>
                </a:lnTo>
                <a:lnTo>
                  <a:pt x="44" y="218"/>
                </a:lnTo>
                <a:lnTo>
                  <a:pt x="42" y="212"/>
                </a:lnTo>
                <a:lnTo>
                  <a:pt x="42" y="206"/>
                </a:lnTo>
                <a:lnTo>
                  <a:pt x="42" y="206"/>
                </a:lnTo>
                <a:lnTo>
                  <a:pt x="41" y="202"/>
                </a:lnTo>
                <a:lnTo>
                  <a:pt x="40" y="199"/>
                </a:lnTo>
                <a:lnTo>
                  <a:pt x="37" y="195"/>
                </a:lnTo>
                <a:lnTo>
                  <a:pt x="37" y="192"/>
                </a:lnTo>
                <a:lnTo>
                  <a:pt x="37" y="192"/>
                </a:lnTo>
                <a:lnTo>
                  <a:pt x="35" y="189"/>
                </a:lnTo>
                <a:lnTo>
                  <a:pt x="34" y="186"/>
                </a:lnTo>
                <a:lnTo>
                  <a:pt x="27" y="184"/>
                </a:lnTo>
                <a:lnTo>
                  <a:pt x="27" y="184"/>
                </a:lnTo>
                <a:lnTo>
                  <a:pt x="24" y="182"/>
                </a:lnTo>
                <a:lnTo>
                  <a:pt x="24" y="179"/>
                </a:lnTo>
                <a:lnTo>
                  <a:pt x="25" y="172"/>
                </a:lnTo>
                <a:lnTo>
                  <a:pt x="28" y="158"/>
                </a:lnTo>
                <a:lnTo>
                  <a:pt x="28" y="158"/>
                </a:lnTo>
                <a:lnTo>
                  <a:pt x="30" y="151"/>
                </a:lnTo>
                <a:lnTo>
                  <a:pt x="34" y="142"/>
                </a:lnTo>
                <a:lnTo>
                  <a:pt x="37" y="132"/>
                </a:lnTo>
                <a:lnTo>
                  <a:pt x="37" y="128"/>
                </a:lnTo>
                <a:lnTo>
                  <a:pt x="37" y="125"/>
                </a:lnTo>
                <a:lnTo>
                  <a:pt x="37" y="125"/>
                </a:lnTo>
                <a:lnTo>
                  <a:pt x="37" y="124"/>
                </a:lnTo>
                <a:lnTo>
                  <a:pt x="37" y="121"/>
                </a:lnTo>
                <a:lnTo>
                  <a:pt x="41" y="118"/>
                </a:lnTo>
                <a:lnTo>
                  <a:pt x="47" y="118"/>
                </a:lnTo>
                <a:lnTo>
                  <a:pt x="50" y="120"/>
                </a:lnTo>
                <a:lnTo>
                  <a:pt x="51" y="121"/>
                </a:lnTo>
                <a:lnTo>
                  <a:pt x="51" y="121"/>
                </a:lnTo>
                <a:lnTo>
                  <a:pt x="51" y="127"/>
                </a:lnTo>
                <a:lnTo>
                  <a:pt x="54" y="130"/>
                </a:lnTo>
                <a:lnTo>
                  <a:pt x="57" y="131"/>
                </a:lnTo>
                <a:lnTo>
                  <a:pt x="62" y="131"/>
                </a:lnTo>
                <a:lnTo>
                  <a:pt x="62" y="131"/>
                </a:lnTo>
                <a:lnTo>
                  <a:pt x="68" y="132"/>
                </a:lnTo>
                <a:lnTo>
                  <a:pt x="72" y="135"/>
                </a:lnTo>
                <a:lnTo>
                  <a:pt x="75" y="138"/>
                </a:lnTo>
                <a:lnTo>
                  <a:pt x="79" y="141"/>
                </a:lnTo>
                <a:lnTo>
                  <a:pt x="79" y="141"/>
                </a:lnTo>
                <a:lnTo>
                  <a:pt x="81" y="141"/>
                </a:lnTo>
                <a:lnTo>
                  <a:pt x="81" y="141"/>
                </a:lnTo>
                <a:lnTo>
                  <a:pt x="81" y="141"/>
                </a:lnTo>
                <a:lnTo>
                  <a:pt x="81" y="141"/>
                </a:lnTo>
                <a:lnTo>
                  <a:pt x="81" y="137"/>
                </a:lnTo>
                <a:lnTo>
                  <a:pt x="81" y="135"/>
                </a:lnTo>
                <a:lnTo>
                  <a:pt x="79" y="132"/>
                </a:lnTo>
                <a:lnTo>
                  <a:pt x="78" y="128"/>
                </a:lnTo>
                <a:lnTo>
                  <a:pt x="78" y="128"/>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65" name="Freeform 252">
            <a:extLst>
              <a:ext uri="{FF2B5EF4-FFF2-40B4-BE49-F238E27FC236}">
                <a16:creationId xmlns:a16="http://schemas.microsoft.com/office/drawing/2014/main" id="{B4EAE7D0-FFA3-682E-A333-AE55B17268D8}"/>
              </a:ext>
            </a:extLst>
          </p:cNvPr>
          <p:cNvSpPr>
            <a:spLocks/>
          </p:cNvSpPr>
          <p:nvPr userDrawn="1"/>
        </p:nvSpPr>
        <p:spPr bwMode="gray">
          <a:xfrm>
            <a:off x="4650030" y="2058445"/>
            <a:ext cx="198979" cy="162564"/>
          </a:xfrm>
          <a:custGeom>
            <a:avLst/>
            <a:gdLst/>
            <a:ahLst/>
            <a:cxnLst>
              <a:cxn ang="0">
                <a:pos x="3" y="33"/>
              </a:cxn>
              <a:cxn ang="0">
                <a:pos x="2" y="41"/>
              </a:cxn>
              <a:cxn ang="0">
                <a:pos x="2" y="48"/>
              </a:cxn>
              <a:cxn ang="0">
                <a:pos x="6" y="55"/>
              </a:cxn>
              <a:cxn ang="0">
                <a:pos x="8" y="64"/>
              </a:cxn>
              <a:cxn ang="0">
                <a:pos x="12" y="77"/>
              </a:cxn>
              <a:cxn ang="0">
                <a:pos x="12" y="84"/>
              </a:cxn>
              <a:cxn ang="0">
                <a:pos x="22" y="89"/>
              </a:cxn>
              <a:cxn ang="0">
                <a:pos x="32" y="97"/>
              </a:cxn>
              <a:cxn ang="0">
                <a:pos x="36" y="101"/>
              </a:cxn>
              <a:cxn ang="0">
                <a:pos x="40" y="101"/>
              </a:cxn>
              <a:cxn ang="0">
                <a:pos x="50" y="99"/>
              </a:cxn>
              <a:cxn ang="0">
                <a:pos x="53" y="101"/>
              </a:cxn>
              <a:cxn ang="0">
                <a:pos x="56" y="107"/>
              </a:cxn>
              <a:cxn ang="0">
                <a:pos x="64" y="108"/>
              </a:cxn>
              <a:cxn ang="0">
                <a:pos x="70" y="115"/>
              </a:cxn>
              <a:cxn ang="0">
                <a:pos x="74" y="118"/>
              </a:cxn>
              <a:cxn ang="0">
                <a:pos x="82" y="117"/>
              </a:cxn>
              <a:cxn ang="0">
                <a:pos x="92" y="118"/>
              </a:cxn>
              <a:cxn ang="0">
                <a:pos x="99" y="118"/>
              </a:cxn>
              <a:cxn ang="0">
                <a:pos x="107" y="119"/>
              </a:cxn>
              <a:cxn ang="0">
                <a:pos x="121" y="122"/>
              </a:cxn>
              <a:cxn ang="0">
                <a:pos x="131" y="125"/>
              </a:cxn>
              <a:cxn ang="0">
                <a:pos x="130" y="114"/>
              </a:cxn>
              <a:cxn ang="0">
                <a:pos x="146" y="98"/>
              </a:cxn>
              <a:cxn ang="0">
                <a:pos x="150" y="95"/>
              </a:cxn>
              <a:cxn ang="0">
                <a:pos x="153" y="89"/>
              </a:cxn>
              <a:cxn ang="0">
                <a:pos x="146" y="77"/>
              </a:cxn>
              <a:cxn ang="0">
                <a:pos x="144" y="62"/>
              </a:cxn>
              <a:cxn ang="0">
                <a:pos x="140" y="57"/>
              </a:cxn>
              <a:cxn ang="0">
                <a:pos x="140" y="52"/>
              </a:cxn>
              <a:cxn ang="0">
                <a:pos x="148" y="47"/>
              </a:cxn>
              <a:cxn ang="0">
                <a:pos x="150" y="35"/>
              </a:cxn>
              <a:cxn ang="0">
                <a:pos x="146" y="31"/>
              </a:cxn>
              <a:cxn ang="0">
                <a:pos x="146" y="21"/>
              </a:cxn>
              <a:cxn ang="0">
                <a:pos x="144" y="17"/>
              </a:cxn>
              <a:cxn ang="0">
                <a:pos x="133" y="11"/>
              </a:cxn>
              <a:cxn ang="0">
                <a:pos x="121" y="11"/>
              </a:cxn>
              <a:cxn ang="0">
                <a:pos x="90" y="10"/>
              </a:cxn>
              <a:cxn ang="0">
                <a:pos x="79" y="10"/>
              </a:cxn>
              <a:cxn ang="0">
                <a:pos x="70" y="10"/>
              </a:cxn>
              <a:cxn ang="0">
                <a:pos x="66" y="1"/>
              </a:cxn>
              <a:cxn ang="0">
                <a:pos x="52" y="3"/>
              </a:cxn>
              <a:cxn ang="0">
                <a:pos x="32" y="11"/>
              </a:cxn>
              <a:cxn ang="0">
                <a:pos x="25" y="14"/>
              </a:cxn>
              <a:cxn ang="0">
                <a:pos x="8" y="18"/>
              </a:cxn>
              <a:cxn ang="0">
                <a:pos x="5" y="23"/>
              </a:cxn>
              <a:cxn ang="0">
                <a:pos x="2" y="25"/>
              </a:cxn>
            </a:cxnLst>
            <a:rect l="0" t="0" r="r" b="b"/>
            <a:pathLst>
              <a:path w="153" h="125">
                <a:moveTo>
                  <a:pt x="2" y="25"/>
                </a:moveTo>
                <a:lnTo>
                  <a:pt x="2" y="25"/>
                </a:lnTo>
                <a:lnTo>
                  <a:pt x="3" y="33"/>
                </a:lnTo>
                <a:lnTo>
                  <a:pt x="2" y="38"/>
                </a:lnTo>
                <a:lnTo>
                  <a:pt x="2" y="41"/>
                </a:lnTo>
                <a:lnTo>
                  <a:pt x="2" y="41"/>
                </a:lnTo>
                <a:lnTo>
                  <a:pt x="0" y="44"/>
                </a:lnTo>
                <a:lnTo>
                  <a:pt x="0" y="45"/>
                </a:lnTo>
                <a:lnTo>
                  <a:pt x="2" y="48"/>
                </a:lnTo>
                <a:lnTo>
                  <a:pt x="2" y="48"/>
                </a:lnTo>
                <a:lnTo>
                  <a:pt x="5" y="51"/>
                </a:lnTo>
                <a:lnTo>
                  <a:pt x="6" y="55"/>
                </a:lnTo>
                <a:lnTo>
                  <a:pt x="6" y="55"/>
                </a:lnTo>
                <a:lnTo>
                  <a:pt x="8" y="60"/>
                </a:lnTo>
                <a:lnTo>
                  <a:pt x="8" y="64"/>
                </a:lnTo>
                <a:lnTo>
                  <a:pt x="8" y="64"/>
                </a:lnTo>
                <a:lnTo>
                  <a:pt x="9" y="72"/>
                </a:lnTo>
                <a:lnTo>
                  <a:pt x="12" y="77"/>
                </a:lnTo>
                <a:lnTo>
                  <a:pt x="12" y="77"/>
                </a:lnTo>
                <a:lnTo>
                  <a:pt x="13" y="81"/>
                </a:lnTo>
                <a:lnTo>
                  <a:pt x="12" y="84"/>
                </a:lnTo>
                <a:lnTo>
                  <a:pt x="12" y="84"/>
                </a:lnTo>
                <a:lnTo>
                  <a:pt x="22" y="89"/>
                </a:lnTo>
                <a:lnTo>
                  <a:pt x="22" y="89"/>
                </a:lnTo>
                <a:lnTo>
                  <a:pt x="30" y="94"/>
                </a:lnTo>
                <a:lnTo>
                  <a:pt x="32" y="95"/>
                </a:lnTo>
                <a:lnTo>
                  <a:pt x="32" y="97"/>
                </a:lnTo>
                <a:lnTo>
                  <a:pt x="32" y="97"/>
                </a:lnTo>
                <a:lnTo>
                  <a:pt x="33" y="99"/>
                </a:lnTo>
                <a:lnTo>
                  <a:pt x="36" y="101"/>
                </a:lnTo>
                <a:lnTo>
                  <a:pt x="39" y="102"/>
                </a:lnTo>
                <a:lnTo>
                  <a:pt x="40" y="101"/>
                </a:lnTo>
                <a:lnTo>
                  <a:pt x="40" y="101"/>
                </a:lnTo>
                <a:lnTo>
                  <a:pt x="43" y="99"/>
                </a:lnTo>
                <a:lnTo>
                  <a:pt x="45" y="99"/>
                </a:lnTo>
                <a:lnTo>
                  <a:pt x="50" y="99"/>
                </a:lnTo>
                <a:lnTo>
                  <a:pt x="50" y="99"/>
                </a:lnTo>
                <a:lnTo>
                  <a:pt x="52" y="99"/>
                </a:lnTo>
                <a:lnTo>
                  <a:pt x="53" y="101"/>
                </a:lnTo>
                <a:lnTo>
                  <a:pt x="55" y="105"/>
                </a:lnTo>
                <a:lnTo>
                  <a:pt x="55" y="105"/>
                </a:lnTo>
                <a:lnTo>
                  <a:pt x="56" y="107"/>
                </a:lnTo>
                <a:lnTo>
                  <a:pt x="59" y="107"/>
                </a:lnTo>
                <a:lnTo>
                  <a:pt x="64" y="108"/>
                </a:lnTo>
                <a:lnTo>
                  <a:pt x="64" y="108"/>
                </a:lnTo>
                <a:lnTo>
                  <a:pt x="66" y="109"/>
                </a:lnTo>
                <a:lnTo>
                  <a:pt x="67" y="112"/>
                </a:lnTo>
                <a:lnTo>
                  <a:pt x="70" y="115"/>
                </a:lnTo>
                <a:lnTo>
                  <a:pt x="72" y="118"/>
                </a:lnTo>
                <a:lnTo>
                  <a:pt x="72" y="118"/>
                </a:lnTo>
                <a:lnTo>
                  <a:pt x="74" y="118"/>
                </a:lnTo>
                <a:lnTo>
                  <a:pt x="77" y="117"/>
                </a:lnTo>
                <a:lnTo>
                  <a:pt x="80" y="117"/>
                </a:lnTo>
                <a:lnTo>
                  <a:pt x="82" y="117"/>
                </a:lnTo>
                <a:lnTo>
                  <a:pt x="82" y="117"/>
                </a:lnTo>
                <a:lnTo>
                  <a:pt x="87" y="118"/>
                </a:lnTo>
                <a:lnTo>
                  <a:pt x="92" y="118"/>
                </a:lnTo>
                <a:lnTo>
                  <a:pt x="96" y="118"/>
                </a:lnTo>
                <a:lnTo>
                  <a:pt x="96" y="118"/>
                </a:lnTo>
                <a:lnTo>
                  <a:pt x="99" y="118"/>
                </a:lnTo>
                <a:lnTo>
                  <a:pt x="101" y="118"/>
                </a:lnTo>
                <a:lnTo>
                  <a:pt x="104" y="119"/>
                </a:lnTo>
                <a:lnTo>
                  <a:pt x="107" y="119"/>
                </a:lnTo>
                <a:lnTo>
                  <a:pt x="107" y="119"/>
                </a:lnTo>
                <a:lnTo>
                  <a:pt x="116" y="119"/>
                </a:lnTo>
                <a:lnTo>
                  <a:pt x="121" y="122"/>
                </a:lnTo>
                <a:lnTo>
                  <a:pt x="121" y="122"/>
                </a:lnTo>
                <a:lnTo>
                  <a:pt x="124" y="124"/>
                </a:lnTo>
                <a:lnTo>
                  <a:pt x="131" y="125"/>
                </a:lnTo>
                <a:lnTo>
                  <a:pt x="131" y="125"/>
                </a:lnTo>
                <a:lnTo>
                  <a:pt x="131" y="119"/>
                </a:lnTo>
                <a:lnTo>
                  <a:pt x="130" y="114"/>
                </a:lnTo>
                <a:lnTo>
                  <a:pt x="130" y="114"/>
                </a:lnTo>
                <a:lnTo>
                  <a:pt x="137" y="107"/>
                </a:lnTo>
                <a:lnTo>
                  <a:pt x="146" y="98"/>
                </a:lnTo>
                <a:lnTo>
                  <a:pt x="146" y="98"/>
                </a:lnTo>
                <a:lnTo>
                  <a:pt x="148" y="97"/>
                </a:lnTo>
                <a:lnTo>
                  <a:pt x="150" y="95"/>
                </a:lnTo>
                <a:lnTo>
                  <a:pt x="153" y="92"/>
                </a:lnTo>
                <a:lnTo>
                  <a:pt x="153" y="92"/>
                </a:lnTo>
                <a:lnTo>
                  <a:pt x="153" y="89"/>
                </a:lnTo>
                <a:lnTo>
                  <a:pt x="150" y="85"/>
                </a:lnTo>
                <a:lnTo>
                  <a:pt x="146" y="77"/>
                </a:lnTo>
                <a:lnTo>
                  <a:pt x="146" y="77"/>
                </a:lnTo>
                <a:lnTo>
                  <a:pt x="144" y="71"/>
                </a:lnTo>
                <a:lnTo>
                  <a:pt x="144" y="62"/>
                </a:lnTo>
                <a:lnTo>
                  <a:pt x="144" y="62"/>
                </a:lnTo>
                <a:lnTo>
                  <a:pt x="144" y="61"/>
                </a:lnTo>
                <a:lnTo>
                  <a:pt x="143" y="58"/>
                </a:lnTo>
                <a:lnTo>
                  <a:pt x="140" y="57"/>
                </a:lnTo>
                <a:lnTo>
                  <a:pt x="140" y="55"/>
                </a:lnTo>
                <a:lnTo>
                  <a:pt x="140" y="55"/>
                </a:lnTo>
                <a:lnTo>
                  <a:pt x="140" y="52"/>
                </a:lnTo>
                <a:lnTo>
                  <a:pt x="143" y="51"/>
                </a:lnTo>
                <a:lnTo>
                  <a:pt x="148" y="47"/>
                </a:lnTo>
                <a:lnTo>
                  <a:pt x="148" y="47"/>
                </a:lnTo>
                <a:lnTo>
                  <a:pt x="150" y="44"/>
                </a:lnTo>
                <a:lnTo>
                  <a:pt x="150" y="40"/>
                </a:lnTo>
                <a:lnTo>
                  <a:pt x="150" y="35"/>
                </a:lnTo>
                <a:lnTo>
                  <a:pt x="148" y="33"/>
                </a:lnTo>
                <a:lnTo>
                  <a:pt x="148" y="33"/>
                </a:lnTo>
                <a:lnTo>
                  <a:pt x="146" y="31"/>
                </a:lnTo>
                <a:lnTo>
                  <a:pt x="146" y="28"/>
                </a:lnTo>
                <a:lnTo>
                  <a:pt x="144" y="24"/>
                </a:lnTo>
                <a:lnTo>
                  <a:pt x="146" y="21"/>
                </a:lnTo>
                <a:lnTo>
                  <a:pt x="146" y="21"/>
                </a:lnTo>
                <a:lnTo>
                  <a:pt x="146" y="18"/>
                </a:lnTo>
                <a:lnTo>
                  <a:pt x="144" y="17"/>
                </a:lnTo>
                <a:lnTo>
                  <a:pt x="140" y="14"/>
                </a:lnTo>
                <a:lnTo>
                  <a:pt x="133" y="11"/>
                </a:lnTo>
                <a:lnTo>
                  <a:pt x="133" y="11"/>
                </a:lnTo>
                <a:lnTo>
                  <a:pt x="133" y="11"/>
                </a:lnTo>
                <a:lnTo>
                  <a:pt x="133" y="11"/>
                </a:lnTo>
                <a:lnTo>
                  <a:pt x="121" y="11"/>
                </a:lnTo>
                <a:lnTo>
                  <a:pt x="109" y="11"/>
                </a:lnTo>
                <a:lnTo>
                  <a:pt x="90" y="10"/>
                </a:lnTo>
                <a:lnTo>
                  <a:pt x="90" y="10"/>
                </a:lnTo>
                <a:lnTo>
                  <a:pt x="83" y="7"/>
                </a:lnTo>
                <a:lnTo>
                  <a:pt x="83" y="7"/>
                </a:lnTo>
                <a:lnTo>
                  <a:pt x="79" y="10"/>
                </a:lnTo>
                <a:lnTo>
                  <a:pt x="74" y="11"/>
                </a:lnTo>
                <a:lnTo>
                  <a:pt x="74" y="11"/>
                </a:lnTo>
                <a:lnTo>
                  <a:pt x="70" y="10"/>
                </a:lnTo>
                <a:lnTo>
                  <a:pt x="67" y="7"/>
                </a:lnTo>
                <a:lnTo>
                  <a:pt x="66" y="1"/>
                </a:lnTo>
                <a:lnTo>
                  <a:pt x="66" y="1"/>
                </a:lnTo>
                <a:lnTo>
                  <a:pt x="64" y="0"/>
                </a:lnTo>
                <a:lnTo>
                  <a:pt x="62" y="0"/>
                </a:lnTo>
                <a:lnTo>
                  <a:pt x="52" y="3"/>
                </a:lnTo>
                <a:lnTo>
                  <a:pt x="40" y="6"/>
                </a:lnTo>
                <a:lnTo>
                  <a:pt x="35" y="8"/>
                </a:lnTo>
                <a:lnTo>
                  <a:pt x="32" y="11"/>
                </a:lnTo>
                <a:lnTo>
                  <a:pt x="32" y="11"/>
                </a:lnTo>
                <a:lnTo>
                  <a:pt x="27" y="13"/>
                </a:lnTo>
                <a:lnTo>
                  <a:pt x="25" y="14"/>
                </a:lnTo>
                <a:lnTo>
                  <a:pt x="16" y="17"/>
                </a:lnTo>
                <a:lnTo>
                  <a:pt x="9" y="17"/>
                </a:lnTo>
                <a:lnTo>
                  <a:pt x="8" y="18"/>
                </a:lnTo>
                <a:lnTo>
                  <a:pt x="6" y="20"/>
                </a:lnTo>
                <a:lnTo>
                  <a:pt x="6" y="20"/>
                </a:lnTo>
                <a:lnTo>
                  <a:pt x="5" y="23"/>
                </a:lnTo>
                <a:lnTo>
                  <a:pt x="2" y="23"/>
                </a:lnTo>
                <a:lnTo>
                  <a:pt x="2" y="23"/>
                </a:lnTo>
                <a:lnTo>
                  <a:pt x="2" y="25"/>
                </a:lnTo>
                <a:lnTo>
                  <a:pt x="2" y="25"/>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66" name="Freeform 253">
            <a:extLst>
              <a:ext uri="{FF2B5EF4-FFF2-40B4-BE49-F238E27FC236}">
                <a16:creationId xmlns:a16="http://schemas.microsoft.com/office/drawing/2014/main" id="{E6D188AB-7EE6-2EC5-843A-E53B2CAF6F0C}"/>
              </a:ext>
            </a:extLst>
          </p:cNvPr>
          <p:cNvSpPr>
            <a:spLocks/>
          </p:cNvSpPr>
          <p:nvPr userDrawn="1"/>
        </p:nvSpPr>
        <p:spPr bwMode="gray">
          <a:xfrm>
            <a:off x="4678641" y="2325051"/>
            <a:ext cx="74129" cy="70228"/>
          </a:xfrm>
          <a:custGeom>
            <a:avLst/>
            <a:gdLst/>
            <a:ahLst/>
            <a:cxnLst>
              <a:cxn ang="0">
                <a:pos x="42" y="49"/>
              </a:cxn>
              <a:cxn ang="0">
                <a:pos x="42" y="49"/>
              </a:cxn>
              <a:cxn ang="0">
                <a:pos x="44" y="45"/>
              </a:cxn>
              <a:cxn ang="0">
                <a:pos x="47" y="38"/>
              </a:cxn>
              <a:cxn ang="0">
                <a:pos x="51" y="34"/>
              </a:cxn>
              <a:cxn ang="0">
                <a:pos x="55" y="31"/>
              </a:cxn>
              <a:cxn ang="0">
                <a:pos x="55" y="31"/>
              </a:cxn>
              <a:cxn ang="0">
                <a:pos x="55" y="28"/>
              </a:cxn>
              <a:cxn ang="0">
                <a:pos x="57" y="22"/>
              </a:cxn>
              <a:cxn ang="0">
                <a:pos x="57" y="10"/>
              </a:cxn>
              <a:cxn ang="0">
                <a:pos x="57" y="10"/>
              </a:cxn>
              <a:cxn ang="0">
                <a:pos x="47" y="4"/>
              </a:cxn>
              <a:cxn ang="0">
                <a:pos x="42" y="3"/>
              </a:cxn>
              <a:cxn ang="0">
                <a:pos x="42" y="3"/>
              </a:cxn>
              <a:cxn ang="0">
                <a:pos x="31" y="1"/>
              </a:cxn>
              <a:cxn ang="0">
                <a:pos x="17" y="0"/>
              </a:cxn>
              <a:cxn ang="0">
                <a:pos x="17" y="0"/>
              </a:cxn>
              <a:cxn ang="0">
                <a:pos x="14" y="0"/>
              </a:cxn>
              <a:cxn ang="0">
                <a:pos x="13" y="1"/>
              </a:cxn>
              <a:cxn ang="0">
                <a:pos x="10" y="3"/>
              </a:cxn>
              <a:cxn ang="0">
                <a:pos x="7" y="3"/>
              </a:cxn>
              <a:cxn ang="0">
                <a:pos x="7" y="3"/>
              </a:cxn>
              <a:cxn ang="0">
                <a:pos x="4" y="1"/>
              </a:cxn>
              <a:cxn ang="0">
                <a:pos x="3" y="1"/>
              </a:cxn>
              <a:cxn ang="0">
                <a:pos x="0" y="4"/>
              </a:cxn>
              <a:cxn ang="0">
                <a:pos x="0" y="7"/>
              </a:cxn>
              <a:cxn ang="0">
                <a:pos x="0" y="7"/>
              </a:cxn>
              <a:cxn ang="0">
                <a:pos x="1" y="8"/>
              </a:cxn>
              <a:cxn ang="0">
                <a:pos x="4" y="11"/>
              </a:cxn>
              <a:cxn ang="0">
                <a:pos x="7" y="14"/>
              </a:cxn>
              <a:cxn ang="0">
                <a:pos x="7" y="17"/>
              </a:cxn>
              <a:cxn ang="0">
                <a:pos x="7" y="17"/>
              </a:cxn>
              <a:cxn ang="0">
                <a:pos x="8" y="20"/>
              </a:cxn>
              <a:cxn ang="0">
                <a:pos x="10" y="21"/>
              </a:cxn>
              <a:cxn ang="0">
                <a:pos x="14" y="25"/>
              </a:cxn>
              <a:cxn ang="0">
                <a:pos x="18" y="30"/>
              </a:cxn>
              <a:cxn ang="0">
                <a:pos x="21" y="32"/>
              </a:cxn>
              <a:cxn ang="0">
                <a:pos x="21" y="32"/>
              </a:cxn>
              <a:cxn ang="0">
                <a:pos x="21" y="35"/>
              </a:cxn>
              <a:cxn ang="0">
                <a:pos x="25" y="38"/>
              </a:cxn>
              <a:cxn ang="0">
                <a:pos x="30" y="42"/>
              </a:cxn>
              <a:cxn ang="0">
                <a:pos x="34" y="48"/>
              </a:cxn>
              <a:cxn ang="0">
                <a:pos x="34" y="48"/>
              </a:cxn>
              <a:cxn ang="0">
                <a:pos x="42" y="54"/>
              </a:cxn>
              <a:cxn ang="0">
                <a:pos x="42" y="54"/>
              </a:cxn>
              <a:cxn ang="0">
                <a:pos x="42" y="49"/>
              </a:cxn>
              <a:cxn ang="0">
                <a:pos x="42" y="49"/>
              </a:cxn>
            </a:cxnLst>
            <a:rect l="0" t="0" r="r" b="b"/>
            <a:pathLst>
              <a:path w="57" h="54">
                <a:moveTo>
                  <a:pt x="42" y="49"/>
                </a:moveTo>
                <a:lnTo>
                  <a:pt x="42" y="49"/>
                </a:lnTo>
                <a:lnTo>
                  <a:pt x="44" y="45"/>
                </a:lnTo>
                <a:lnTo>
                  <a:pt x="47" y="38"/>
                </a:lnTo>
                <a:lnTo>
                  <a:pt x="51" y="34"/>
                </a:lnTo>
                <a:lnTo>
                  <a:pt x="55" y="31"/>
                </a:lnTo>
                <a:lnTo>
                  <a:pt x="55" y="31"/>
                </a:lnTo>
                <a:lnTo>
                  <a:pt x="55" y="28"/>
                </a:lnTo>
                <a:lnTo>
                  <a:pt x="57" y="22"/>
                </a:lnTo>
                <a:lnTo>
                  <a:pt x="57" y="10"/>
                </a:lnTo>
                <a:lnTo>
                  <a:pt x="57" y="10"/>
                </a:lnTo>
                <a:lnTo>
                  <a:pt x="47" y="4"/>
                </a:lnTo>
                <a:lnTo>
                  <a:pt x="42" y="3"/>
                </a:lnTo>
                <a:lnTo>
                  <a:pt x="42" y="3"/>
                </a:lnTo>
                <a:lnTo>
                  <a:pt x="31" y="1"/>
                </a:lnTo>
                <a:lnTo>
                  <a:pt x="17" y="0"/>
                </a:lnTo>
                <a:lnTo>
                  <a:pt x="17" y="0"/>
                </a:lnTo>
                <a:lnTo>
                  <a:pt x="14" y="0"/>
                </a:lnTo>
                <a:lnTo>
                  <a:pt x="13" y="1"/>
                </a:lnTo>
                <a:lnTo>
                  <a:pt x="10" y="3"/>
                </a:lnTo>
                <a:lnTo>
                  <a:pt x="7" y="3"/>
                </a:lnTo>
                <a:lnTo>
                  <a:pt x="7" y="3"/>
                </a:lnTo>
                <a:lnTo>
                  <a:pt x="4" y="1"/>
                </a:lnTo>
                <a:lnTo>
                  <a:pt x="3" y="1"/>
                </a:lnTo>
                <a:lnTo>
                  <a:pt x="0" y="4"/>
                </a:lnTo>
                <a:lnTo>
                  <a:pt x="0" y="7"/>
                </a:lnTo>
                <a:lnTo>
                  <a:pt x="0" y="7"/>
                </a:lnTo>
                <a:lnTo>
                  <a:pt x="1" y="8"/>
                </a:lnTo>
                <a:lnTo>
                  <a:pt x="4" y="11"/>
                </a:lnTo>
                <a:lnTo>
                  <a:pt x="7" y="14"/>
                </a:lnTo>
                <a:lnTo>
                  <a:pt x="7" y="17"/>
                </a:lnTo>
                <a:lnTo>
                  <a:pt x="7" y="17"/>
                </a:lnTo>
                <a:lnTo>
                  <a:pt x="8" y="20"/>
                </a:lnTo>
                <a:lnTo>
                  <a:pt x="10" y="21"/>
                </a:lnTo>
                <a:lnTo>
                  <a:pt x="14" y="25"/>
                </a:lnTo>
                <a:lnTo>
                  <a:pt x="18" y="30"/>
                </a:lnTo>
                <a:lnTo>
                  <a:pt x="21" y="32"/>
                </a:lnTo>
                <a:lnTo>
                  <a:pt x="21" y="32"/>
                </a:lnTo>
                <a:lnTo>
                  <a:pt x="21" y="35"/>
                </a:lnTo>
                <a:lnTo>
                  <a:pt x="25" y="38"/>
                </a:lnTo>
                <a:lnTo>
                  <a:pt x="30" y="42"/>
                </a:lnTo>
                <a:lnTo>
                  <a:pt x="34" y="48"/>
                </a:lnTo>
                <a:lnTo>
                  <a:pt x="34" y="48"/>
                </a:lnTo>
                <a:lnTo>
                  <a:pt x="42" y="54"/>
                </a:lnTo>
                <a:lnTo>
                  <a:pt x="42" y="54"/>
                </a:lnTo>
                <a:lnTo>
                  <a:pt x="42" y="49"/>
                </a:lnTo>
                <a:lnTo>
                  <a:pt x="42" y="49"/>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67" name="Freeform 254">
            <a:extLst>
              <a:ext uri="{FF2B5EF4-FFF2-40B4-BE49-F238E27FC236}">
                <a16:creationId xmlns:a16="http://schemas.microsoft.com/office/drawing/2014/main" id="{47D791DD-2183-F6F8-A51D-E54946D303B1}"/>
              </a:ext>
            </a:extLst>
          </p:cNvPr>
          <p:cNvSpPr>
            <a:spLocks/>
          </p:cNvSpPr>
          <p:nvPr userDrawn="1"/>
        </p:nvSpPr>
        <p:spPr bwMode="gray">
          <a:xfrm>
            <a:off x="4640927" y="2289936"/>
            <a:ext cx="111844" cy="97539"/>
          </a:xfrm>
          <a:custGeom>
            <a:avLst/>
            <a:gdLst/>
            <a:ahLst/>
            <a:cxnLst>
              <a:cxn ang="0">
                <a:pos x="50" y="59"/>
              </a:cxn>
              <a:cxn ang="0">
                <a:pos x="43" y="52"/>
              </a:cxn>
              <a:cxn ang="0">
                <a:pos x="37" y="47"/>
              </a:cxn>
              <a:cxn ang="0">
                <a:pos x="36" y="44"/>
              </a:cxn>
              <a:cxn ang="0">
                <a:pos x="33" y="38"/>
              </a:cxn>
              <a:cxn ang="0">
                <a:pos x="29" y="34"/>
              </a:cxn>
              <a:cxn ang="0">
                <a:pos x="29" y="31"/>
              </a:cxn>
              <a:cxn ang="0">
                <a:pos x="33" y="28"/>
              </a:cxn>
              <a:cxn ang="0">
                <a:pos x="36" y="30"/>
              </a:cxn>
              <a:cxn ang="0">
                <a:pos x="42" y="28"/>
              </a:cxn>
              <a:cxn ang="0">
                <a:pos x="46" y="27"/>
              </a:cxn>
              <a:cxn ang="0">
                <a:pos x="60" y="28"/>
              </a:cxn>
              <a:cxn ang="0">
                <a:pos x="71" y="30"/>
              </a:cxn>
              <a:cxn ang="0">
                <a:pos x="86" y="37"/>
              </a:cxn>
              <a:cxn ang="0">
                <a:pos x="84" y="32"/>
              </a:cxn>
              <a:cxn ang="0">
                <a:pos x="83" y="27"/>
              </a:cxn>
              <a:cxn ang="0">
                <a:pos x="80" y="21"/>
              </a:cxn>
              <a:cxn ang="0">
                <a:pos x="79" y="20"/>
              </a:cxn>
              <a:cxn ang="0">
                <a:pos x="76" y="12"/>
              </a:cxn>
              <a:cxn ang="0">
                <a:pos x="70" y="14"/>
              </a:cxn>
              <a:cxn ang="0">
                <a:pos x="66" y="14"/>
              </a:cxn>
              <a:cxn ang="0">
                <a:pos x="57" y="12"/>
              </a:cxn>
              <a:cxn ang="0">
                <a:pos x="53" y="10"/>
              </a:cxn>
              <a:cxn ang="0">
                <a:pos x="40" y="0"/>
              </a:cxn>
              <a:cxn ang="0">
                <a:pos x="36" y="4"/>
              </a:cxn>
              <a:cxn ang="0">
                <a:pos x="30" y="7"/>
              </a:cxn>
              <a:cxn ang="0">
                <a:pos x="29" y="11"/>
              </a:cxn>
              <a:cxn ang="0">
                <a:pos x="27" y="14"/>
              </a:cxn>
              <a:cxn ang="0">
                <a:pos x="25" y="15"/>
              </a:cxn>
              <a:cxn ang="0">
                <a:pos x="22" y="21"/>
              </a:cxn>
              <a:cxn ang="0">
                <a:pos x="20" y="22"/>
              </a:cxn>
              <a:cxn ang="0">
                <a:pos x="13" y="21"/>
              </a:cxn>
              <a:cxn ang="0">
                <a:pos x="12" y="21"/>
              </a:cxn>
              <a:cxn ang="0">
                <a:pos x="0" y="22"/>
              </a:cxn>
              <a:cxn ang="0">
                <a:pos x="2" y="30"/>
              </a:cxn>
              <a:cxn ang="0">
                <a:pos x="3" y="30"/>
              </a:cxn>
              <a:cxn ang="0">
                <a:pos x="13" y="32"/>
              </a:cxn>
              <a:cxn ang="0">
                <a:pos x="15" y="35"/>
              </a:cxn>
              <a:cxn ang="0">
                <a:pos x="20" y="47"/>
              </a:cxn>
              <a:cxn ang="0">
                <a:pos x="29" y="58"/>
              </a:cxn>
              <a:cxn ang="0">
                <a:pos x="37" y="61"/>
              </a:cxn>
              <a:cxn ang="0">
                <a:pos x="42" y="65"/>
              </a:cxn>
              <a:cxn ang="0">
                <a:pos x="43" y="67"/>
              </a:cxn>
              <a:cxn ang="0">
                <a:pos x="50" y="71"/>
              </a:cxn>
              <a:cxn ang="0">
                <a:pos x="56" y="72"/>
              </a:cxn>
              <a:cxn ang="0">
                <a:pos x="63" y="75"/>
              </a:cxn>
              <a:cxn ang="0">
                <a:pos x="59" y="69"/>
              </a:cxn>
              <a:cxn ang="0">
                <a:pos x="50" y="62"/>
              </a:cxn>
              <a:cxn ang="0">
                <a:pos x="50" y="59"/>
              </a:cxn>
            </a:cxnLst>
            <a:rect l="0" t="0" r="r" b="b"/>
            <a:pathLst>
              <a:path w="86" h="75">
                <a:moveTo>
                  <a:pt x="50" y="59"/>
                </a:moveTo>
                <a:lnTo>
                  <a:pt x="50" y="59"/>
                </a:lnTo>
                <a:lnTo>
                  <a:pt x="47" y="57"/>
                </a:lnTo>
                <a:lnTo>
                  <a:pt x="43" y="52"/>
                </a:lnTo>
                <a:lnTo>
                  <a:pt x="39" y="48"/>
                </a:lnTo>
                <a:lnTo>
                  <a:pt x="37" y="47"/>
                </a:lnTo>
                <a:lnTo>
                  <a:pt x="36" y="44"/>
                </a:lnTo>
                <a:lnTo>
                  <a:pt x="36" y="44"/>
                </a:lnTo>
                <a:lnTo>
                  <a:pt x="36" y="41"/>
                </a:lnTo>
                <a:lnTo>
                  <a:pt x="33" y="38"/>
                </a:lnTo>
                <a:lnTo>
                  <a:pt x="30" y="35"/>
                </a:lnTo>
                <a:lnTo>
                  <a:pt x="29" y="34"/>
                </a:lnTo>
                <a:lnTo>
                  <a:pt x="29" y="34"/>
                </a:lnTo>
                <a:lnTo>
                  <a:pt x="29" y="31"/>
                </a:lnTo>
                <a:lnTo>
                  <a:pt x="32" y="28"/>
                </a:lnTo>
                <a:lnTo>
                  <a:pt x="33" y="28"/>
                </a:lnTo>
                <a:lnTo>
                  <a:pt x="36" y="30"/>
                </a:lnTo>
                <a:lnTo>
                  <a:pt x="36" y="30"/>
                </a:lnTo>
                <a:lnTo>
                  <a:pt x="39" y="30"/>
                </a:lnTo>
                <a:lnTo>
                  <a:pt x="42" y="28"/>
                </a:lnTo>
                <a:lnTo>
                  <a:pt x="43" y="27"/>
                </a:lnTo>
                <a:lnTo>
                  <a:pt x="46" y="27"/>
                </a:lnTo>
                <a:lnTo>
                  <a:pt x="46" y="27"/>
                </a:lnTo>
                <a:lnTo>
                  <a:pt x="60" y="28"/>
                </a:lnTo>
                <a:lnTo>
                  <a:pt x="71" y="30"/>
                </a:lnTo>
                <a:lnTo>
                  <a:pt x="71" y="30"/>
                </a:lnTo>
                <a:lnTo>
                  <a:pt x="76" y="31"/>
                </a:lnTo>
                <a:lnTo>
                  <a:pt x="86" y="37"/>
                </a:lnTo>
                <a:lnTo>
                  <a:pt x="86" y="37"/>
                </a:lnTo>
                <a:lnTo>
                  <a:pt x="84" y="32"/>
                </a:lnTo>
                <a:lnTo>
                  <a:pt x="84" y="32"/>
                </a:lnTo>
                <a:lnTo>
                  <a:pt x="83" y="27"/>
                </a:lnTo>
                <a:lnTo>
                  <a:pt x="83" y="24"/>
                </a:lnTo>
                <a:lnTo>
                  <a:pt x="80" y="21"/>
                </a:lnTo>
                <a:lnTo>
                  <a:pt x="80" y="21"/>
                </a:lnTo>
                <a:lnTo>
                  <a:pt x="79" y="20"/>
                </a:lnTo>
                <a:lnTo>
                  <a:pt x="77" y="18"/>
                </a:lnTo>
                <a:lnTo>
                  <a:pt x="76" y="12"/>
                </a:lnTo>
                <a:lnTo>
                  <a:pt x="76" y="12"/>
                </a:lnTo>
                <a:lnTo>
                  <a:pt x="70" y="14"/>
                </a:lnTo>
                <a:lnTo>
                  <a:pt x="70" y="14"/>
                </a:lnTo>
                <a:lnTo>
                  <a:pt x="66" y="14"/>
                </a:lnTo>
                <a:lnTo>
                  <a:pt x="62" y="14"/>
                </a:lnTo>
                <a:lnTo>
                  <a:pt x="57" y="12"/>
                </a:lnTo>
                <a:lnTo>
                  <a:pt x="53" y="10"/>
                </a:lnTo>
                <a:lnTo>
                  <a:pt x="53" y="10"/>
                </a:lnTo>
                <a:lnTo>
                  <a:pt x="47" y="4"/>
                </a:lnTo>
                <a:lnTo>
                  <a:pt x="40" y="0"/>
                </a:lnTo>
                <a:lnTo>
                  <a:pt x="40" y="0"/>
                </a:lnTo>
                <a:lnTo>
                  <a:pt x="36" y="4"/>
                </a:lnTo>
                <a:lnTo>
                  <a:pt x="30" y="7"/>
                </a:lnTo>
                <a:lnTo>
                  <a:pt x="30" y="7"/>
                </a:lnTo>
                <a:lnTo>
                  <a:pt x="29" y="8"/>
                </a:lnTo>
                <a:lnTo>
                  <a:pt x="29" y="11"/>
                </a:lnTo>
                <a:lnTo>
                  <a:pt x="29" y="12"/>
                </a:lnTo>
                <a:lnTo>
                  <a:pt x="27" y="14"/>
                </a:lnTo>
                <a:lnTo>
                  <a:pt x="27" y="14"/>
                </a:lnTo>
                <a:lnTo>
                  <a:pt x="25" y="15"/>
                </a:lnTo>
                <a:lnTo>
                  <a:pt x="23" y="17"/>
                </a:lnTo>
                <a:lnTo>
                  <a:pt x="22" y="21"/>
                </a:lnTo>
                <a:lnTo>
                  <a:pt x="22" y="21"/>
                </a:lnTo>
                <a:lnTo>
                  <a:pt x="20" y="22"/>
                </a:lnTo>
                <a:lnTo>
                  <a:pt x="17" y="21"/>
                </a:lnTo>
                <a:lnTo>
                  <a:pt x="13" y="21"/>
                </a:lnTo>
                <a:lnTo>
                  <a:pt x="12" y="21"/>
                </a:lnTo>
                <a:lnTo>
                  <a:pt x="12" y="21"/>
                </a:lnTo>
                <a:lnTo>
                  <a:pt x="0" y="22"/>
                </a:lnTo>
                <a:lnTo>
                  <a:pt x="0" y="22"/>
                </a:lnTo>
                <a:lnTo>
                  <a:pt x="0" y="28"/>
                </a:lnTo>
                <a:lnTo>
                  <a:pt x="2" y="30"/>
                </a:lnTo>
                <a:lnTo>
                  <a:pt x="3" y="30"/>
                </a:lnTo>
                <a:lnTo>
                  <a:pt x="3" y="30"/>
                </a:lnTo>
                <a:lnTo>
                  <a:pt x="10" y="31"/>
                </a:lnTo>
                <a:lnTo>
                  <a:pt x="13" y="32"/>
                </a:lnTo>
                <a:lnTo>
                  <a:pt x="15" y="35"/>
                </a:lnTo>
                <a:lnTo>
                  <a:pt x="15" y="35"/>
                </a:lnTo>
                <a:lnTo>
                  <a:pt x="17" y="41"/>
                </a:lnTo>
                <a:lnTo>
                  <a:pt x="20" y="47"/>
                </a:lnTo>
                <a:lnTo>
                  <a:pt x="29" y="58"/>
                </a:lnTo>
                <a:lnTo>
                  <a:pt x="29" y="58"/>
                </a:lnTo>
                <a:lnTo>
                  <a:pt x="33" y="59"/>
                </a:lnTo>
                <a:lnTo>
                  <a:pt x="37" y="61"/>
                </a:lnTo>
                <a:lnTo>
                  <a:pt x="40" y="62"/>
                </a:lnTo>
                <a:lnTo>
                  <a:pt x="42" y="65"/>
                </a:lnTo>
                <a:lnTo>
                  <a:pt x="42" y="65"/>
                </a:lnTo>
                <a:lnTo>
                  <a:pt x="43" y="67"/>
                </a:lnTo>
                <a:lnTo>
                  <a:pt x="46" y="69"/>
                </a:lnTo>
                <a:lnTo>
                  <a:pt x="50" y="71"/>
                </a:lnTo>
                <a:lnTo>
                  <a:pt x="56" y="72"/>
                </a:lnTo>
                <a:lnTo>
                  <a:pt x="56" y="72"/>
                </a:lnTo>
                <a:lnTo>
                  <a:pt x="59" y="72"/>
                </a:lnTo>
                <a:lnTo>
                  <a:pt x="63" y="75"/>
                </a:lnTo>
                <a:lnTo>
                  <a:pt x="63" y="75"/>
                </a:lnTo>
                <a:lnTo>
                  <a:pt x="59" y="69"/>
                </a:lnTo>
                <a:lnTo>
                  <a:pt x="54" y="65"/>
                </a:lnTo>
                <a:lnTo>
                  <a:pt x="50" y="62"/>
                </a:lnTo>
                <a:lnTo>
                  <a:pt x="50" y="59"/>
                </a:lnTo>
                <a:lnTo>
                  <a:pt x="50" y="59"/>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68" name="Freeform 255">
            <a:extLst>
              <a:ext uri="{FF2B5EF4-FFF2-40B4-BE49-F238E27FC236}">
                <a16:creationId xmlns:a16="http://schemas.microsoft.com/office/drawing/2014/main" id="{A1E53709-9D53-41C0-4BC1-44F176A02DDA}"/>
              </a:ext>
            </a:extLst>
          </p:cNvPr>
          <p:cNvSpPr>
            <a:spLocks/>
          </p:cNvSpPr>
          <p:nvPr userDrawn="1"/>
        </p:nvSpPr>
        <p:spPr bwMode="gray">
          <a:xfrm>
            <a:off x="4748869" y="2391375"/>
            <a:ext cx="39015" cy="75429"/>
          </a:xfrm>
          <a:custGeom>
            <a:avLst/>
            <a:gdLst/>
            <a:ahLst/>
            <a:cxnLst>
              <a:cxn ang="0">
                <a:pos x="20" y="50"/>
              </a:cxn>
              <a:cxn ang="0">
                <a:pos x="20" y="50"/>
              </a:cxn>
              <a:cxn ang="0">
                <a:pos x="21" y="50"/>
              </a:cxn>
              <a:cxn ang="0">
                <a:pos x="21" y="48"/>
              </a:cxn>
              <a:cxn ang="0">
                <a:pos x="23" y="45"/>
              </a:cxn>
              <a:cxn ang="0">
                <a:pos x="23" y="44"/>
              </a:cxn>
              <a:cxn ang="0">
                <a:pos x="23" y="44"/>
              </a:cxn>
              <a:cxn ang="0">
                <a:pos x="27" y="40"/>
              </a:cxn>
              <a:cxn ang="0">
                <a:pos x="28" y="35"/>
              </a:cxn>
              <a:cxn ang="0">
                <a:pos x="28" y="35"/>
              </a:cxn>
              <a:cxn ang="0">
                <a:pos x="30" y="34"/>
              </a:cxn>
              <a:cxn ang="0">
                <a:pos x="30" y="34"/>
              </a:cxn>
              <a:cxn ang="0">
                <a:pos x="23" y="30"/>
              </a:cxn>
              <a:cxn ang="0">
                <a:pos x="20" y="24"/>
              </a:cxn>
              <a:cxn ang="0">
                <a:pos x="20" y="24"/>
              </a:cxn>
              <a:cxn ang="0">
                <a:pos x="20" y="17"/>
              </a:cxn>
              <a:cxn ang="0">
                <a:pos x="21" y="8"/>
              </a:cxn>
              <a:cxn ang="0">
                <a:pos x="21" y="8"/>
              </a:cxn>
              <a:cxn ang="0">
                <a:pos x="14" y="3"/>
              </a:cxn>
              <a:cxn ang="0">
                <a:pos x="8" y="0"/>
              </a:cxn>
              <a:cxn ang="0">
                <a:pos x="8" y="0"/>
              </a:cxn>
              <a:cxn ang="0">
                <a:pos x="6" y="1"/>
              </a:cxn>
              <a:cxn ang="0">
                <a:pos x="3" y="4"/>
              </a:cxn>
              <a:cxn ang="0">
                <a:pos x="1" y="7"/>
              </a:cxn>
              <a:cxn ang="0">
                <a:pos x="0" y="11"/>
              </a:cxn>
              <a:cxn ang="0">
                <a:pos x="0" y="11"/>
              </a:cxn>
              <a:cxn ang="0">
                <a:pos x="4" y="14"/>
              </a:cxn>
              <a:cxn ang="0">
                <a:pos x="6" y="16"/>
              </a:cxn>
              <a:cxn ang="0">
                <a:pos x="7" y="18"/>
              </a:cxn>
              <a:cxn ang="0">
                <a:pos x="4" y="21"/>
              </a:cxn>
              <a:cxn ang="0">
                <a:pos x="4" y="21"/>
              </a:cxn>
              <a:cxn ang="0">
                <a:pos x="1" y="27"/>
              </a:cxn>
              <a:cxn ang="0">
                <a:pos x="1" y="34"/>
              </a:cxn>
              <a:cxn ang="0">
                <a:pos x="1" y="41"/>
              </a:cxn>
              <a:cxn ang="0">
                <a:pos x="3" y="44"/>
              </a:cxn>
              <a:cxn ang="0">
                <a:pos x="4" y="45"/>
              </a:cxn>
              <a:cxn ang="0">
                <a:pos x="4" y="45"/>
              </a:cxn>
              <a:cxn ang="0">
                <a:pos x="7" y="48"/>
              </a:cxn>
              <a:cxn ang="0">
                <a:pos x="10" y="53"/>
              </a:cxn>
              <a:cxn ang="0">
                <a:pos x="11" y="57"/>
              </a:cxn>
              <a:cxn ang="0">
                <a:pos x="14" y="58"/>
              </a:cxn>
              <a:cxn ang="0">
                <a:pos x="14" y="58"/>
              </a:cxn>
              <a:cxn ang="0">
                <a:pos x="17" y="54"/>
              </a:cxn>
              <a:cxn ang="0">
                <a:pos x="18" y="51"/>
              </a:cxn>
              <a:cxn ang="0">
                <a:pos x="20" y="50"/>
              </a:cxn>
              <a:cxn ang="0">
                <a:pos x="20" y="50"/>
              </a:cxn>
            </a:cxnLst>
            <a:rect l="0" t="0" r="r" b="b"/>
            <a:pathLst>
              <a:path w="30" h="58">
                <a:moveTo>
                  <a:pt x="20" y="50"/>
                </a:moveTo>
                <a:lnTo>
                  <a:pt x="20" y="50"/>
                </a:lnTo>
                <a:lnTo>
                  <a:pt x="21" y="50"/>
                </a:lnTo>
                <a:lnTo>
                  <a:pt x="21" y="48"/>
                </a:lnTo>
                <a:lnTo>
                  <a:pt x="23" y="45"/>
                </a:lnTo>
                <a:lnTo>
                  <a:pt x="23" y="44"/>
                </a:lnTo>
                <a:lnTo>
                  <a:pt x="23" y="44"/>
                </a:lnTo>
                <a:lnTo>
                  <a:pt x="27" y="40"/>
                </a:lnTo>
                <a:lnTo>
                  <a:pt x="28" y="35"/>
                </a:lnTo>
                <a:lnTo>
                  <a:pt x="28" y="35"/>
                </a:lnTo>
                <a:lnTo>
                  <a:pt x="30" y="34"/>
                </a:lnTo>
                <a:lnTo>
                  <a:pt x="30" y="34"/>
                </a:lnTo>
                <a:lnTo>
                  <a:pt x="23" y="30"/>
                </a:lnTo>
                <a:lnTo>
                  <a:pt x="20" y="24"/>
                </a:lnTo>
                <a:lnTo>
                  <a:pt x="20" y="24"/>
                </a:lnTo>
                <a:lnTo>
                  <a:pt x="20" y="17"/>
                </a:lnTo>
                <a:lnTo>
                  <a:pt x="21" y="8"/>
                </a:lnTo>
                <a:lnTo>
                  <a:pt x="21" y="8"/>
                </a:lnTo>
                <a:lnTo>
                  <a:pt x="14" y="3"/>
                </a:lnTo>
                <a:lnTo>
                  <a:pt x="8" y="0"/>
                </a:lnTo>
                <a:lnTo>
                  <a:pt x="8" y="0"/>
                </a:lnTo>
                <a:lnTo>
                  <a:pt x="6" y="1"/>
                </a:lnTo>
                <a:lnTo>
                  <a:pt x="3" y="4"/>
                </a:lnTo>
                <a:lnTo>
                  <a:pt x="1" y="7"/>
                </a:lnTo>
                <a:lnTo>
                  <a:pt x="0" y="11"/>
                </a:lnTo>
                <a:lnTo>
                  <a:pt x="0" y="11"/>
                </a:lnTo>
                <a:lnTo>
                  <a:pt x="4" y="14"/>
                </a:lnTo>
                <a:lnTo>
                  <a:pt x="6" y="16"/>
                </a:lnTo>
                <a:lnTo>
                  <a:pt x="7" y="18"/>
                </a:lnTo>
                <a:lnTo>
                  <a:pt x="4" y="21"/>
                </a:lnTo>
                <a:lnTo>
                  <a:pt x="4" y="21"/>
                </a:lnTo>
                <a:lnTo>
                  <a:pt x="1" y="27"/>
                </a:lnTo>
                <a:lnTo>
                  <a:pt x="1" y="34"/>
                </a:lnTo>
                <a:lnTo>
                  <a:pt x="1" y="41"/>
                </a:lnTo>
                <a:lnTo>
                  <a:pt x="3" y="44"/>
                </a:lnTo>
                <a:lnTo>
                  <a:pt x="4" y="45"/>
                </a:lnTo>
                <a:lnTo>
                  <a:pt x="4" y="45"/>
                </a:lnTo>
                <a:lnTo>
                  <a:pt x="7" y="48"/>
                </a:lnTo>
                <a:lnTo>
                  <a:pt x="10" y="53"/>
                </a:lnTo>
                <a:lnTo>
                  <a:pt x="11" y="57"/>
                </a:lnTo>
                <a:lnTo>
                  <a:pt x="14" y="58"/>
                </a:lnTo>
                <a:lnTo>
                  <a:pt x="14" y="58"/>
                </a:lnTo>
                <a:lnTo>
                  <a:pt x="17" y="54"/>
                </a:lnTo>
                <a:lnTo>
                  <a:pt x="18" y="51"/>
                </a:lnTo>
                <a:lnTo>
                  <a:pt x="20" y="50"/>
                </a:lnTo>
                <a:lnTo>
                  <a:pt x="20" y="5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69" name="Freeform 256">
            <a:extLst>
              <a:ext uri="{FF2B5EF4-FFF2-40B4-BE49-F238E27FC236}">
                <a16:creationId xmlns:a16="http://schemas.microsoft.com/office/drawing/2014/main" id="{6DE211C0-587C-92BA-023B-A7C833C62617}"/>
              </a:ext>
            </a:extLst>
          </p:cNvPr>
          <p:cNvSpPr>
            <a:spLocks/>
          </p:cNvSpPr>
          <p:nvPr userDrawn="1"/>
        </p:nvSpPr>
        <p:spPr bwMode="gray">
          <a:xfrm>
            <a:off x="4556393" y="2222310"/>
            <a:ext cx="153460" cy="71528"/>
          </a:xfrm>
          <a:custGeom>
            <a:avLst/>
            <a:gdLst/>
            <a:ahLst/>
            <a:cxnLst>
              <a:cxn ang="0">
                <a:pos x="99" y="5"/>
              </a:cxn>
              <a:cxn ang="0">
                <a:pos x="91" y="0"/>
              </a:cxn>
              <a:cxn ang="0">
                <a:pos x="85" y="0"/>
              </a:cxn>
              <a:cxn ang="0">
                <a:pos x="82" y="8"/>
              </a:cxn>
              <a:cxn ang="0">
                <a:pos x="80" y="9"/>
              </a:cxn>
              <a:cxn ang="0">
                <a:pos x="68" y="9"/>
              </a:cxn>
              <a:cxn ang="0">
                <a:pos x="64" y="12"/>
              </a:cxn>
              <a:cxn ang="0">
                <a:pos x="60" y="15"/>
              </a:cxn>
              <a:cxn ang="0">
                <a:pos x="58" y="16"/>
              </a:cxn>
              <a:cxn ang="0">
                <a:pos x="53" y="20"/>
              </a:cxn>
              <a:cxn ang="0">
                <a:pos x="53" y="25"/>
              </a:cxn>
              <a:cxn ang="0">
                <a:pos x="51" y="30"/>
              </a:cxn>
              <a:cxn ang="0">
                <a:pos x="47" y="29"/>
              </a:cxn>
              <a:cxn ang="0">
                <a:pos x="38" y="29"/>
              </a:cxn>
              <a:cxn ang="0">
                <a:pos x="30" y="32"/>
              </a:cxn>
              <a:cxn ang="0">
                <a:pos x="28" y="33"/>
              </a:cxn>
              <a:cxn ang="0">
                <a:pos x="21" y="33"/>
              </a:cxn>
              <a:cxn ang="0">
                <a:pos x="16" y="32"/>
              </a:cxn>
              <a:cxn ang="0">
                <a:pos x="11" y="35"/>
              </a:cxn>
              <a:cxn ang="0">
                <a:pos x="10" y="36"/>
              </a:cxn>
              <a:cxn ang="0">
                <a:pos x="4" y="33"/>
              </a:cxn>
              <a:cxn ang="0">
                <a:pos x="3" y="32"/>
              </a:cxn>
              <a:cxn ang="0">
                <a:pos x="0" y="36"/>
              </a:cxn>
              <a:cxn ang="0">
                <a:pos x="0" y="40"/>
              </a:cxn>
              <a:cxn ang="0">
                <a:pos x="6" y="45"/>
              </a:cxn>
              <a:cxn ang="0">
                <a:pos x="8" y="45"/>
              </a:cxn>
              <a:cxn ang="0">
                <a:pos x="14" y="45"/>
              </a:cxn>
              <a:cxn ang="0">
                <a:pos x="18" y="47"/>
              </a:cxn>
              <a:cxn ang="0">
                <a:pos x="24" y="46"/>
              </a:cxn>
              <a:cxn ang="0">
                <a:pos x="28" y="43"/>
              </a:cxn>
              <a:cxn ang="0">
                <a:pos x="35" y="42"/>
              </a:cxn>
              <a:cxn ang="0">
                <a:pos x="41" y="42"/>
              </a:cxn>
              <a:cxn ang="0">
                <a:pos x="44" y="49"/>
              </a:cxn>
              <a:cxn ang="0">
                <a:pos x="50" y="50"/>
              </a:cxn>
              <a:cxn ang="0">
                <a:pos x="60" y="50"/>
              </a:cxn>
              <a:cxn ang="0">
                <a:pos x="77" y="55"/>
              </a:cxn>
              <a:cxn ang="0">
                <a:pos x="80" y="53"/>
              </a:cxn>
              <a:cxn ang="0">
                <a:pos x="87" y="50"/>
              </a:cxn>
              <a:cxn ang="0">
                <a:pos x="91" y="49"/>
              </a:cxn>
              <a:cxn ang="0">
                <a:pos x="98" y="47"/>
              </a:cxn>
              <a:cxn ang="0">
                <a:pos x="102" y="46"/>
              </a:cxn>
              <a:cxn ang="0">
                <a:pos x="102" y="46"/>
              </a:cxn>
              <a:cxn ang="0">
                <a:pos x="104" y="42"/>
              </a:cxn>
              <a:cxn ang="0">
                <a:pos x="105" y="40"/>
              </a:cxn>
              <a:cxn ang="0">
                <a:pos x="107" y="36"/>
              </a:cxn>
              <a:cxn ang="0">
                <a:pos x="107" y="35"/>
              </a:cxn>
              <a:cxn ang="0">
                <a:pos x="108" y="30"/>
              </a:cxn>
              <a:cxn ang="0">
                <a:pos x="109" y="29"/>
              </a:cxn>
              <a:cxn ang="0">
                <a:pos x="114" y="29"/>
              </a:cxn>
              <a:cxn ang="0">
                <a:pos x="117" y="25"/>
              </a:cxn>
              <a:cxn ang="0">
                <a:pos x="117" y="22"/>
              </a:cxn>
              <a:cxn ang="0">
                <a:pos x="118" y="20"/>
              </a:cxn>
              <a:cxn ang="0">
                <a:pos x="112" y="6"/>
              </a:cxn>
              <a:cxn ang="0">
                <a:pos x="107" y="8"/>
              </a:cxn>
              <a:cxn ang="0">
                <a:pos x="99" y="5"/>
              </a:cxn>
            </a:cxnLst>
            <a:rect l="0" t="0" r="r" b="b"/>
            <a:pathLst>
              <a:path w="118" h="55">
                <a:moveTo>
                  <a:pt x="99" y="5"/>
                </a:moveTo>
                <a:lnTo>
                  <a:pt x="99" y="5"/>
                </a:lnTo>
                <a:lnTo>
                  <a:pt x="95" y="2"/>
                </a:lnTo>
                <a:lnTo>
                  <a:pt x="91" y="0"/>
                </a:lnTo>
                <a:lnTo>
                  <a:pt x="85" y="0"/>
                </a:lnTo>
                <a:lnTo>
                  <a:pt x="85" y="0"/>
                </a:lnTo>
                <a:lnTo>
                  <a:pt x="84" y="3"/>
                </a:lnTo>
                <a:lnTo>
                  <a:pt x="82" y="8"/>
                </a:lnTo>
                <a:lnTo>
                  <a:pt x="82" y="8"/>
                </a:lnTo>
                <a:lnTo>
                  <a:pt x="80" y="9"/>
                </a:lnTo>
                <a:lnTo>
                  <a:pt x="77" y="9"/>
                </a:lnTo>
                <a:lnTo>
                  <a:pt x="68" y="9"/>
                </a:lnTo>
                <a:lnTo>
                  <a:pt x="68" y="9"/>
                </a:lnTo>
                <a:lnTo>
                  <a:pt x="64" y="12"/>
                </a:lnTo>
                <a:lnTo>
                  <a:pt x="61" y="13"/>
                </a:lnTo>
                <a:lnTo>
                  <a:pt x="60" y="15"/>
                </a:lnTo>
                <a:lnTo>
                  <a:pt x="60" y="15"/>
                </a:lnTo>
                <a:lnTo>
                  <a:pt x="58" y="16"/>
                </a:lnTo>
                <a:lnTo>
                  <a:pt x="55" y="18"/>
                </a:lnTo>
                <a:lnTo>
                  <a:pt x="53" y="20"/>
                </a:lnTo>
                <a:lnTo>
                  <a:pt x="53" y="25"/>
                </a:lnTo>
                <a:lnTo>
                  <a:pt x="53" y="25"/>
                </a:lnTo>
                <a:lnTo>
                  <a:pt x="54" y="29"/>
                </a:lnTo>
                <a:lnTo>
                  <a:pt x="51" y="30"/>
                </a:lnTo>
                <a:lnTo>
                  <a:pt x="50" y="30"/>
                </a:lnTo>
                <a:lnTo>
                  <a:pt x="47" y="29"/>
                </a:lnTo>
                <a:lnTo>
                  <a:pt x="47" y="29"/>
                </a:lnTo>
                <a:lnTo>
                  <a:pt x="38" y="29"/>
                </a:lnTo>
                <a:lnTo>
                  <a:pt x="34" y="30"/>
                </a:lnTo>
                <a:lnTo>
                  <a:pt x="30" y="32"/>
                </a:lnTo>
                <a:lnTo>
                  <a:pt x="30" y="32"/>
                </a:lnTo>
                <a:lnTo>
                  <a:pt x="28" y="33"/>
                </a:lnTo>
                <a:lnTo>
                  <a:pt x="26" y="35"/>
                </a:lnTo>
                <a:lnTo>
                  <a:pt x="21" y="33"/>
                </a:lnTo>
                <a:lnTo>
                  <a:pt x="21" y="33"/>
                </a:lnTo>
                <a:lnTo>
                  <a:pt x="16" y="32"/>
                </a:lnTo>
                <a:lnTo>
                  <a:pt x="14" y="33"/>
                </a:lnTo>
                <a:lnTo>
                  <a:pt x="11" y="35"/>
                </a:lnTo>
                <a:lnTo>
                  <a:pt x="11" y="35"/>
                </a:lnTo>
                <a:lnTo>
                  <a:pt x="10" y="36"/>
                </a:lnTo>
                <a:lnTo>
                  <a:pt x="7" y="35"/>
                </a:lnTo>
                <a:lnTo>
                  <a:pt x="4" y="33"/>
                </a:lnTo>
                <a:lnTo>
                  <a:pt x="3" y="32"/>
                </a:lnTo>
                <a:lnTo>
                  <a:pt x="3" y="32"/>
                </a:lnTo>
                <a:lnTo>
                  <a:pt x="0" y="33"/>
                </a:lnTo>
                <a:lnTo>
                  <a:pt x="0" y="36"/>
                </a:lnTo>
                <a:lnTo>
                  <a:pt x="0" y="40"/>
                </a:lnTo>
                <a:lnTo>
                  <a:pt x="0" y="40"/>
                </a:lnTo>
                <a:lnTo>
                  <a:pt x="3" y="43"/>
                </a:lnTo>
                <a:lnTo>
                  <a:pt x="6" y="45"/>
                </a:lnTo>
                <a:lnTo>
                  <a:pt x="8" y="45"/>
                </a:lnTo>
                <a:lnTo>
                  <a:pt x="8" y="45"/>
                </a:lnTo>
                <a:lnTo>
                  <a:pt x="11" y="45"/>
                </a:lnTo>
                <a:lnTo>
                  <a:pt x="14" y="45"/>
                </a:lnTo>
                <a:lnTo>
                  <a:pt x="18" y="47"/>
                </a:lnTo>
                <a:lnTo>
                  <a:pt x="18" y="47"/>
                </a:lnTo>
                <a:lnTo>
                  <a:pt x="21" y="47"/>
                </a:lnTo>
                <a:lnTo>
                  <a:pt x="24" y="46"/>
                </a:lnTo>
                <a:lnTo>
                  <a:pt x="28" y="43"/>
                </a:lnTo>
                <a:lnTo>
                  <a:pt x="28" y="43"/>
                </a:lnTo>
                <a:lnTo>
                  <a:pt x="31" y="43"/>
                </a:lnTo>
                <a:lnTo>
                  <a:pt x="35" y="42"/>
                </a:lnTo>
                <a:lnTo>
                  <a:pt x="41" y="42"/>
                </a:lnTo>
                <a:lnTo>
                  <a:pt x="41" y="42"/>
                </a:lnTo>
                <a:lnTo>
                  <a:pt x="43" y="45"/>
                </a:lnTo>
                <a:lnTo>
                  <a:pt x="44" y="49"/>
                </a:lnTo>
                <a:lnTo>
                  <a:pt x="44" y="49"/>
                </a:lnTo>
                <a:lnTo>
                  <a:pt x="50" y="50"/>
                </a:lnTo>
                <a:lnTo>
                  <a:pt x="60" y="50"/>
                </a:lnTo>
                <a:lnTo>
                  <a:pt x="60" y="50"/>
                </a:lnTo>
                <a:lnTo>
                  <a:pt x="70" y="53"/>
                </a:lnTo>
                <a:lnTo>
                  <a:pt x="77" y="55"/>
                </a:lnTo>
                <a:lnTo>
                  <a:pt x="77" y="55"/>
                </a:lnTo>
                <a:lnTo>
                  <a:pt x="80" y="53"/>
                </a:lnTo>
                <a:lnTo>
                  <a:pt x="82" y="52"/>
                </a:lnTo>
                <a:lnTo>
                  <a:pt x="87" y="50"/>
                </a:lnTo>
                <a:lnTo>
                  <a:pt x="91" y="49"/>
                </a:lnTo>
                <a:lnTo>
                  <a:pt x="91" y="49"/>
                </a:lnTo>
                <a:lnTo>
                  <a:pt x="95" y="49"/>
                </a:lnTo>
                <a:lnTo>
                  <a:pt x="98" y="47"/>
                </a:lnTo>
                <a:lnTo>
                  <a:pt x="102" y="46"/>
                </a:lnTo>
                <a:lnTo>
                  <a:pt x="102" y="46"/>
                </a:lnTo>
                <a:lnTo>
                  <a:pt x="102" y="46"/>
                </a:lnTo>
                <a:lnTo>
                  <a:pt x="102" y="46"/>
                </a:lnTo>
                <a:lnTo>
                  <a:pt x="102" y="43"/>
                </a:lnTo>
                <a:lnTo>
                  <a:pt x="104" y="42"/>
                </a:lnTo>
                <a:lnTo>
                  <a:pt x="104" y="42"/>
                </a:lnTo>
                <a:lnTo>
                  <a:pt x="105" y="40"/>
                </a:lnTo>
                <a:lnTo>
                  <a:pt x="107" y="39"/>
                </a:lnTo>
                <a:lnTo>
                  <a:pt x="107" y="36"/>
                </a:lnTo>
                <a:lnTo>
                  <a:pt x="107" y="35"/>
                </a:lnTo>
                <a:lnTo>
                  <a:pt x="107" y="35"/>
                </a:lnTo>
                <a:lnTo>
                  <a:pt x="108" y="33"/>
                </a:lnTo>
                <a:lnTo>
                  <a:pt x="108" y="30"/>
                </a:lnTo>
                <a:lnTo>
                  <a:pt x="108" y="29"/>
                </a:lnTo>
                <a:lnTo>
                  <a:pt x="109" y="29"/>
                </a:lnTo>
                <a:lnTo>
                  <a:pt x="109" y="29"/>
                </a:lnTo>
                <a:lnTo>
                  <a:pt x="114" y="29"/>
                </a:lnTo>
                <a:lnTo>
                  <a:pt x="115" y="27"/>
                </a:lnTo>
                <a:lnTo>
                  <a:pt x="117" y="25"/>
                </a:lnTo>
                <a:lnTo>
                  <a:pt x="117" y="25"/>
                </a:lnTo>
                <a:lnTo>
                  <a:pt x="117" y="22"/>
                </a:lnTo>
                <a:lnTo>
                  <a:pt x="118" y="20"/>
                </a:lnTo>
                <a:lnTo>
                  <a:pt x="118" y="20"/>
                </a:lnTo>
                <a:lnTo>
                  <a:pt x="114" y="12"/>
                </a:lnTo>
                <a:lnTo>
                  <a:pt x="112" y="6"/>
                </a:lnTo>
                <a:lnTo>
                  <a:pt x="112" y="6"/>
                </a:lnTo>
                <a:lnTo>
                  <a:pt x="107" y="8"/>
                </a:lnTo>
                <a:lnTo>
                  <a:pt x="104" y="8"/>
                </a:lnTo>
                <a:lnTo>
                  <a:pt x="99" y="5"/>
                </a:lnTo>
                <a:lnTo>
                  <a:pt x="99" y="5"/>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70" name="Freeform 257">
            <a:extLst>
              <a:ext uri="{FF2B5EF4-FFF2-40B4-BE49-F238E27FC236}">
                <a16:creationId xmlns:a16="http://schemas.microsoft.com/office/drawing/2014/main" id="{A8C45478-1EA4-966D-9145-C66DA41AEE52}"/>
              </a:ext>
            </a:extLst>
          </p:cNvPr>
          <p:cNvSpPr>
            <a:spLocks/>
          </p:cNvSpPr>
          <p:nvPr userDrawn="1"/>
        </p:nvSpPr>
        <p:spPr bwMode="gray">
          <a:xfrm>
            <a:off x="4689045" y="2232714"/>
            <a:ext cx="133953" cy="75429"/>
          </a:xfrm>
          <a:custGeom>
            <a:avLst/>
            <a:gdLst/>
            <a:ahLst/>
            <a:cxnLst>
              <a:cxn ang="0">
                <a:pos x="100" y="11"/>
              </a:cxn>
              <a:cxn ang="0">
                <a:pos x="97" y="8"/>
              </a:cxn>
              <a:cxn ang="0">
                <a:pos x="87" y="5"/>
              </a:cxn>
              <a:cxn ang="0">
                <a:pos x="83" y="2"/>
              </a:cxn>
              <a:cxn ang="0">
                <a:pos x="71" y="0"/>
              </a:cxn>
              <a:cxn ang="0">
                <a:pos x="69" y="1"/>
              </a:cxn>
              <a:cxn ang="0">
                <a:pos x="60" y="8"/>
              </a:cxn>
              <a:cxn ang="0">
                <a:pos x="57" y="10"/>
              </a:cxn>
              <a:cxn ang="0">
                <a:pos x="42" y="12"/>
              </a:cxn>
              <a:cxn ang="0">
                <a:pos x="40" y="15"/>
              </a:cxn>
              <a:cxn ang="0">
                <a:pos x="39" y="15"/>
              </a:cxn>
              <a:cxn ang="0">
                <a:pos x="30" y="18"/>
              </a:cxn>
              <a:cxn ang="0">
                <a:pos x="19" y="15"/>
              </a:cxn>
              <a:cxn ang="0">
                <a:pos x="16" y="12"/>
              </a:cxn>
              <a:cxn ang="0">
                <a:pos x="15" y="14"/>
              </a:cxn>
              <a:cxn ang="0">
                <a:pos x="15" y="17"/>
              </a:cxn>
              <a:cxn ang="0">
                <a:pos x="12" y="21"/>
              </a:cxn>
              <a:cxn ang="0">
                <a:pos x="7" y="21"/>
              </a:cxn>
              <a:cxn ang="0">
                <a:pos x="6" y="22"/>
              </a:cxn>
              <a:cxn ang="0">
                <a:pos x="5" y="27"/>
              </a:cxn>
              <a:cxn ang="0">
                <a:pos x="5" y="28"/>
              </a:cxn>
              <a:cxn ang="0">
                <a:pos x="3" y="32"/>
              </a:cxn>
              <a:cxn ang="0">
                <a:pos x="2" y="34"/>
              </a:cxn>
              <a:cxn ang="0">
                <a:pos x="0" y="38"/>
              </a:cxn>
              <a:cxn ang="0">
                <a:pos x="2" y="41"/>
              </a:cxn>
              <a:cxn ang="0">
                <a:pos x="3" y="44"/>
              </a:cxn>
              <a:cxn ang="0">
                <a:pos x="3" y="44"/>
              </a:cxn>
              <a:cxn ang="0">
                <a:pos x="16" y="54"/>
              </a:cxn>
              <a:cxn ang="0">
                <a:pos x="20" y="56"/>
              </a:cxn>
              <a:cxn ang="0">
                <a:pos x="29" y="58"/>
              </a:cxn>
              <a:cxn ang="0">
                <a:pos x="33" y="58"/>
              </a:cxn>
              <a:cxn ang="0">
                <a:pos x="56" y="51"/>
              </a:cxn>
              <a:cxn ang="0">
                <a:pos x="62" y="52"/>
              </a:cxn>
              <a:cxn ang="0">
                <a:pos x="67" y="54"/>
              </a:cxn>
              <a:cxn ang="0">
                <a:pos x="76" y="47"/>
              </a:cxn>
              <a:cxn ang="0">
                <a:pos x="80" y="41"/>
              </a:cxn>
              <a:cxn ang="0">
                <a:pos x="91" y="22"/>
              </a:cxn>
              <a:cxn ang="0">
                <a:pos x="101" y="15"/>
              </a:cxn>
              <a:cxn ang="0">
                <a:pos x="103" y="14"/>
              </a:cxn>
              <a:cxn ang="0">
                <a:pos x="103" y="11"/>
              </a:cxn>
              <a:cxn ang="0">
                <a:pos x="100" y="11"/>
              </a:cxn>
            </a:cxnLst>
            <a:rect l="0" t="0" r="r" b="b"/>
            <a:pathLst>
              <a:path w="103" h="58">
                <a:moveTo>
                  <a:pt x="100" y="11"/>
                </a:moveTo>
                <a:lnTo>
                  <a:pt x="100" y="11"/>
                </a:lnTo>
                <a:lnTo>
                  <a:pt x="97" y="8"/>
                </a:lnTo>
                <a:lnTo>
                  <a:pt x="97" y="8"/>
                </a:lnTo>
                <a:lnTo>
                  <a:pt x="90" y="7"/>
                </a:lnTo>
                <a:lnTo>
                  <a:pt x="87" y="5"/>
                </a:lnTo>
                <a:lnTo>
                  <a:pt x="87" y="5"/>
                </a:lnTo>
                <a:lnTo>
                  <a:pt x="83" y="2"/>
                </a:lnTo>
                <a:lnTo>
                  <a:pt x="79" y="1"/>
                </a:lnTo>
                <a:lnTo>
                  <a:pt x="71" y="0"/>
                </a:lnTo>
                <a:lnTo>
                  <a:pt x="71" y="0"/>
                </a:lnTo>
                <a:lnTo>
                  <a:pt x="69" y="1"/>
                </a:lnTo>
                <a:lnTo>
                  <a:pt x="64" y="4"/>
                </a:lnTo>
                <a:lnTo>
                  <a:pt x="60" y="8"/>
                </a:lnTo>
                <a:lnTo>
                  <a:pt x="57" y="10"/>
                </a:lnTo>
                <a:lnTo>
                  <a:pt x="57" y="10"/>
                </a:lnTo>
                <a:lnTo>
                  <a:pt x="47" y="11"/>
                </a:lnTo>
                <a:lnTo>
                  <a:pt x="42" y="12"/>
                </a:lnTo>
                <a:lnTo>
                  <a:pt x="40" y="14"/>
                </a:lnTo>
                <a:lnTo>
                  <a:pt x="40" y="15"/>
                </a:lnTo>
                <a:lnTo>
                  <a:pt x="40" y="15"/>
                </a:lnTo>
                <a:lnTo>
                  <a:pt x="39" y="15"/>
                </a:lnTo>
                <a:lnTo>
                  <a:pt x="37" y="17"/>
                </a:lnTo>
                <a:lnTo>
                  <a:pt x="30" y="18"/>
                </a:lnTo>
                <a:lnTo>
                  <a:pt x="23" y="17"/>
                </a:lnTo>
                <a:lnTo>
                  <a:pt x="19" y="15"/>
                </a:lnTo>
                <a:lnTo>
                  <a:pt x="19" y="15"/>
                </a:lnTo>
                <a:lnTo>
                  <a:pt x="16" y="12"/>
                </a:lnTo>
                <a:lnTo>
                  <a:pt x="16" y="12"/>
                </a:lnTo>
                <a:lnTo>
                  <a:pt x="15" y="14"/>
                </a:lnTo>
                <a:lnTo>
                  <a:pt x="15" y="17"/>
                </a:lnTo>
                <a:lnTo>
                  <a:pt x="15" y="17"/>
                </a:lnTo>
                <a:lnTo>
                  <a:pt x="13" y="19"/>
                </a:lnTo>
                <a:lnTo>
                  <a:pt x="12" y="21"/>
                </a:lnTo>
                <a:lnTo>
                  <a:pt x="7" y="21"/>
                </a:lnTo>
                <a:lnTo>
                  <a:pt x="7" y="21"/>
                </a:lnTo>
                <a:lnTo>
                  <a:pt x="6" y="21"/>
                </a:lnTo>
                <a:lnTo>
                  <a:pt x="6" y="22"/>
                </a:lnTo>
                <a:lnTo>
                  <a:pt x="6" y="25"/>
                </a:lnTo>
                <a:lnTo>
                  <a:pt x="5" y="27"/>
                </a:lnTo>
                <a:lnTo>
                  <a:pt x="5" y="27"/>
                </a:lnTo>
                <a:lnTo>
                  <a:pt x="5" y="28"/>
                </a:lnTo>
                <a:lnTo>
                  <a:pt x="5" y="31"/>
                </a:lnTo>
                <a:lnTo>
                  <a:pt x="3" y="32"/>
                </a:lnTo>
                <a:lnTo>
                  <a:pt x="2" y="34"/>
                </a:lnTo>
                <a:lnTo>
                  <a:pt x="2" y="34"/>
                </a:lnTo>
                <a:lnTo>
                  <a:pt x="0" y="35"/>
                </a:lnTo>
                <a:lnTo>
                  <a:pt x="0" y="38"/>
                </a:lnTo>
                <a:lnTo>
                  <a:pt x="0" y="38"/>
                </a:lnTo>
                <a:lnTo>
                  <a:pt x="2" y="41"/>
                </a:lnTo>
                <a:lnTo>
                  <a:pt x="3" y="44"/>
                </a:lnTo>
                <a:lnTo>
                  <a:pt x="3" y="44"/>
                </a:lnTo>
                <a:lnTo>
                  <a:pt x="3" y="44"/>
                </a:lnTo>
                <a:lnTo>
                  <a:pt x="3" y="44"/>
                </a:lnTo>
                <a:lnTo>
                  <a:pt x="10" y="48"/>
                </a:lnTo>
                <a:lnTo>
                  <a:pt x="16" y="54"/>
                </a:lnTo>
                <a:lnTo>
                  <a:pt x="16" y="54"/>
                </a:lnTo>
                <a:lnTo>
                  <a:pt x="20" y="56"/>
                </a:lnTo>
                <a:lnTo>
                  <a:pt x="25" y="58"/>
                </a:lnTo>
                <a:lnTo>
                  <a:pt x="29" y="58"/>
                </a:lnTo>
                <a:lnTo>
                  <a:pt x="33" y="58"/>
                </a:lnTo>
                <a:lnTo>
                  <a:pt x="33" y="58"/>
                </a:lnTo>
                <a:lnTo>
                  <a:pt x="56" y="51"/>
                </a:lnTo>
                <a:lnTo>
                  <a:pt x="56" y="51"/>
                </a:lnTo>
                <a:lnTo>
                  <a:pt x="62" y="52"/>
                </a:lnTo>
                <a:lnTo>
                  <a:pt x="62" y="52"/>
                </a:lnTo>
                <a:lnTo>
                  <a:pt x="67" y="54"/>
                </a:lnTo>
                <a:lnTo>
                  <a:pt x="67" y="54"/>
                </a:lnTo>
                <a:lnTo>
                  <a:pt x="70" y="51"/>
                </a:lnTo>
                <a:lnTo>
                  <a:pt x="76" y="47"/>
                </a:lnTo>
                <a:lnTo>
                  <a:pt x="76" y="47"/>
                </a:lnTo>
                <a:lnTo>
                  <a:pt x="80" y="41"/>
                </a:lnTo>
                <a:lnTo>
                  <a:pt x="84" y="34"/>
                </a:lnTo>
                <a:lnTo>
                  <a:pt x="91" y="22"/>
                </a:lnTo>
                <a:lnTo>
                  <a:pt x="91" y="22"/>
                </a:lnTo>
                <a:lnTo>
                  <a:pt x="101" y="15"/>
                </a:lnTo>
                <a:lnTo>
                  <a:pt x="101" y="15"/>
                </a:lnTo>
                <a:lnTo>
                  <a:pt x="103" y="14"/>
                </a:lnTo>
                <a:lnTo>
                  <a:pt x="103" y="12"/>
                </a:lnTo>
                <a:lnTo>
                  <a:pt x="103" y="11"/>
                </a:lnTo>
                <a:lnTo>
                  <a:pt x="100" y="11"/>
                </a:lnTo>
                <a:lnTo>
                  <a:pt x="100" y="11"/>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71" name="Freeform 258">
            <a:extLst>
              <a:ext uri="{FF2B5EF4-FFF2-40B4-BE49-F238E27FC236}">
                <a16:creationId xmlns:a16="http://schemas.microsoft.com/office/drawing/2014/main" id="{A027E530-BA11-9C23-21E7-2CFDB067CF51}"/>
              </a:ext>
            </a:extLst>
          </p:cNvPr>
          <p:cNvSpPr>
            <a:spLocks/>
          </p:cNvSpPr>
          <p:nvPr userDrawn="1"/>
        </p:nvSpPr>
        <p:spPr bwMode="gray">
          <a:xfrm>
            <a:off x="4612315" y="2167688"/>
            <a:ext cx="128751" cy="67627"/>
          </a:xfrm>
          <a:custGeom>
            <a:avLst/>
            <a:gdLst/>
            <a:ahLst/>
            <a:cxnLst>
              <a:cxn ang="0">
                <a:pos x="93" y="24"/>
              </a:cxn>
              <a:cxn ang="0">
                <a:pos x="85" y="23"/>
              </a:cxn>
              <a:cxn ang="0">
                <a:pos x="84" y="21"/>
              </a:cxn>
              <a:cxn ang="0">
                <a:pos x="81" y="15"/>
              </a:cxn>
              <a:cxn ang="0">
                <a:pos x="79" y="15"/>
              </a:cxn>
              <a:cxn ang="0">
                <a:pos x="72" y="15"/>
              </a:cxn>
              <a:cxn ang="0">
                <a:pos x="69" y="17"/>
              </a:cxn>
              <a:cxn ang="0">
                <a:pos x="65" y="17"/>
              </a:cxn>
              <a:cxn ang="0">
                <a:pos x="61" y="13"/>
              </a:cxn>
              <a:cxn ang="0">
                <a:pos x="61" y="11"/>
              </a:cxn>
              <a:cxn ang="0">
                <a:pos x="51" y="5"/>
              </a:cxn>
              <a:cxn ang="0">
                <a:pos x="41" y="0"/>
              </a:cxn>
              <a:cxn ang="0">
                <a:pos x="41" y="3"/>
              </a:cxn>
              <a:cxn ang="0">
                <a:pos x="39" y="3"/>
              </a:cxn>
              <a:cxn ang="0">
                <a:pos x="34" y="1"/>
              </a:cxn>
              <a:cxn ang="0">
                <a:pos x="32" y="3"/>
              </a:cxn>
              <a:cxn ang="0">
                <a:pos x="27" y="5"/>
              </a:cxn>
              <a:cxn ang="0">
                <a:pos x="20" y="8"/>
              </a:cxn>
              <a:cxn ang="0">
                <a:pos x="15" y="11"/>
              </a:cxn>
              <a:cxn ang="0">
                <a:pos x="2" y="15"/>
              </a:cxn>
              <a:cxn ang="0">
                <a:pos x="0" y="17"/>
              </a:cxn>
              <a:cxn ang="0">
                <a:pos x="4" y="24"/>
              </a:cxn>
              <a:cxn ang="0">
                <a:pos x="5" y="31"/>
              </a:cxn>
              <a:cxn ang="0">
                <a:pos x="8" y="37"/>
              </a:cxn>
              <a:cxn ang="0">
                <a:pos x="18" y="44"/>
              </a:cxn>
              <a:cxn ang="0">
                <a:pos x="25" y="50"/>
              </a:cxn>
              <a:cxn ang="0">
                <a:pos x="25" y="51"/>
              </a:cxn>
              <a:cxn ang="0">
                <a:pos x="37" y="51"/>
              </a:cxn>
              <a:cxn ang="0">
                <a:pos x="39" y="50"/>
              </a:cxn>
              <a:cxn ang="0">
                <a:pos x="42" y="42"/>
              </a:cxn>
              <a:cxn ang="0">
                <a:pos x="48" y="42"/>
              </a:cxn>
              <a:cxn ang="0">
                <a:pos x="56" y="47"/>
              </a:cxn>
              <a:cxn ang="0">
                <a:pos x="61" y="50"/>
              </a:cxn>
              <a:cxn ang="0">
                <a:pos x="69" y="48"/>
              </a:cxn>
              <a:cxn ang="0">
                <a:pos x="69" y="52"/>
              </a:cxn>
              <a:cxn ang="0">
                <a:pos x="72" y="48"/>
              </a:cxn>
              <a:cxn ang="0">
                <a:pos x="75" y="47"/>
              </a:cxn>
              <a:cxn ang="0">
                <a:pos x="86" y="42"/>
              </a:cxn>
              <a:cxn ang="0">
                <a:pos x="89" y="40"/>
              </a:cxn>
              <a:cxn ang="0">
                <a:pos x="99" y="31"/>
              </a:cxn>
              <a:cxn ang="0">
                <a:pos x="96" y="27"/>
              </a:cxn>
              <a:cxn ang="0">
                <a:pos x="93" y="24"/>
              </a:cxn>
            </a:cxnLst>
            <a:rect l="0" t="0" r="r" b="b"/>
            <a:pathLst>
              <a:path w="99" h="52">
                <a:moveTo>
                  <a:pt x="93" y="24"/>
                </a:moveTo>
                <a:lnTo>
                  <a:pt x="93" y="24"/>
                </a:lnTo>
                <a:lnTo>
                  <a:pt x="88" y="23"/>
                </a:lnTo>
                <a:lnTo>
                  <a:pt x="85" y="23"/>
                </a:lnTo>
                <a:lnTo>
                  <a:pt x="84" y="21"/>
                </a:lnTo>
                <a:lnTo>
                  <a:pt x="84" y="21"/>
                </a:lnTo>
                <a:lnTo>
                  <a:pt x="82" y="17"/>
                </a:lnTo>
                <a:lnTo>
                  <a:pt x="81" y="15"/>
                </a:lnTo>
                <a:lnTo>
                  <a:pt x="79" y="15"/>
                </a:lnTo>
                <a:lnTo>
                  <a:pt x="79" y="15"/>
                </a:lnTo>
                <a:lnTo>
                  <a:pt x="74" y="15"/>
                </a:lnTo>
                <a:lnTo>
                  <a:pt x="72" y="15"/>
                </a:lnTo>
                <a:lnTo>
                  <a:pt x="69" y="17"/>
                </a:lnTo>
                <a:lnTo>
                  <a:pt x="69" y="17"/>
                </a:lnTo>
                <a:lnTo>
                  <a:pt x="68" y="18"/>
                </a:lnTo>
                <a:lnTo>
                  <a:pt x="65" y="17"/>
                </a:lnTo>
                <a:lnTo>
                  <a:pt x="62" y="15"/>
                </a:lnTo>
                <a:lnTo>
                  <a:pt x="61" y="13"/>
                </a:lnTo>
                <a:lnTo>
                  <a:pt x="61" y="13"/>
                </a:lnTo>
                <a:lnTo>
                  <a:pt x="61" y="11"/>
                </a:lnTo>
                <a:lnTo>
                  <a:pt x="59" y="10"/>
                </a:lnTo>
                <a:lnTo>
                  <a:pt x="51" y="5"/>
                </a:lnTo>
                <a:lnTo>
                  <a:pt x="51" y="5"/>
                </a:lnTo>
                <a:lnTo>
                  <a:pt x="41" y="0"/>
                </a:lnTo>
                <a:lnTo>
                  <a:pt x="41" y="0"/>
                </a:lnTo>
                <a:lnTo>
                  <a:pt x="41" y="3"/>
                </a:lnTo>
                <a:lnTo>
                  <a:pt x="41" y="3"/>
                </a:lnTo>
                <a:lnTo>
                  <a:pt x="39" y="3"/>
                </a:lnTo>
                <a:lnTo>
                  <a:pt x="37" y="3"/>
                </a:lnTo>
                <a:lnTo>
                  <a:pt x="34" y="1"/>
                </a:lnTo>
                <a:lnTo>
                  <a:pt x="32" y="3"/>
                </a:lnTo>
                <a:lnTo>
                  <a:pt x="32" y="3"/>
                </a:lnTo>
                <a:lnTo>
                  <a:pt x="29" y="4"/>
                </a:lnTo>
                <a:lnTo>
                  <a:pt x="27" y="5"/>
                </a:lnTo>
                <a:lnTo>
                  <a:pt x="22" y="7"/>
                </a:lnTo>
                <a:lnTo>
                  <a:pt x="20" y="8"/>
                </a:lnTo>
                <a:lnTo>
                  <a:pt x="20" y="8"/>
                </a:lnTo>
                <a:lnTo>
                  <a:pt x="15" y="11"/>
                </a:lnTo>
                <a:lnTo>
                  <a:pt x="11" y="13"/>
                </a:lnTo>
                <a:lnTo>
                  <a:pt x="2" y="15"/>
                </a:lnTo>
                <a:lnTo>
                  <a:pt x="2" y="15"/>
                </a:lnTo>
                <a:lnTo>
                  <a:pt x="0" y="17"/>
                </a:lnTo>
                <a:lnTo>
                  <a:pt x="1" y="18"/>
                </a:lnTo>
                <a:lnTo>
                  <a:pt x="4" y="24"/>
                </a:lnTo>
                <a:lnTo>
                  <a:pt x="4" y="24"/>
                </a:lnTo>
                <a:lnTo>
                  <a:pt x="5" y="31"/>
                </a:lnTo>
                <a:lnTo>
                  <a:pt x="7" y="34"/>
                </a:lnTo>
                <a:lnTo>
                  <a:pt x="8" y="37"/>
                </a:lnTo>
                <a:lnTo>
                  <a:pt x="8" y="37"/>
                </a:lnTo>
                <a:lnTo>
                  <a:pt x="18" y="44"/>
                </a:lnTo>
                <a:lnTo>
                  <a:pt x="25" y="50"/>
                </a:lnTo>
                <a:lnTo>
                  <a:pt x="25" y="50"/>
                </a:lnTo>
                <a:lnTo>
                  <a:pt x="25" y="51"/>
                </a:lnTo>
                <a:lnTo>
                  <a:pt x="25" y="51"/>
                </a:lnTo>
                <a:lnTo>
                  <a:pt x="34" y="51"/>
                </a:lnTo>
                <a:lnTo>
                  <a:pt x="37" y="51"/>
                </a:lnTo>
                <a:lnTo>
                  <a:pt x="39" y="50"/>
                </a:lnTo>
                <a:lnTo>
                  <a:pt x="39" y="50"/>
                </a:lnTo>
                <a:lnTo>
                  <a:pt x="41" y="45"/>
                </a:lnTo>
                <a:lnTo>
                  <a:pt x="42" y="42"/>
                </a:lnTo>
                <a:lnTo>
                  <a:pt x="42" y="42"/>
                </a:lnTo>
                <a:lnTo>
                  <a:pt x="48" y="42"/>
                </a:lnTo>
                <a:lnTo>
                  <a:pt x="52" y="44"/>
                </a:lnTo>
                <a:lnTo>
                  <a:pt x="56" y="47"/>
                </a:lnTo>
                <a:lnTo>
                  <a:pt x="56" y="47"/>
                </a:lnTo>
                <a:lnTo>
                  <a:pt x="61" y="50"/>
                </a:lnTo>
                <a:lnTo>
                  <a:pt x="64" y="50"/>
                </a:lnTo>
                <a:lnTo>
                  <a:pt x="69" y="48"/>
                </a:lnTo>
                <a:lnTo>
                  <a:pt x="69" y="48"/>
                </a:lnTo>
                <a:lnTo>
                  <a:pt x="69" y="52"/>
                </a:lnTo>
                <a:lnTo>
                  <a:pt x="69" y="52"/>
                </a:lnTo>
                <a:lnTo>
                  <a:pt x="72" y="48"/>
                </a:lnTo>
                <a:lnTo>
                  <a:pt x="75" y="47"/>
                </a:lnTo>
                <a:lnTo>
                  <a:pt x="75" y="47"/>
                </a:lnTo>
                <a:lnTo>
                  <a:pt x="82" y="45"/>
                </a:lnTo>
                <a:lnTo>
                  <a:pt x="86" y="42"/>
                </a:lnTo>
                <a:lnTo>
                  <a:pt x="89" y="40"/>
                </a:lnTo>
                <a:lnTo>
                  <a:pt x="89" y="40"/>
                </a:lnTo>
                <a:lnTo>
                  <a:pt x="93" y="35"/>
                </a:lnTo>
                <a:lnTo>
                  <a:pt x="99" y="31"/>
                </a:lnTo>
                <a:lnTo>
                  <a:pt x="99" y="31"/>
                </a:lnTo>
                <a:lnTo>
                  <a:pt x="96" y="27"/>
                </a:lnTo>
                <a:lnTo>
                  <a:pt x="93" y="24"/>
                </a:lnTo>
                <a:lnTo>
                  <a:pt x="93" y="2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72" name="Freeform 259">
            <a:extLst>
              <a:ext uri="{FF2B5EF4-FFF2-40B4-BE49-F238E27FC236}">
                <a16:creationId xmlns:a16="http://schemas.microsoft.com/office/drawing/2014/main" id="{B02D4F43-7AD0-2D82-F2A0-6893E855E611}"/>
              </a:ext>
            </a:extLst>
          </p:cNvPr>
          <p:cNvSpPr>
            <a:spLocks/>
          </p:cNvSpPr>
          <p:nvPr userDrawn="1"/>
        </p:nvSpPr>
        <p:spPr bwMode="gray">
          <a:xfrm>
            <a:off x="4702050" y="2208004"/>
            <a:ext cx="118347" cy="48119"/>
          </a:xfrm>
          <a:custGeom>
            <a:avLst/>
            <a:gdLst/>
            <a:ahLst/>
            <a:cxnLst>
              <a:cxn ang="0">
                <a:pos x="67" y="4"/>
              </a:cxn>
              <a:cxn ang="0">
                <a:pos x="61" y="3"/>
              </a:cxn>
              <a:cxn ang="0">
                <a:pos x="56" y="3"/>
              </a:cxn>
              <a:cxn ang="0">
                <a:pos x="52" y="3"/>
              </a:cxn>
              <a:cxn ang="0">
                <a:pos x="42" y="2"/>
              </a:cxn>
              <a:cxn ang="0">
                <a:pos x="40" y="2"/>
              </a:cxn>
              <a:cxn ang="0">
                <a:pos x="34" y="3"/>
              </a:cxn>
              <a:cxn ang="0">
                <a:pos x="32" y="3"/>
              </a:cxn>
              <a:cxn ang="0">
                <a:pos x="30" y="0"/>
              </a:cxn>
              <a:cxn ang="0">
                <a:pos x="20" y="9"/>
              </a:cxn>
              <a:cxn ang="0">
                <a:pos x="17" y="11"/>
              </a:cxn>
              <a:cxn ang="0">
                <a:pos x="6" y="16"/>
              </a:cxn>
              <a:cxn ang="0">
                <a:pos x="3" y="17"/>
              </a:cxn>
              <a:cxn ang="0">
                <a:pos x="0" y="21"/>
              </a:cxn>
              <a:cxn ang="0">
                <a:pos x="9" y="34"/>
              </a:cxn>
              <a:cxn ang="0">
                <a:pos x="13" y="36"/>
              </a:cxn>
              <a:cxn ang="0">
                <a:pos x="27" y="36"/>
              </a:cxn>
              <a:cxn ang="0">
                <a:pos x="30" y="34"/>
              </a:cxn>
              <a:cxn ang="0">
                <a:pos x="30" y="33"/>
              </a:cxn>
              <a:cxn ang="0">
                <a:pos x="37" y="30"/>
              </a:cxn>
              <a:cxn ang="0">
                <a:pos x="47" y="29"/>
              </a:cxn>
              <a:cxn ang="0">
                <a:pos x="54" y="23"/>
              </a:cxn>
              <a:cxn ang="0">
                <a:pos x="61" y="19"/>
              </a:cxn>
              <a:cxn ang="0">
                <a:pos x="69" y="20"/>
              </a:cxn>
              <a:cxn ang="0">
                <a:pos x="77" y="24"/>
              </a:cxn>
              <a:cxn ang="0">
                <a:pos x="80" y="26"/>
              </a:cxn>
              <a:cxn ang="0">
                <a:pos x="87" y="27"/>
              </a:cxn>
              <a:cxn ang="0">
                <a:pos x="83" y="21"/>
              </a:cxn>
              <a:cxn ang="0">
                <a:pos x="84" y="19"/>
              </a:cxn>
              <a:cxn ang="0">
                <a:pos x="90" y="10"/>
              </a:cxn>
              <a:cxn ang="0">
                <a:pos x="91" y="10"/>
              </a:cxn>
              <a:cxn ang="0">
                <a:pos x="84" y="9"/>
              </a:cxn>
              <a:cxn ang="0">
                <a:pos x="81" y="7"/>
              </a:cxn>
              <a:cxn ang="0">
                <a:pos x="67" y="4"/>
              </a:cxn>
            </a:cxnLst>
            <a:rect l="0" t="0" r="r" b="b"/>
            <a:pathLst>
              <a:path w="91" h="37">
                <a:moveTo>
                  <a:pt x="67" y="4"/>
                </a:moveTo>
                <a:lnTo>
                  <a:pt x="67" y="4"/>
                </a:lnTo>
                <a:lnTo>
                  <a:pt x="64" y="4"/>
                </a:lnTo>
                <a:lnTo>
                  <a:pt x="61" y="3"/>
                </a:lnTo>
                <a:lnTo>
                  <a:pt x="59" y="3"/>
                </a:lnTo>
                <a:lnTo>
                  <a:pt x="56" y="3"/>
                </a:lnTo>
                <a:lnTo>
                  <a:pt x="56" y="3"/>
                </a:lnTo>
                <a:lnTo>
                  <a:pt x="52" y="3"/>
                </a:lnTo>
                <a:lnTo>
                  <a:pt x="47" y="3"/>
                </a:lnTo>
                <a:lnTo>
                  <a:pt x="42" y="2"/>
                </a:lnTo>
                <a:lnTo>
                  <a:pt x="42" y="2"/>
                </a:lnTo>
                <a:lnTo>
                  <a:pt x="40" y="2"/>
                </a:lnTo>
                <a:lnTo>
                  <a:pt x="37" y="2"/>
                </a:lnTo>
                <a:lnTo>
                  <a:pt x="34" y="3"/>
                </a:lnTo>
                <a:lnTo>
                  <a:pt x="32" y="3"/>
                </a:lnTo>
                <a:lnTo>
                  <a:pt x="32" y="3"/>
                </a:lnTo>
                <a:lnTo>
                  <a:pt x="30" y="0"/>
                </a:lnTo>
                <a:lnTo>
                  <a:pt x="30" y="0"/>
                </a:lnTo>
                <a:lnTo>
                  <a:pt x="24" y="4"/>
                </a:lnTo>
                <a:lnTo>
                  <a:pt x="20" y="9"/>
                </a:lnTo>
                <a:lnTo>
                  <a:pt x="20" y="9"/>
                </a:lnTo>
                <a:lnTo>
                  <a:pt x="17" y="11"/>
                </a:lnTo>
                <a:lnTo>
                  <a:pt x="13" y="14"/>
                </a:lnTo>
                <a:lnTo>
                  <a:pt x="6" y="16"/>
                </a:lnTo>
                <a:lnTo>
                  <a:pt x="6" y="16"/>
                </a:lnTo>
                <a:lnTo>
                  <a:pt x="3" y="17"/>
                </a:lnTo>
                <a:lnTo>
                  <a:pt x="0" y="21"/>
                </a:lnTo>
                <a:lnTo>
                  <a:pt x="0" y="21"/>
                </a:lnTo>
                <a:lnTo>
                  <a:pt x="5" y="27"/>
                </a:lnTo>
                <a:lnTo>
                  <a:pt x="9" y="34"/>
                </a:lnTo>
                <a:lnTo>
                  <a:pt x="9" y="34"/>
                </a:lnTo>
                <a:lnTo>
                  <a:pt x="13" y="36"/>
                </a:lnTo>
                <a:lnTo>
                  <a:pt x="20" y="37"/>
                </a:lnTo>
                <a:lnTo>
                  <a:pt x="27" y="36"/>
                </a:lnTo>
                <a:lnTo>
                  <a:pt x="29" y="34"/>
                </a:lnTo>
                <a:lnTo>
                  <a:pt x="30" y="34"/>
                </a:lnTo>
                <a:lnTo>
                  <a:pt x="30" y="34"/>
                </a:lnTo>
                <a:lnTo>
                  <a:pt x="30" y="33"/>
                </a:lnTo>
                <a:lnTo>
                  <a:pt x="32" y="31"/>
                </a:lnTo>
                <a:lnTo>
                  <a:pt x="37" y="30"/>
                </a:lnTo>
                <a:lnTo>
                  <a:pt x="47" y="29"/>
                </a:lnTo>
                <a:lnTo>
                  <a:pt x="47" y="29"/>
                </a:lnTo>
                <a:lnTo>
                  <a:pt x="50" y="27"/>
                </a:lnTo>
                <a:lnTo>
                  <a:pt x="54" y="23"/>
                </a:lnTo>
                <a:lnTo>
                  <a:pt x="59" y="20"/>
                </a:lnTo>
                <a:lnTo>
                  <a:pt x="61" y="19"/>
                </a:lnTo>
                <a:lnTo>
                  <a:pt x="61" y="19"/>
                </a:lnTo>
                <a:lnTo>
                  <a:pt x="69" y="20"/>
                </a:lnTo>
                <a:lnTo>
                  <a:pt x="73" y="21"/>
                </a:lnTo>
                <a:lnTo>
                  <a:pt x="77" y="24"/>
                </a:lnTo>
                <a:lnTo>
                  <a:pt x="77" y="24"/>
                </a:lnTo>
                <a:lnTo>
                  <a:pt x="80" y="26"/>
                </a:lnTo>
                <a:lnTo>
                  <a:pt x="87" y="27"/>
                </a:lnTo>
                <a:lnTo>
                  <a:pt x="87" y="27"/>
                </a:lnTo>
                <a:lnTo>
                  <a:pt x="84" y="24"/>
                </a:lnTo>
                <a:lnTo>
                  <a:pt x="83" y="21"/>
                </a:lnTo>
                <a:lnTo>
                  <a:pt x="83" y="21"/>
                </a:lnTo>
                <a:lnTo>
                  <a:pt x="84" y="19"/>
                </a:lnTo>
                <a:lnTo>
                  <a:pt x="86" y="16"/>
                </a:lnTo>
                <a:lnTo>
                  <a:pt x="90" y="10"/>
                </a:lnTo>
                <a:lnTo>
                  <a:pt x="90" y="10"/>
                </a:lnTo>
                <a:lnTo>
                  <a:pt x="91" y="10"/>
                </a:lnTo>
                <a:lnTo>
                  <a:pt x="91" y="10"/>
                </a:lnTo>
                <a:lnTo>
                  <a:pt x="84" y="9"/>
                </a:lnTo>
                <a:lnTo>
                  <a:pt x="81" y="7"/>
                </a:lnTo>
                <a:lnTo>
                  <a:pt x="81" y="7"/>
                </a:lnTo>
                <a:lnTo>
                  <a:pt x="76" y="4"/>
                </a:lnTo>
                <a:lnTo>
                  <a:pt x="67" y="4"/>
                </a:lnTo>
                <a:lnTo>
                  <a:pt x="67" y="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73" name="Freeform 260">
            <a:extLst>
              <a:ext uri="{FF2B5EF4-FFF2-40B4-BE49-F238E27FC236}">
                <a16:creationId xmlns:a16="http://schemas.microsoft.com/office/drawing/2014/main" id="{6651BB26-263F-E5E6-BC90-20A1FBE08553}"/>
              </a:ext>
            </a:extLst>
          </p:cNvPr>
          <p:cNvSpPr>
            <a:spLocks/>
          </p:cNvSpPr>
          <p:nvPr userDrawn="1"/>
        </p:nvSpPr>
        <p:spPr bwMode="gray">
          <a:xfrm>
            <a:off x="4154537" y="2404381"/>
            <a:ext cx="68928" cy="127450"/>
          </a:xfrm>
          <a:custGeom>
            <a:avLst/>
            <a:gdLst/>
            <a:ahLst/>
            <a:cxnLst>
              <a:cxn ang="0">
                <a:pos x="40" y="81"/>
              </a:cxn>
              <a:cxn ang="0">
                <a:pos x="41" y="80"/>
              </a:cxn>
              <a:cxn ang="0">
                <a:pos x="36" y="72"/>
              </a:cxn>
              <a:cxn ang="0">
                <a:pos x="36" y="70"/>
              </a:cxn>
              <a:cxn ang="0">
                <a:pos x="37" y="65"/>
              </a:cxn>
              <a:cxn ang="0">
                <a:pos x="40" y="64"/>
              </a:cxn>
              <a:cxn ang="0">
                <a:pos x="41" y="61"/>
              </a:cxn>
              <a:cxn ang="0">
                <a:pos x="36" y="55"/>
              </a:cxn>
              <a:cxn ang="0">
                <a:pos x="34" y="50"/>
              </a:cxn>
              <a:cxn ang="0">
                <a:pos x="40" y="48"/>
              </a:cxn>
              <a:cxn ang="0">
                <a:pos x="40" y="48"/>
              </a:cxn>
              <a:cxn ang="0">
                <a:pos x="41" y="44"/>
              </a:cxn>
              <a:cxn ang="0">
                <a:pos x="43" y="38"/>
              </a:cxn>
              <a:cxn ang="0">
                <a:pos x="44" y="34"/>
              </a:cxn>
              <a:cxn ang="0">
                <a:pos x="41" y="23"/>
              </a:cxn>
              <a:cxn ang="0">
                <a:pos x="43" y="20"/>
              </a:cxn>
              <a:cxn ang="0">
                <a:pos x="51" y="14"/>
              </a:cxn>
              <a:cxn ang="0">
                <a:pos x="53" y="11"/>
              </a:cxn>
              <a:cxn ang="0">
                <a:pos x="49" y="8"/>
              </a:cxn>
              <a:cxn ang="0">
                <a:pos x="47" y="7"/>
              </a:cxn>
              <a:cxn ang="0">
                <a:pos x="44" y="4"/>
              </a:cxn>
              <a:cxn ang="0">
                <a:pos x="37" y="6"/>
              </a:cxn>
              <a:cxn ang="0">
                <a:pos x="36" y="7"/>
              </a:cxn>
              <a:cxn ang="0">
                <a:pos x="33" y="6"/>
              </a:cxn>
              <a:cxn ang="0">
                <a:pos x="32" y="6"/>
              </a:cxn>
              <a:cxn ang="0">
                <a:pos x="23" y="6"/>
              </a:cxn>
              <a:cxn ang="0">
                <a:pos x="22" y="3"/>
              </a:cxn>
              <a:cxn ang="0">
                <a:pos x="20" y="0"/>
              </a:cxn>
              <a:cxn ang="0">
                <a:pos x="16" y="3"/>
              </a:cxn>
              <a:cxn ang="0">
                <a:pos x="14" y="4"/>
              </a:cxn>
              <a:cxn ang="0">
                <a:pos x="12" y="4"/>
              </a:cxn>
              <a:cxn ang="0">
                <a:pos x="12" y="16"/>
              </a:cxn>
              <a:cxn ang="0">
                <a:pos x="13" y="18"/>
              </a:cxn>
              <a:cxn ang="0">
                <a:pos x="10" y="34"/>
              </a:cxn>
              <a:cxn ang="0">
                <a:pos x="2" y="54"/>
              </a:cxn>
              <a:cxn ang="0">
                <a:pos x="0" y="58"/>
              </a:cxn>
              <a:cxn ang="0">
                <a:pos x="3" y="64"/>
              </a:cxn>
              <a:cxn ang="0">
                <a:pos x="9" y="68"/>
              </a:cxn>
              <a:cxn ang="0">
                <a:pos x="12" y="74"/>
              </a:cxn>
              <a:cxn ang="0">
                <a:pos x="10" y="95"/>
              </a:cxn>
              <a:cxn ang="0">
                <a:pos x="12" y="97"/>
              </a:cxn>
              <a:cxn ang="0">
                <a:pos x="23" y="98"/>
              </a:cxn>
              <a:cxn ang="0">
                <a:pos x="29" y="97"/>
              </a:cxn>
              <a:cxn ang="0">
                <a:pos x="36" y="95"/>
              </a:cxn>
              <a:cxn ang="0">
                <a:pos x="33" y="90"/>
              </a:cxn>
              <a:cxn ang="0">
                <a:pos x="36" y="82"/>
              </a:cxn>
              <a:cxn ang="0">
                <a:pos x="40" y="81"/>
              </a:cxn>
            </a:cxnLst>
            <a:rect l="0" t="0" r="r" b="b"/>
            <a:pathLst>
              <a:path w="53" h="98">
                <a:moveTo>
                  <a:pt x="40" y="81"/>
                </a:moveTo>
                <a:lnTo>
                  <a:pt x="40" y="81"/>
                </a:lnTo>
                <a:lnTo>
                  <a:pt x="41" y="80"/>
                </a:lnTo>
                <a:lnTo>
                  <a:pt x="41" y="80"/>
                </a:lnTo>
                <a:lnTo>
                  <a:pt x="41" y="77"/>
                </a:lnTo>
                <a:lnTo>
                  <a:pt x="36" y="72"/>
                </a:lnTo>
                <a:lnTo>
                  <a:pt x="36" y="72"/>
                </a:lnTo>
                <a:lnTo>
                  <a:pt x="36" y="70"/>
                </a:lnTo>
                <a:lnTo>
                  <a:pt x="36" y="67"/>
                </a:lnTo>
                <a:lnTo>
                  <a:pt x="37" y="65"/>
                </a:lnTo>
                <a:lnTo>
                  <a:pt x="40" y="64"/>
                </a:lnTo>
                <a:lnTo>
                  <a:pt x="40" y="64"/>
                </a:lnTo>
                <a:lnTo>
                  <a:pt x="41" y="62"/>
                </a:lnTo>
                <a:lnTo>
                  <a:pt x="41" y="61"/>
                </a:lnTo>
                <a:lnTo>
                  <a:pt x="36" y="55"/>
                </a:lnTo>
                <a:lnTo>
                  <a:pt x="36" y="55"/>
                </a:lnTo>
                <a:lnTo>
                  <a:pt x="34" y="53"/>
                </a:lnTo>
                <a:lnTo>
                  <a:pt x="34" y="50"/>
                </a:lnTo>
                <a:lnTo>
                  <a:pt x="37" y="50"/>
                </a:lnTo>
                <a:lnTo>
                  <a:pt x="40" y="48"/>
                </a:lnTo>
                <a:lnTo>
                  <a:pt x="40" y="48"/>
                </a:lnTo>
                <a:lnTo>
                  <a:pt x="40" y="48"/>
                </a:lnTo>
                <a:lnTo>
                  <a:pt x="41" y="47"/>
                </a:lnTo>
                <a:lnTo>
                  <a:pt x="41" y="44"/>
                </a:lnTo>
                <a:lnTo>
                  <a:pt x="41" y="41"/>
                </a:lnTo>
                <a:lnTo>
                  <a:pt x="43" y="38"/>
                </a:lnTo>
                <a:lnTo>
                  <a:pt x="43" y="38"/>
                </a:lnTo>
                <a:lnTo>
                  <a:pt x="44" y="34"/>
                </a:lnTo>
                <a:lnTo>
                  <a:pt x="43" y="30"/>
                </a:lnTo>
                <a:lnTo>
                  <a:pt x="41" y="23"/>
                </a:lnTo>
                <a:lnTo>
                  <a:pt x="41" y="23"/>
                </a:lnTo>
                <a:lnTo>
                  <a:pt x="43" y="20"/>
                </a:lnTo>
                <a:lnTo>
                  <a:pt x="44" y="18"/>
                </a:lnTo>
                <a:lnTo>
                  <a:pt x="51" y="14"/>
                </a:lnTo>
                <a:lnTo>
                  <a:pt x="51" y="14"/>
                </a:lnTo>
                <a:lnTo>
                  <a:pt x="53" y="11"/>
                </a:lnTo>
                <a:lnTo>
                  <a:pt x="51" y="10"/>
                </a:lnTo>
                <a:lnTo>
                  <a:pt x="49" y="8"/>
                </a:lnTo>
                <a:lnTo>
                  <a:pt x="47" y="7"/>
                </a:lnTo>
                <a:lnTo>
                  <a:pt x="47" y="7"/>
                </a:lnTo>
                <a:lnTo>
                  <a:pt x="47" y="6"/>
                </a:lnTo>
                <a:lnTo>
                  <a:pt x="44" y="4"/>
                </a:lnTo>
                <a:lnTo>
                  <a:pt x="41" y="4"/>
                </a:lnTo>
                <a:lnTo>
                  <a:pt x="37" y="6"/>
                </a:lnTo>
                <a:lnTo>
                  <a:pt x="37" y="6"/>
                </a:lnTo>
                <a:lnTo>
                  <a:pt x="36" y="7"/>
                </a:lnTo>
                <a:lnTo>
                  <a:pt x="34" y="7"/>
                </a:lnTo>
                <a:lnTo>
                  <a:pt x="33" y="6"/>
                </a:lnTo>
                <a:lnTo>
                  <a:pt x="32" y="6"/>
                </a:lnTo>
                <a:lnTo>
                  <a:pt x="32" y="6"/>
                </a:lnTo>
                <a:lnTo>
                  <a:pt x="26" y="6"/>
                </a:lnTo>
                <a:lnTo>
                  <a:pt x="23" y="6"/>
                </a:lnTo>
                <a:lnTo>
                  <a:pt x="22" y="3"/>
                </a:lnTo>
                <a:lnTo>
                  <a:pt x="22" y="3"/>
                </a:lnTo>
                <a:lnTo>
                  <a:pt x="22" y="1"/>
                </a:lnTo>
                <a:lnTo>
                  <a:pt x="20" y="0"/>
                </a:lnTo>
                <a:lnTo>
                  <a:pt x="19" y="1"/>
                </a:lnTo>
                <a:lnTo>
                  <a:pt x="16" y="3"/>
                </a:lnTo>
                <a:lnTo>
                  <a:pt x="16" y="3"/>
                </a:lnTo>
                <a:lnTo>
                  <a:pt x="14" y="4"/>
                </a:lnTo>
                <a:lnTo>
                  <a:pt x="12" y="4"/>
                </a:lnTo>
                <a:lnTo>
                  <a:pt x="12" y="4"/>
                </a:lnTo>
                <a:lnTo>
                  <a:pt x="12" y="11"/>
                </a:lnTo>
                <a:lnTo>
                  <a:pt x="12" y="16"/>
                </a:lnTo>
                <a:lnTo>
                  <a:pt x="12" y="16"/>
                </a:lnTo>
                <a:lnTo>
                  <a:pt x="13" y="18"/>
                </a:lnTo>
                <a:lnTo>
                  <a:pt x="13" y="23"/>
                </a:lnTo>
                <a:lnTo>
                  <a:pt x="10" y="34"/>
                </a:lnTo>
                <a:lnTo>
                  <a:pt x="7" y="45"/>
                </a:lnTo>
                <a:lnTo>
                  <a:pt x="2" y="54"/>
                </a:lnTo>
                <a:lnTo>
                  <a:pt x="2" y="54"/>
                </a:lnTo>
                <a:lnTo>
                  <a:pt x="0" y="58"/>
                </a:lnTo>
                <a:lnTo>
                  <a:pt x="0" y="61"/>
                </a:lnTo>
                <a:lnTo>
                  <a:pt x="3" y="64"/>
                </a:lnTo>
                <a:lnTo>
                  <a:pt x="9" y="68"/>
                </a:lnTo>
                <a:lnTo>
                  <a:pt x="9" y="68"/>
                </a:lnTo>
                <a:lnTo>
                  <a:pt x="10" y="70"/>
                </a:lnTo>
                <a:lnTo>
                  <a:pt x="12" y="74"/>
                </a:lnTo>
                <a:lnTo>
                  <a:pt x="12" y="81"/>
                </a:lnTo>
                <a:lnTo>
                  <a:pt x="10" y="95"/>
                </a:lnTo>
                <a:lnTo>
                  <a:pt x="10" y="95"/>
                </a:lnTo>
                <a:lnTo>
                  <a:pt x="12" y="97"/>
                </a:lnTo>
                <a:lnTo>
                  <a:pt x="14" y="98"/>
                </a:lnTo>
                <a:lnTo>
                  <a:pt x="23" y="98"/>
                </a:lnTo>
                <a:lnTo>
                  <a:pt x="23" y="98"/>
                </a:lnTo>
                <a:lnTo>
                  <a:pt x="29" y="97"/>
                </a:lnTo>
                <a:lnTo>
                  <a:pt x="36" y="95"/>
                </a:lnTo>
                <a:lnTo>
                  <a:pt x="36" y="95"/>
                </a:lnTo>
                <a:lnTo>
                  <a:pt x="33" y="90"/>
                </a:lnTo>
                <a:lnTo>
                  <a:pt x="33" y="90"/>
                </a:lnTo>
                <a:lnTo>
                  <a:pt x="34" y="84"/>
                </a:lnTo>
                <a:lnTo>
                  <a:pt x="36" y="82"/>
                </a:lnTo>
                <a:lnTo>
                  <a:pt x="40" y="81"/>
                </a:lnTo>
                <a:lnTo>
                  <a:pt x="40" y="81"/>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74" name="Freeform 261">
            <a:extLst>
              <a:ext uri="{FF2B5EF4-FFF2-40B4-BE49-F238E27FC236}">
                <a16:creationId xmlns:a16="http://schemas.microsoft.com/office/drawing/2014/main" id="{A310BC1C-B9E4-CC73-C34D-F2A79BD17123}"/>
              </a:ext>
            </a:extLst>
          </p:cNvPr>
          <p:cNvSpPr>
            <a:spLocks/>
          </p:cNvSpPr>
          <p:nvPr userDrawn="1"/>
        </p:nvSpPr>
        <p:spPr bwMode="gray">
          <a:xfrm>
            <a:off x="4421140" y="2101363"/>
            <a:ext cx="84533" cy="72828"/>
          </a:xfrm>
          <a:custGeom>
            <a:avLst/>
            <a:gdLst/>
            <a:ahLst/>
            <a:cxnLst>
              <a:cxn ang="0">
                <a:pos x="21" y="44"/>
              </a:cxn>
              <a:cxn ang="0">
                <a:pos x="26" y="42"/>
              </a:cxn>
              <a:cxn ang="0">
                <a:pos x="31" y="45"/>
              </a:cxn>
              <a:cxn ang="0">
                <a:pos x="37" y="48"/>
              </a:cxn>
              <a:cxn ang="0">
                <a:pos x="43" y="52"/>
              </a:cxn>
              <a:cxn ang="0">
                <a:pos x="47" y="56"/>
              </a:cxn>
              <a:cxn ang="0">
                <a:pos x="48" y="44"/>
              </a:cxn>
              <a:cxn ang="0">
                <a:pos x="48" y="41"/>
              </a:cxn>
              <a:cxn ang="0">
                <a:pos x="48" y="37"/>
              </a:cxn>
              <a:cxn ang="0">
                <a:pos x="50" y="37"/>
              </a:cxn>
              <a:cxn ang="0">
                <a:pos x="57" y="34"/>
              </a:cxn>
              <a:cxn ang="0">
                <a:pos x="58" y="32"/>
              </a:cxn>
              <a:cxn ang="0">
                <a:pos x="60" y="28"/>
              </a:cxn>
              <a:cxn ang="0">
                <a:pos x="63" y="27"/>
              </a:cxn>
              <a:cxn ang="0">
                <a:pos x="60" y="22"/>
              </a:cxn>
              <a:cxn ang="0">
                <a:pos x="57" y="18"/>
              </a:cxn>
              <a:cxn ang="0">
                <a:pos x="58" y="15"/>
              </a:cxn>
              <a:cxn ang="0">
                <a:pos x="65" y="11"/>
              </a:cxn>
              <a:cxn ang="0">
                <a:pos x="65" y="5"/>
              </a:cxn>
              <a:cxn ang="0">
                <a:pos x="64" y="0"/>
              </a:cxn>
              <a:cxn ang="0">
                <a:pos x="60" y="1"/>
              </a:cxn>
              <a:cxn ang="0">
                <a:pos x="57" y="0"/>
              </a:cxn>
              <a:cxn ang="0">
                <a:pos x="44" y="1"/>
              </a:cxn>
              <a:cxn ang="0">
                <a:pos x="40" y="4"/>
              </a:cxn>
              <a:cxn ang="0">
                <a:pos x="37" y="10"/>
              </a:cxn>
              <a:cxn ang="0">
                <a:pos x="37" y="12"/>
              </a:cxn>
              <a:cxn ang="0">
                <a:pos x="37" y="15"/>
              </a:cxn>
              <a:cxn ang="0">
                <a:pos x="31" y="15"/>
              </a:cxn>
              <a:cxn ang="0">
                <a:pos x="30" y="14"/>
              </a:cxn>
              <a:cxn ang="0">
                <a:pos x="26" y="12"/>
              </a:cxn>
              <a:cxn ang="0">
                <a:pos x="23" y="17"/>
              </a:cxn>
              <a:cxn ang="0">
                <a:pos x="21" y="21"/>
              </a:cxn>
              <a:cxn ang="0">
                <a:pos x="16" y="27"/>
              </a:cxn>
              <a:cxn ang="0">
                <a:pos x="16" y="29"/>
              </a:cxn>
              <a:cxn ang="0">
                <a:pos x="11" y="38"/>
              </a:cxn>
              <a:cxn ang="0">
                <a:pos x="3" y="45"/>
              </a:cxn>
              <a:cxn ang="0">
                <a:pos x="0" y="47"/>
              </a:cxn>
              <a:cxn ang="0">
                <a:pos x="6" y="48"/>
              </a:cxn>
              <a:cxn ang="0">
                <a:pos x="19" y="45"/>
              </a:cxn>
              <a:cxn ang="0">
                <a:pos x="21" y="44"/>
              </a:cxn>
            </a:cxnLst>
            <a:rect l="0" t="0" r="r" b="b"/>
            <a:pathLst>
              <a:path w="65" h="56">
                <a:moveTo>
                  <a:pt x="21" y="44"/>
                </a:moveTo>
                <a:lnTo>
                  <a:pt x="21" y="44"/>
                </a:lnTo>
                <a:lnTo>
                  <a:pt x="23" y="42"/>
                </a:lnTo>
                <a:lnTo>
                  <a:pt x="26" y="42"/>
                </a:lnTo>
                <a:lnTo>
                  <a:pt x="30" y="44"/>
                </a:lnTo>
                <a:lnTo>
                  <a:pt x="31" y="45"/>
                </a:lnTo>
                <a:lnTo>
                  <a:pt x="31" y="45"/>
                </a:lnTo>
                <a:lnTo>
                  <a:pt x="37" y="48"/>
                </a:lnTo>
                <a:lnTo>
                  <a:pt x="43" y="52"/>
                </a:lnTo>
                <a:lnTo>
                  <a:pt x="43" y="52"/>
                </a:lnTo>
                <a:lnTo>
                  <a:pt x="47" y="56"/>
                </a:lnTo>
                <a:lnTo>
                  <a:pt x="47" y="56"/>
                </a:lnTo>
                <a:lnTo>
                  <a:pt x="47" y="49"/>
                </a:lnTo>
                <a:lnTo>
                  <a:pt x="48" y="44"/>
                </a:lnTo>
                <a:lnTo>
                  <a:pt x="48" y="44"/>
                </a:lnTo>
                <a:lnTo>
                  <a:pt x="48" y="41"/>
                </a:lnTo>
                <a:lnTo>
                  <a:pt x="48" y="38"/>
                </a:lnTo>
                <a:lnTo>
                  <a:pt x="48" y="37"/>
                </a:lnTo>
                <a:lnTo>
                  <a:pt x="50" y="37"/>
                </a:lnTo>
                <a:lnTo>
                  <a:pt x="50" y="37"/>
                </a:lnTo>
                <a:lnTo>
                  <a:pt x="56" y="35"/>
                </a:lnTo>
                <a:lnTo>
                  <a:pt x="57" y="34"/>
                </a:lnTo>
                <a:lnTo>
                  <a:pt x="58" y="32"/>
                </a:lnTo>
                <a:lnTo>
                  <a:pt x="58" y="32"/>
                </a:lnTo>
                <a:lnTo>
                  <a:pt x="58" y="29"/>
                </a:lnTo>
                <a:lnTo>
                  <a:pt x="60" y="28"/>
                </a:lnTo>
                <a:lnTo>
                  <a:pt x="63" y="27"/>
                </a:lnTo>
                <a:lnTo>
                  <a:pt x="63" y="27"/>
                </a:lnTo>
                <a:lnTo>
                  <a:pt x="61" y="24"/>
                </a:lnTo>
                <a:lnTo>
                  <a:pt x="60" y="22"/>
                </a:lnTo>
                <a:lnTo>
                  <a:pt x="57" y="18"/>
                </a:lnTo>
                <a:lnTo>
                  <a:pt x="57" y="18"/>
                </a:lnTo>
                <a:lnTo>
                  <a:pt x="57" y="17"/>
                </a:lnTo>
                <a:lnTo>
                  <a:pt x="58" y="15"/>
                </a:lnTo>
                <a:lnTo>
                  <a:pt x="61" y="14"/>
                </a:lnTo>
                <a:lnTo>
                  <a:pt x="65" y="11"/>
                </a:lnTo>
                <a:lnTo>
                  <a:pt x="65" y="11"/>
                </a:lnTo>
                <a:lnTo>
                  <a:pt x="65" y="5"/>
                </a:lnTo>
                <a:lnTo>
                  <a:pt x="64" y="0"/>
                </a:lnTo>
                <a:lnTo>
                  <a:pt x="64" y="0"/>
                </a:lnTo>
                <a:lnTo>
                  <a:pt x="63" y="1"/>
                </a:lnTo>
                <a:lnTo>
                  <a:pt x="60" y="1"/>
                </a:lnTo>
                <a:lnTo>
                  <a:pt x="60" y="1"/>
                </a:lnTo>
                <a:lnTo>
                  <a:pt x="57" y="0"/>
                </a:lnTo>
                <a:lnTo>
                  <a:pt x="54" y="0"/>
                </a:lnTo>
                <a:lnTo>
                  <a:pt x="44" y="1"/>
                </a:lnTo>
                <a:lnTo>
                  <a:pt x="44" y="1"/>
                </a:lnTo>
                <a:lnTo>
                  <a:pt x="40" y="4"/>
                </a:lnTo>
                <a:lnTo>
                  <a:pt x="37" y="7"/>
                </a:lnTo>
                <a:lnTo>
                  <a:pt x="37" y="10"/>
                </a:lnTo>
                <a:lnTo>
                  <a:pt x="37" y="12"/>
                </a:lnTo>
                <a:lnTo>
                  <a:pt x="37" y="12"/>
                </a:lnTo>
                <a:lnTo>
                  <a:pt x="38" y="14"/>
                </a:lnTo>
                <a:lnTo>
                  <a:pt x="37" y="15"/>
                </a:lnTo>
                <a:lnTo>
                  <a:pt x="36" y="15"/>
                </a:lnTo>
                <a:lnTo>
                  <a:pt x="31" y="15"/>
                </a:lnTo>
                <a:lnTo>
                  <a:pt x="30" y="14"/>
                </a:lnTo>
                <a:lnTo>
                  <a:pt x="30" y="14"/>
                </a:lnTo>
                <a:lnTo>
                  <a:pt x="29" y="11"/>
                </a:lnTo>
                <a:lnTo>
                  <a:pt x="26" y="12"/>
                </a:lnTo>
                <a:lnTo>
                  <a:pt x="23" y="14"/>
                </a:lnTo>
                <a:lnTo>
                  <a:pt x="23" y="17"/>
                </a:lnTo>
                <a:lnTo>
                  <a:pt x="23" y="17"/>
                </a:lnTo>
                <a:lnTo>
                  <a:pt x="21" y="21"/>
                </a:lnTo>
                <a:lnTo>
                  <a:pt x="19" y="24"/>
                </a:lnTo>
                <a:lnTo>
                  <a:pt x="16" y="27"/>
                </a:lnTo>
                <a:lnTo>
                  <a:pt x="16" y="29"/>
                </a:lnTo>
                <a:lnTo>
                  <a:pt x="16" y="29"/>
                </a:lnTo>
                <a:lnTo>
                  <a:pt x="14" y="35"/>
                </a:lnTo>
                <a:lnTo>
                  <a:pt x="11" y="38"/>
                </a:lnTo>
                <a:lnTo>
                  <a:pt x="3" y="45"/>
                </a:lnTo>
                <a:lnTo>
                  <a:pt x="3" y="45"/>
                </a:lnTo>
                <a:lnTo>
                  <a:pt x="0" y="47"/>
                </a:lnTo>
                <a:lnTo>
                  <a:pt x="0" y="47"/>
                </a:lnTo>
                <a:lnTo>
                  <a:pt x="6" y="48"/>
                </a:lnTo>
                <a:lnTo>
                  <a:pt x="6" y="48"/>
                </a:lnTo>
                <a:lnTo>
                  <a:pt x="14" y="47"/>
                </a:lnTo>
                <a:lnTo>
                  <a:pt x="19" y="45"/>
                </a:lnTo>
                <a:lnTo>
                  <a:pt x="21" y="44"/>
                </a:lnTo>
                <a:lnTo>
                  <a:pt x="21" y="4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75" name="Freeform 262">
            <a:extLst>
              <a:ext uri="{FF2B5EF4-FFF2-40B4-BE49-F238E27FC236}">
                <a16:creationId xmlns:a16="http://schemas.microsoft.com/office/drawing/2014/main" id="{9865F9FD-4852-D81A-CC0B-037D0CD5CE25}"/>
              </a:ext>
            </a:extLst>
          </p:cNvPr>
          <p:cNvSpPr>
            <a:spLocks/>
          </p:cNvSpPr>
          <p:nvPr userDrawn="1"/>
        </p:nvSpPr>
        <p:spPr bwMode="gray">
          <a:xfrm>
            <a:off x="4477063" y="2193699"/>
            <a:ext cx="13005" cy="19508"/>
          </a:xfrm>
          <a:custGeom>
            <a:avLst/>
            <a:gdLst/>
            <a:ahLst/>
            <a:cxnLst>
              <a:cxn ang="0">
                <a:pos x="5" y="0"/>
              </a:cxn>
              <a:cxn ang="0">
                <a:pos x="5" y="0"/>
              </a:cxn>
              <a:cxn ang="0">
                <a:pos x="3" y="1"/>
              </a:cxn>
              <a:cxn ang="0">
                <a:pos x="1" y="4"/>
              </a:cxn>
              <a:cxn ang="0">
                <a:pos x="0" y="8"/>
              </a:cxn>
              <a:cxn ang="0">
                <a:pos x="0" y="14"/>
              </a:cxn>
              <a:cxn ang="0">
                <a:pos x="0" y="14"/>
              </a:cxn>
              <a:cxn ang="0">
                <a:pos x="10" y="15"/>
              </a:cxn>
              <a:cxn ang="0">
                <a:pos x="10" y="15"/>
              </a:cxn>
              <a:cxn ang="0">
                <a:pos x="8" y="10"/>
              </a:cxn>
              <a:cxn ang="0">
                <a:pos x="7" y="5"/>
              </a:cxn>
              <a:cxn ang="0">
                <a:pos x="5" y="1"/>
              </a:cxn>
              <a:cxn ang="0">
                <a:pos x="5" y="1"/>
              </a:cxn>
              <a:cxn ang="0">
                <a:pos x="5" y="0"/>
              </a:cxn>
              <a:cxn ang="0">
                <a:pos x="5" y="0"/>
              </a:cxn>
            </a:cxnLst>
            <a:rect l="0" t="0" r="r" b="b"/>
            <a:pathLst>
              <a:path w="10" h="15">
                <a:moveTo>
                  <a:pt x="5" y="0"/>
                </a:moveTo>
                <a:lnTo>
                  <a:pt x="5" y="0"/>
                </a:lnTo>
                <a:lnTo>
                  <a:pt x="3" y="1"/>
                </a:lnTo>
                <a:lnTo>
                  <a:pt x="1" y="4"/>
                </a:lnTo>
                <a:lnTo>
                  <a:pt x="0" y="8"/>
                </a:lnTo>
                <a:lnTo>
                  <a:pt x="0" y="14"/>
                </a:lnTo>
                <a:lnTo>
                  <a:pt x="0" y="14"/>
                </a:lnTo>
                <a:lnTo>
                  <a:pt x="10" y="15"/>
                </a:lnTo>
                <a:lnTo>
                  <a:pt x="10" y="15"/>
                </a:lnTo>
                <a:lnTo>
                  <a:pt x="8" y="10"/>
                </a:lnTo>
                <a:lnTo>
                  <a:pt x="7" y="5"/>
                </a:lnTo>
                <a:lnTo>
                  <a:pt x="5" y="1"/>
                </a:lnTo>
                <a:lnTo>
                  <a:pt x="5" y="1"/>
                </a:lnTo>
                <a:lnTo>
                  <a:pt x="5" y="0"/>
                </a:lnTo>
                <a:lnTo>
                  <a:pt x="5" y="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76" name="Freeform 263">
            <a:extLst>
              <a:ext uri="{FF2B5EF4-FFF2-40B4-BE49-F238E27FC236}">
                <a16:creationId xmlns:a16="http://schemas.microsoft.com/office/drawing/2014/main" id="{B955B830-2417-4C37-7B84-24518C2C945C}"/>
              </a:ext>
            </a:extLst>
          </p:cNvPr>
          <p:cNvSpPr>
            <a:spLocks/>
          </p:cNvSpPr>
          <p:nvPr userDrawn="1"/>
        </p:nvSpPr>
        <p:spPr bwMode="gray">
          <a:xfrm>
            <a:off x="4406835" y="2155984"/>
            <a:ext cx="80632" cy="55922"/>
          </a:xfrm>
          <a:custGeom>
            <a:avLst/>
            <a:gdLst/>
            <a:ahLst/>
            <a:cxnLst>
              <a:cxn ang="0">
                <a:pos x="3" y="12"/>
              </a:cxn>
              <a:cxn ang="0">
                <a:pos x="7" y="17"/>
              </a:cxn>
              <a:cxn ang="0">
                <a:pos x="8" y="17"/>
              </a:cxn>
              <a:cxn ang="0">
                <a:pos x="11" y="19"/>
              </a:cxn>
              <a:cxn ang="0">
                <a:pos x="17" y="22"/>
              </a:cxn>
              <a:cxn ang="0">
                <a:pos x="25" y="27"/>
              </a:cxn>
              <a:cxn ang="0">
                <a:pos x="27" y="29"/>
              </a:cxn>
              <a:cxn ang="0">
                <a:pos x="28" y="33"/>
              </a:cxn>
              <a:cxn ang="0">
                <a:pos x="31" y="33"/>
              </a:cxn>
              <a:cxn ang="0">
                <a:pos x="37" y="29"/>
              </a:cxn>
              <a:cxn ang="0">
                <a:pos x="38" y="30"/>
              </a:cxn>
              <a:cxn ang="0">
                <a:pos x="41" y="37"/>
              </a:cxn>
              <a:cxn ang="0">
                <a:pos x="42" y="37"/>
              </a:cxn>
              <a:cxn ang="0">
                <a:pos x="47" y="40"/>
              </a:cxn>
              <a:cxn ang="0">
                <a:pos x="51" y="43"/>
              </a:cxn>
              <a:cxn ang="0">
                <a:pos x="54" y="43"/>
              </a:cxn>
              <a:cxn ang="0">
                <a:pos x="54" y="37"/>
              </a:cxn>
              <a:cxn ang="0">
                <a:pos x="57" y="30"/>
              </a:cxn>
              <a:cxn ang="0">
                <a:pos x="59" y="29"/>
              </a:cxn>
              <a:cxn ang="0">
                <a:pos x="62" y="24"/>
              </a:cxn>
              <a:cxn ang="0">
                <a:pos x="61" y="22"/>
              </a:cxn>
              <a:cxn ang="0">
                <a:pos x="58" y="17"/>
              </a:cxn>
              <a:cxn ang="0">
                <a:pos x="58" y="14"/>
              </a:cxn>
              <a:cxn ang="0">
                <a:pos x="58" y="14"/>
              </a:cxn>
              <a:cxn ang="0">
                <a:pos x="54" y="10"/>
              </a:cxn>
              <a:cxn ang="0">
                <a:pos x="42" y="3"/>
              </a:cxn>
              <a:cxn ang="0">
                <a:pos x="41" y="2"/>
              </a:cxn>
              <a:cxn ang="0">
                <a:pos x="34" y="0"/>
              </a:cxn>
              <a:cxn ang="0">
                <a:pos x="32" y="2"/>
              </a:cxn>
              <a:cxn ang="0">
                <a:pos x="25" y="5"/>
              </a:cxn>
              <a:cxn ang="0">
                <a:pos x="17" y="6"/>
              </a:cxn>
              <a:cxn ang="0">
                <a:pos x="11" y="5"/>
              </a:cxn>
              <a:cxn ang="0">
                <a:pos x="0" y="9"/>
              </a:cxn>
              <a:cxn ang="0">
                <a:pos x="1" y="10"/>
              </a:cxn>
              <a:cxn ang="0">
                <a:pos x="3" y="12"/>
              </a:cxn>
            </a:cxnLst>
            <a:rect l="0" t="0" r="r" b="b"/>
            <a:pathLst>
              <a:path w="62" h="43">
                <a:moveTo>
                  <a:pt x="3" y="12"/>
                </a:moveTo>
                <a:lnTo>
                  <a:pt x="3" y="12"/>
                </a:lnTo>
                <a:lnTo>
                  <a:pt x="5" y="16"/>
                </a:lnTo>
                <a:lnTo>
                  <a:pt x="7" y="17"/>
                </a:lnTo>
                <a:lnTo>
                  <a:pt x="8" y="17"/>
                </a:lnTo>
                <a:lnTo>
                  <a:pt x="8" y="17"/>
                </a:lnTo>
                <a:lnTo>
                  <a:pt x="10" y="17"/>
                </a:lnTo>
                <a:lnTo>
                  <a:pt x="11" y="19"/>
                </a:lnTo>
                <a:lnTo>
                  <a:pt x="17" y="22"/>
                </a:lnTo>
                <a:lnTo>
                  <a:pt x="17" y="22"/>
                </a:lnTo>
                <a:lnTo>
                  <a:pt x="22" y="24"/>
                </a:lnTo>
                <a:lnTo>
                  <a:pt x="25" y="27"/>
                </a:lnTo>
                <a:lnTo>
                  <a:pt x="27" y="29"/>
                </a:lnTo>
                <a:lnTo>
                  <a:pt x="27" y="29"/>
                </a:lnTo>
                <a:lnTo>
                  <a:pt x="27" y="32"/>
                </a:lnTo>
                <a:lnTo>
                  <a:pt x="28" y="33"/>
                </a:lnTo>
                <a:lnTo>
                  <a:pt x="31" y="33"/>
                </a:lnTo>
                <a:lnTo>
                  <a:pt x="31" y="33"/>
                </a:lnTo>
                <a:lnTo>
                  <a:pt x="35" y="30"/>
                </a:lnTo>
                <a:lnTo>
                  <a:pt x="37" y="29"/>
                </a:lnTo>
                <a:lnTo>
                  <a:pt x="38" y="30"/>
                </a:lnTo>
                <a:lnTo>
                  <a:pt x="38" y="30"/>
                </a:lnTo>
                <a:lnTo>
                  <a:pt x="40" y="34"/>
                </a:lnTo>
                <a:lnTo>
                  <a:pt x="41" y="37"/>
                </a:lnTo>
                <a:lnTo>
                  <a:pt x="42" y="37"/>
                </a:lnTo>
                <a:lnTo>
                  <a:pt x="42" y="37"/>
                </a:lnTo>
                <a:lnTo>
                  <a:pt x="45" y="39"/>
                </a:lnTo>
                <a:lnTo>
                  <a:pt x="47" y="40"/>
                </a:lnTo>
                <a:lnTo>
                  <a:pt x="48" y="42"/>
                </a:lnTo>
                <a:lnTo>
                  <a:pt x="51" y="43"/>
                </a:lnTo>
                <a:lnTo>
                  <a:pt x="51" y="43"/>
                </a:lnTo>
                <a:lnTo>
                  <a:pt x="54" y="43"/>
                </a:lnTo>
                <a:lnTo>
                  <a:pt x="54" y="43"/>
                </a:lnTo>
                <a:lnTo>
                  <a:pt x="54" y="37"/>
                </a:lnTo>
                <a:lnTo>
                  <a:pt x="55" y="33"/>
                </a:lnTo>
                <a:lnTo>
                  <a:pt x="57" y="30"/>
                </a:lnTo>
                <a:lnTo>
                  <a:pt x="59" y="29"/>
                </a:lnTo>
                <a:lnTo>
                  <a:pt x="59" y="29"/>
                </a:lnTo>
                <a:lnTo>
                  <a:pt x="61" y="27"/>
                </a:lnTo>
                <a:lnTo>
                  <a:pt x="62" y="24"/>
                </a:lnTo>
                <a:lnTo>
                  <a:pt x="62" y="24"/>
                </a:lnTo>
                <a:lnTo>
                  <a:pt x="61" y="22"/>
                </a:lnTo>
                <a:lnTo>
                  <a:pt x="59" y="20"/>
                </a:lnTo>
                <a:lnTo>
                  <a:pt x="58" y="17"/>
                </a:lnTo>
                <a:lnTo>
                  <a:pt x="58" y="14"/>
                </a:lnTo>
                <a:lnTo>
                  <a:pt x="58" y="14"/>
                </a:lnTo>
                <a:lnTo>
                  <a:pt x="58" y="14"/>
                </a:lnTo>
                <a:lnTo>
                  <a:pt x="58" y="14"/>
                </a:lnTo>
                <a:lnTo>
                  <a:pt x="54" y="10"/>
                </a:lnTo>
                <a:lnTo>
                  <a:pt x="54" y="10"/>
                </a:lnTo>
                <a:lnTo>
                  <a:pt x="48" y="6"/>
                </a:lnTo>
                <a:lnTo>
                  <a:pt x="42" y="3"/>
                </a:lnTo>
                <a:lnTo>
                  <a:pt x="42" y="3"/>
                </a:lnTo>
                <a:lnTo>
                  <a:pt x="41" y="2"/>
                </a:lnTo>
                <a:lnTo>
                  <a:pt x="37" y="0"/>
                </a:lnTo>
                <a:lnTo>
                  <a:pt x="34" y="0"/>
                </a:lnTo>
                <a:lnTo>
                  <a:pt x="32" y="2"/>
                </a:lnTo>
                <a:lnTo>
                  <a:pt x="32" y="2"/>
                </a:lnTo>
                <a:lnTo>
                  <a:pt x="30" y="3"/>
                </a:lnTo>
                <a:lnTo>
                  <a:pt x="25" y="5"/>
                </a:lnTo>
                <a:lnTo>
                  <a:pt x="17" y="6"/>
                </a:lnTo>
                <a:lnTo>
                  <a:pt x="17" y="6"/>
                </a:lnTo>
                <a:lnTo>
                  <a:pt x="11" y="5"/>
                </a:lnTo>
                <a:lnTo>
                  <a:pt x="11" y="5"/>
                </a:lnTo>
                <a:lnTo>
                  <a:pt x="5" y="7"/>
                </a:lnTo>
                <a:lnTo>
                  <a:pt x="0" y="9"/>
                </a:lnTo>
                <a:lnTo>
                  <a:pt x="0" y="9"/>
                </a:lnTo>
                <a:lnTo>
                  <a:pt x="1" y="10"/>
                </a:lnTo>
                <a:lnTo>
                  <a:pt x="3" y="12"/>
                </a:lnTo>
                <a:lnTo>
                  <a:pt x="3" y="12"/>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77" name="Freeform 264">
            <a:extLst>
              <a:ext uri="{FF2B5EF4-FFF2-40B4-BE49-F238E27FC236}">
                <a16:creationId xmlns:a16="http://schemas.microsoft.com/office/drawing/2014/main" id="{B65944B7-1B2A-E951-CE1A-C08C622646A7}"/>
              </a:ext>
            </a:extLst>
          </p:cNvPr>
          <p:cNvSpPr>
            <a:spLocks/>
          </p:cNvSpPr>
          <p:nvPr userDrawn="1"/>
        </p:nvSpPr>
        <p:spPr bwMode="gray">
          <a:xfrm>
            <a:off x="4774878" y="2241817"/>
            <a:ext cx="188575" cy="122248"/>
          </a:xfrm>
          <a:custGeom>
            <a:avLst/>
            <a:gdLst/>
            <a:ahLst/>
            <a:cxnLst>
              <a:cxn ang="0">
                <a:pos x="131" y="62"/>
              </a:cxn>
              <a:cxn ang="0">
                <a:pos x="124" y="59"/>
              </a:cxn>
              <a:cxn ang="0">
                <a:pos x="124" y="58"/>
              </a:cxn>
              <a:cxn ang="0">
                <a:pos x="124" y="58"/>
              </a:cxn>
              <a:cxn ang="0">
                <a:pos x="121" y="48"/>
              </a:cxn>
              <a:cxn ang="0">
                <a:pos x="122" y="40"/>
              </a:cxn>
              <a:cxn ang="0">
                <a:pos x="122" y="38"/>
              </a:cxn>
              <a:cxn ang="0">
                <a:pos x="119" y="30"/>
              </a:cxn>
              <a:cxn ang="0">
                <a:pos x="111" y="17"/>
              </a:cxn>
              <a:cxn ang="0">
                <a:pos x="101" y="0"/>
              </a:cxn>
              <a:cxn ang="0">
                <a:pos x="94" y="3"/>
              </a:cxn>
              <a:cxn ang="0">
                <a:pos x="89" y="7"/>
              </a:cxn>
              <a:cxn ang="0">
                <a:pos x="84" y="8"/>
              </a:cxn>
              <a:cxn ang="0">
                <a:pos x="78" y="7"/>
              </a:cxn>
              <a:cxn ang="0">
                <a:pos x="77" y="8"/>
              </a:cxn>
              <a:cxn ang="0">
                <a:pos x="69" y="11"/>
              </a:cxn>
              <a:cxn ang="0">
                <a:pos x="69" y="11"/>
              </a:cxn>
              <a:cxn ang="0">
                <a:pos x="60" y="8"/>
              </a:cxn>
              <a:cxn ang="0">
                <a:pos x="51" y="7"/>
              </a:cxn>
              <a:cxn ang="0">
                <a:pos x="44" y="5"/>
              </a:cxn>
              <a:cxn ang="0">
                <a:pos x="37" y="5"/>
              </a:cxn>
              <a:cxn ang="0">
                <a:pos x="35" y="8"/>
              </a:cxn>
              <a:cxn ang="0">
                <a:pos x="25" y="15"/>
              </a:cxn>
              <a:cxn ang="0">
                <a:pos x="18" y="27"/>
              </a:cxn>
              <a:cxn ang="0">
                <a:pos x="10" y="40"/>
              </a:cxn>
              <a:cxn ang="0">
                <a:pos x="4" y="45"/>
              </a:cxn>
              <a:cxn ang="0">
                <a:pos x="0" y="47"/>
              </a:cxn>
              <a:cxn ang="0">
                <a:pos x="1" y="49"/>
              </a:cxn>
              <a:cxn ang="0">
                <a:pos x="5" y="54"/>
              </a:cxn>
              <a:cxn ang="0">
                <a:pos x="5" y="57"/>
              </a:cxn>
              <a:cxn ang="0">
                <a:pos x="8" y="62"/>
              </a:cxn>
              <a:cxn ang="0">
                <a:pos x="11" y="62"/>
              </a:cxn>
              <a:cxn ang="0">
                <a:pos x="13" y="64"/>
              </a:cxn>
              <a:cxn ang="0">
                <a:pos x="13" y="71"/>
              </a:cxn>
              <a:cxn ang="0">
                <a:pos x="14" y="72"/>
              </a:cxn>
              <a:cxn ang="0">
                <a:pos x="28" y="75"/>
              </a:cxn>
              <a:cxn ang="0">
                <a:pos x="31" y="78"/>
              </a:cxn>
              <a:cxn ang="0">
                <a:pos x="32" y="81"/>
              </a:cxn>
              <a:cxn ang="0">
                <a:pos x="32" y="85"/>
              </a:cxn>
              <a:cxn ang="0">
                <a:pos x="38" y="88"/>
              </a:cxn>
              <a:cxn ang="0">
                <a:pos x="41" y="91"/>
              </a:cxn>
              <a:cxn ang="0">
                <a:pos x="50" y="92"/>
              </a:cxn>
              <a:cxn ang="0">
                <a:pos x="58" y="92"/>
              </a:cxn>
              <a:cxn ang="0">
                <a:pos x="75" y="94"/>
              </a:cxn>
              <a:cxn ang="0">
                <a:pos x="87" y="88"/>
              </a:cxn>
              <a:cxn ang="0">
                <a:pos x="91" y="86"/>
              </a:cxn>
              <a:cxn ang="0">
                <a:pos x="106" y="85"/>
              </a:cxn>
              <a:cxn ang="0">
                <a:pos x="114" y="86"/>
              </a:cxn>
              <a:cxn ang="0">
                <a:pos x="119" y="89"/>
              </a:cxn>
              <a:cxn ang="0">
                <a:pos x="122" y="91"/>
              </a:cxn>
              <a:cxn ang="0">
                <a:pos x="128" y="94"/>
              </a:cxn>
              <a:cxn ang="0">
                <a:pos x="128" y="85"/>
              </a:cxn>
              <a:cxn ang="0">
                <a:pos x="131" y="77"/>
              </a:cxn>
              <a:cxn ang="0">
                <a:pos x="136" y="72"/>
              </a:cxn>
              <a:cxn ang="0">
                <a:pos x="139" y="71"/>
              </a:cxn>
              <a:cxn ang="0">
                <a:pos x="145" y="68"/>
              </a:cxn>
              <a:cxn ang="0">
                <a:pos x="145" y="64"/>
              </a:cxn>
              <a:cxn ang="0">
                <a:pos x="145" y="62"/>
              </a:cxn>
              <a:cxn ang="0">
                <a:pos x="139" y="58"/>
              </a:cxn>
              <a:cxn ang="0">
                <a:pos x="131" y="62"/>
              </a:cxn>
            </a:cxnLst>
            <a:rect l="0" t="0" r="r" b="b"/>
            <a:pathLst>
              <a:path w="145" h="94">
                <a:moveTo>
                  <a:pt x="131" y="62"/>
                </a:moveTo>
                <a:lnTo>
                  <a:pt x="131" y="62"/>
                </a:lnTo>
                <a:lnTo>
                  <a:pt x="125" y="61"/>
                </a:lnTo>
                <a:lnTo>
                  <a:pt x="124" y="59"/>
                </a:lnTo>
                <a:lnTo>
                  <a:pt x="124" y="58"/>
                </a:lnTo>
                <a:lnTo>
                  <a:pt x="124" y="58"/>
                </a:lnTo>
                <a:lnTo>
                  <a:pt x="124" y="58"/>
                </a:lnTo>
                <a:lnTo>
                  <a:pt x="124" y="58"/>
                </a:lnTo>
                <a:lnTo>
                  <a:pt x="122" y="54"/>
                </a:lnTo>
                <a:lnTo>
                  <a:pt x="121" y="48"/>
                </a:lnTo>
                <a:lnTo>
                  <a:pt x="121" y="44"/>
                </a:lnTo>
                <a:lnTo>
                  <a:pt x="122" y="40"/>
                </a:lnTo>
                <a:lnTo>
                  <a:pt x="122" y="40"/>
                </a:lnTo>
                <a:lnTo>
                  <a:pt x="122" y="38"/>
                </a:lnTo>
                <a:lnTo>
                  <a:pt x="122" y="35"/>
                </a:lnTo>
                <a:lnTo>
                  <a:pt x="119" y="30"/>
                </a:lnTo>
                <a:lnTo>
                  <a:pt x="111" y="17"/>
                </a:lnTo>
                <a:lnTo>
                  <a:pt x="111" y="17"/>
                </a:lnTo>
                <a:lnTo>
                  <a:pt x="101" y="0"/>
                </a:lnTo>
                <a:lnTo>
                  <a:pt x="101" y="0"/>
                </a:lnTo>
                <a:lnTo>
                  <a:pt x="95" y="1"/>
                </a:lnTo>
                <a:lnTo>
                  <a:pt x="94" y="3"/>
                </a:lnTo>
                <a:lnTo>
                  <a:pt x="94" y="3"/>
                </a:lnTo>
                <a:lnTo>
                  <a:pt x="89" y="7"/>
                </a:lnTo>
                <a:lnTo>
                  <a:pt x="84" y="8"/>
                </a:lnTo>
                <a:lnTo>
                  <a:pt x="84" y="8"/>
                </a:lnTo>
                <a:lnTo>
                  <a:pt x="79" y="7"/>
                </a:lnTo>
                <a:lnTo>
                  <a:pt x="78" y="7"/>
                </a:lnTo>
                <a:lnTo>
                  <a:pt x="77" y="8"/>
                </a:lnTo>
                <a:lnTo>
                  <a:pt x="77" y="8"/>
                </a:lnTo>
                <a:lnTo>
                  <a:pt x="72" y="11"/>
                </a:lnTo>
                <a:lnTo>
                  <a:pt x="69" y="11"/>
                </a:lnTo>
                <a:lnTo>
                  <a:pt x="69" y="11"/>
                </a:lnTo>
                <a:lnTo>
                  <a:pt x="69" y="11"/>
                </a:lnTo>
                <a:lnTo>
                  <a:pt x="65" y="8"/>
                </a:lnTo>
                <a:lnTo>
                  <a:pt x="60" y="8"/>
                </a:lnTo>
                <a:lnTo>
                  <a:pt x="60" y="8"/>
                </a:lnTo>
                <a:lnTo>
                  <a:pt x="51" y="7"/>
                </a:lnTo>
                <a:lnTo>
                  <a:pt x="44" y="5"/>
                </a:lnTo>
                <a:lnTo>
                  <a:pt x="44" y="5"/>
                </a:lnTo>
                <a:lnTo>
                  <a:pt x="37" y="5"/>
                </a:lnTo>
                <a:lnTo>
                  <a:pt x="37" y="5"/>
                </a:lnTo>
                <a:lnTo>
                  <a:pt x="37" y="7"/>
                </a:lnTo>
                <a:lnTo>
                  <a:pt x="35" y="8"/>
                </a:lnTo>
                <a:lnTo>
                  <a:pt x="35" y="8"/>
                </a:lnTo>
                <a:lnTo>
                  <a:pt x="25" y="15"/>
                </a:lnTo>
                <a:lnTo>
                  <a:pt x="25" y="15"/>
                </a:lnTo>
                <a:lnTo>
                  <a:pt x="18" y="27"/>
                </a:lnTo>
                <a:lnTo>
                  <a:pt x="14" y="34"/>
                </a:lnTo>
                <a:lnTo>
                  <a:pt x="10" y="40"/>
                </a:lnTo>
                <a:lnTo>
                  <a:pt x="10" y="40"/>
                </a:lnTo>
                <a:lnTo>
                  <a:pt x="4" y="45"/>
                </a:lnTo>
                <a:lnTo>
                  <a:pt x="1" y="47"/>
                </a:lnTo>
                <a:lnTo>
                  <a:pt x="0" y="47"/>
                </a:lnTo>
                <a:lnTo>
                  <a:pt x="0" y="47"/>
                </a:lnTo>
                <a:lnTo>
                  <a:pt x="1" y="49"/>
                </a:lnTo>
                <a:lnTo>
                  <a:pt x="3" y="51"/>
                </a:lnTo>
                <a:lnTo>
                  <a:pt x="5" y="54"/>
                </a:lnTo>
                <a:lnTo>
                  <a:pt x="5" y="57"/>
                </a:lnTo>
                <a:lnTo>
                  <a:pt x="5" y="57"/>
                </a:lnTo>
                <a:lnTo>
                  <a:pt x="7" y="61"/>
                </a:lnTo>
                <a:lnTo>
                  <a:pt x="8" y="62"/>
                </a:lnTo>
                <a:lnTo>
                  <a:pt x="11" y="62"/>
                </a:lnTo>
                <a:lnTo>
                  <a:pt x="11" y="62"/>
                </a:lnTo>
                <a:lnTo>
                  <a:pt x="13" y="62"/>
                </a:lnTo>
                <a:lnTo>
                  <a:pt x="13" y="64"/>
                </a:lnTo>
                <a:lnTo>
                  <a:pt x="13" y="67"/>
                </a:lnTo>
                <a:lnTo>
                  <a:pt x="13" y="71"/>
                </a:lnTo>
                <a:lnTo>
                  <a:pt x="14" y="72"/>
                </a:lnTo>
                <a:lnTo>
                  <a:pt x="14" y="72"/>
                </a:lnTo>
                <a:lnTo>
                  <a:pt x="24" y="74"/>
                </a:lnTo>
                <a:lnTo>
                  <a:pt x="28" y="75"/>
                </a:lnTo>
                <a:lnTo>
                  <a:pt x="31" y="77"/>
                </a:lnTo>
                <a:lnTo>
                  <a:pt x="31" y="78"/>
                </a:lnTo>
                <a:lnTo>
                  <a:pt x="31" y="78"/>
                </a:lnTo>
                <a:lnTo>
                  <a:pt x="32" y="81"/>
                </a:lnTo>
                <a:lnTo>
                  <a:pt x="32" y="85"/>
                </a:lnTo>
                <a:lnTo>
                  <a:pt x="32" y="85"/>
                </a:lnTo>
                <a:lnTo>
                  <a:pt x="35" y="86"/>
                </a:lnTo>
                <a:lnTo>
                  <a:pt x="38" y="88"/>
                </a:lnTo>
                <a:lnTo>
                  <a:pt x="40" y="89"/>
                </a:lnTo>
                <a:lnTo>
                  <a:pt x="41" y="91"/>
                </a:lnTo>
                <a:lnTo>
                  <a:pt x="41" y="91"/>
                </a:lnTo>
                <a:lnTo>
                  <a:pt x="50" y="92"/>
                </a:lnTo>
                <a:lnTo>
                  <a:pt x="58" y="92"/>
                </a:lnTo>
                <a:lnTo>
                  <a:pt x="58" y="92"/>
                </a:lnTo>
                <a:lnTo>
                  <a:pt x="75" y="94"/>
                </a:lnTo>
                <a:lnTo>
                  <a:pt x="75" y="94"/>
                </a:lnTo>
                <a:lnTo>
                  <a:pt x="81" y="92"/>
                </a:lnTo>
                <a:lnTo>
                  <a:pt x="87" y="88"/>
                </a:lnTo>
                <a:lnTo>
                  <a:pt x="87" y="88"/>
                </a:lnTo>
                <a:lnTo>
                  <a:pt x="91" y="86"/>
                </a:lnTo>
                <a:lnTo>
                  <a:pt x="97" y="85"/>
                </a:lnTo>
                <a:lnTo>
                  <a:pt x="106" y="85"/>
                </a:lnTo>
                <a:lnTo>
                  <a:pt x="106" y="85"/>
                </a:lnTo>
                <a:lnTo>
                  <a:pt x="114" y="86"/>
                </a:lnTo>
                <a:lnTo>
                  <a:pt x="116" y="88"/>
                </a:lnTo>
                <a:lnTo>
                  <a:pt x="119" y="89"/>
                </a:lnTo>
                <a:lnTo>
                  <a:pt x="119" y="89"/>
                </a:lnTo>
                <a:lnTo>
                  <a:pt x="122" y="91"/>
                </a:lnTo>
                <a:lnTo>
                  <a:pt x="128" y="94"/>
                </a:lnTo>
                <a:lnTo>
                  <a:pt x="128" y="94"/>
                </a:lnTo>
                <a:lnTo>
                  <a:pt x="128" y="85"/>
                </a:lnTo>
                <a:lnTo>
                  <a:pt x="128" y="85"/>
                </a:lnTo>
                <a:lnTo>
                  <a:pt x="129" y="81"/>
                </a:lnTo>
                <a:lnTo>
                  <a:pt x="131" y="77"/>
                </a:lnTo>
                <a:lnTo>
                  <a:pt x="133" y="74"/>
                </a:lnTo>
                <a:lnTo>
                  <a:pt x="136" y="72"/>
                </a:lnTo>
                <a:lnTo>
                  <a:pt x="136" y="72"/>
                </a:lnTo>
                <a:lnTo>
                  <a:pt x="139" y="71"/>
                </a:lnTo>
                <a:lnTo>
                  <a:pt x="142" y="71"/>
                </a:lnTo>
                <a:lnTo>
                  <a:pt x="145" y="68"/>
                </a:lnTo>
                <a:lnTo>
                  <a:pt x="145" y="64"/>
                </a:lnTo>
                <a:lnTo>
                  <a:pt x="145" y="64"/>
                </a:lnTo>
                <a:lnTo>
                  <a:pt x="145" y="62"/>
                </a:lnTo>
                <a:lnTo>
                  <a:pt x="145" y="62"/>
                </a:lnTo>
                <a:lnTo>
                  <a:pt x="139" y="58"/>
                </a:lnTo>
                <a:lnTo>
                  <a:pt x="139" y="58"/>
                </a:lnTo>
                <a:lnTo>
                  <a:pt x="135" y="61"/>
                </a:lnTo>
                <a:lnTo>
                  <a:pt x="131" y="62"/>
                </a:lnTo>
                <a:lnTo>
                  <a:pt x="131" y="62"/>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78" name="Freeform 265">
            <a:extLst>
              <a:ext uri="{FF2B5EF4-FFF2-40B4-BE49-F238E27FC236}">
                <a16:creationId xmlns:a16="http://schemas.microsoft.com/office/drawing/2014/main" id="{CFA47F57-9DD0-8F28-0D6E-6C13DCE3152B}"/>
              </a:ext>
            </a:extLst>
          </p:cNvPr>
          <p:cNvSpPr>
            <a:spLocks/>
          </p:cNvSpPr>
          <p:nvPr userDrawn="1"/>
        </p:nvSpPr>
        <p:spPr bwMode="gray">
          <a:xfrm>
            <a:off x="4906230" y="2237916"/>
            <a:ext cx="65025" cy="79332"/>
          </a:xfrm>
          <a:custGeom>
            <a:avLst/>
            <a:gdLst/>
            <a:ahLst/>
            <a:cxnLst>
              <a:cxn ang="0">
                <a:pos x="35" y="15"/>
              </a:cxn>
              <a:cxn ang="0">
                <a:pos x="35" y="15"/>
              </a:cxn>
              <a:cxn ang="0">
                <a:pos x="34" y="11"/>
              </a:cxn>
              <a:cxn ang="0">
                <a:pos x="31" y="8"/>
              </a:cxn>
              <a:cxn ang="0">
                <a:pos x="27" y="7"/>
              </a:cxn>
              <a:cxn ang="0">
                <a:pos x="24" y="7"/>
              </a:cxn>
              <a:cxn ang="0">
                <a:pos x="24" y="7"/>
              </a:cxn>
              <a:cxn ang="0">
                <a:pos x="21" y="6"/>
              </a:cxn>
              <a:cxn ang="0">
                <a:pos x="18" y="3"/>
              </a:cxn>
              <a:cxn ang="0">
                <a:pos x="14" y="0"/>
              </a:cxn>
              <a:cxn ang="0">
                <a:pos x="11" y="0"/>
              </a:cxn>
              <a:cxn ang="0">
                <a:pos x="11" y="0"/>
              </a:cxn>
              <a:cxn ang="0">
                <a:pos x="0" y="3"/>
              </a:cxn>
              <a:cxn ang="0">
                <a:pos x="0" y="3"/>
              </a:cxn>
              <a:cxn ang="0">
                <a:pos x="10" y="20"/>
              </a:cxn>
              <a:cxn ang="0">
                <a:pos x="10" y="20"/>
              </a:cxn>
              <a:cxn ang="0">
                <a:pos x="18" y="33"/>
              </a:cxn>
              <a:cxn ang="0">
                <a:pos x="21" y="38"/>
              </a:cxn>
              <a:cxn ang="0">
                <a:pos x="21" y="41"/>
              </a:cxn>
              <a:cxn ang="0">
                <a:pos x="21" y="43"/>
              </a:cxn>
              <a:cxn ang="0">
                <a:pos x="21" y="43"/>
              </a:cxn>
              <a:cxn ang="0">
                <a:pos x="20" y="47"/>
              </a:cxn>
              <a:cxn ang="0">
                <a:pos x="20" y="51"/>
              </a:cxn>
              <a:cxn ang="0">
                <a:pos x="21" y="57"/>
              </a:cxn>
              <a:cxn ang="0">
                <a:pos x="23" y="61"/>
              </a:cxn>
              <a:cxn ang="0">
                <a:pos x="23" y="61"/>
              </a:cxn>
              <a:cxn ang="0">
                <a:pos x="28" y="54"/>
              </a:cxn>
              <a:cxn ang="0">
                <a:pos x="31" y="50"/>
              </a:cxn>
              <a:cxn ang="0">
                <a:pos x="32" y="47"/>
              </a:cxn>
              <a:cxn ang="0">
                <a:pos x="32" y="47"/>
              </a:cxn>
              <a:cxn ang="0">
                <a:pos x="34" y="41"/>
              </a:cxn>
              <a:cxn ang="0">
                <a:pos x="35" y="40"/>
              </a:cxn>
              <a:cxn ang="0">
                <a:pos x="38" y="40"/>
              </a:cxn>
              <a:cxn ang="0">
                <a:pos x="38" y="40"/>
              </a:cxn>
              <a:cxn ang="0">
                <a:pos x="47" y="41"/>
              </a:cxn>
              <a:cxn ang="0">
                <a:pos x="48" y="43"/>
              </a:cxn>
              <a:cxn ang="0">
                <a:pos x="50" y="41"/>
              </a:cxn>
              <a:cxn ang="0">
                <a:pos x="50" y="41"/>
              </a:cxn>
              <a:cxn ang="0">
                <a:pos x="48" y="37"/>
              </a:cxn>
              <a:cxn ang="0">
                <a:pos x="45" y="31"/>
              </a:cxn>
              <a:cxn ang="0">
                <a:pos x="45" y="31"/>
              </a:cxn>
              <a:cxn ang="0">
                <a:pos x="41" y="24"/>
              </a:cxn>
              <a:cxn ang="0">
                <a:pos x="35" y="15"/>
              </a:cxn>
              <a:cxn ang="0">
                <a:pos x="35" y="15"/>
              </a:cxn>
            </a:cxnLst>
            <a:rect l="0" t="0" r="r" b="b"/>
            <a:pathLst>
              <a:path w="50" h="61">
                <a:moveTo>
                  <a:pt x="35" y="15"/>
                </a:moveTo>
                <a:lnTo>
                  <a:pt x="35" y="15"/>
                </a:lnTo>
                <a:lnTo>
                  <a:pt x="34" y="11"/>
                </a:lnTo>
                <a:lnTo>
                  <a:pt x="31" y="8"/>
                </a:lnTo>
                <a:lnTo>
                  <a:pt x="27" y="7"/>
                </a:lnTo>
                <a:lnTo>
                  <a:pt x="24" y="7"/>
                </a:lnTo>
                <a:lnTo>
                  <a:pt x="24" y="7"/>
                </a:lnTo>
                <a:lnTo>
                  <a:pt x="21" y="6"/>
                </a:lnTo>
                <a:lnTo>
                  <a:pt x="18" y="3"/>
                </a:lnTo>
                <a:lnTo>
                  <a:pt x="14" y="0"/>
                </a:lnTo>
                <a:lnTo>
                  <a:pt x="11" y="0"/>
                </a:lnTo>
                <a:lnTo>
                  <a:pt x="11" y="0"/>
                </a:lnTo>
                <a:lnTo>
                  <a:pt x="0" y="3"/>
                </a:lnTo>
                <a:lnTo>
                  <a:pt x="0" y="3"/>
                </a:lnTo>
                <a:lnTo>
                  <a:pt x="10" y="20"/>
                </a:lnTo>
                <a:lnTo>
                  <a:pt x="10" y="20"/>
                </a:lnTo>
                <a:lnTo>
                  <a:pt x="18" y="33"/>
                </a:lnTo>
                <a:lnTo>
                  <a:pt x="21" y="38"/>
                </a:lnTo>
                <a:lnTo>
                  <a:pt x="21" y="41"/>
                </a:lnTo>
                <a:lnTo>
                  <a:pt x="21" y="43"/>
                </a:lnTo>
                <a:lnTo>
                  <a:pt x="21" y="43"/>
                </a:lnTo>
                <a:lnTo>
                  <a:pt x="20" y="47"/>
                </a:lnTo>
                <a:lnTo>
                  <a:pt x="20" y="51"/>
                </a:lnTo>
                <a:lnTo>
                  <a:pt x="21" y="57"/>
                </a:lnTo>
                <a:lnTo>
                  <a:pt x="23" y="61"/>
                </a:lnTo>
                <a:lnTo>
                  <a:pt x="23" y="61"/>
                </a:lnTo>
                <a:lnTo>
                  <a:pt x="28" y="54"/>
                </a:lnTo>
                <a:lnTo>
                  <a:pt x="31" y="50"/>
                </a:lnTo>
                <a:lnTo>
                  <a:pt x="32" y="47"/>
                </a:lnTo>
                <a:lnTo>
                  <a:pt x="32" y="47"/>
                </a:lnTo>
                <a:lnTo>
                  <a:pt x="34" y="41"/>
                </a:lnTo>
                <a:lnTo>
                  <a:pt x="35" y="40"/>
                </a:lnTo>
                <a:lnTo>
                  <a:pt x="38" y="40"/>
                </a:lnTo>
                <a:lnTo>
                  <a:pt x="38" y="40"/>
                </a:lnTo>
                <a:lnTo>
                  <a:pt x="47" y="41"/>
                </a:lnTo>
                <a:lnTo>
                  <a:pt x="48" y="43"/>
                </a:lnTo>
                <a:lnTo>
                  <a:pt x="50" y="41"/>
                </a:lnTo>
                <a:lnTo>
                  <a:pt x="50" y="41"/>
                </a:lnTo>
                <a:lnTo>
                  <a:pt x="48" y="37"/>
                </a:lnTo>
                <a:lnTo>
                  <a:pt x="45" y="31"/>
                </a:lnTo>
                <a:lnTo>
                  <a:pt x="45" y="31"/>
                </a:lnTo>
                <a:lnTo>
                  <a:pt x="41" y="24"/>
                </a:lnTo>
                <a:lnTo>
                  <a:pt x="35" y="15"/>
                </a:lnTo>
                <a:lnTo>
                  <a:pt x="35" y="15"/>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79" name="Freeform 266">
            <a:extLst>
              <a:ext uri="{FF2B5EF4-FFF2-40B4-BE49-F238E27FC236}">
                <a16:creationId xmlns:a16="http://schemas.microsoft.com/office/drawing/2014/main" id="{0DBDEFCE-3EC0-6153-BBCC-9E135D1B9CED}"/>
              </a:ext>
            </a:extLst>
          </p:cNvPr>
          <p:cNvSpPr>
            <a:spLocks/>
          </p:cNvSpPr>
          <p:nvPr userDrawn="1"/>
        </p:nvSpPr>
        <p:spPr bwMode="gray">
          <a:xfrm>
            <a:off x="4811293" y="2352360"/>
            <a:ext cx="130051" cy="70228"/>
          </a:xfrm>
          <a:custGeom>
            <a:avLst/>
            <a:gdLst/>
            <a:ahLst/>
            <a:cxnLst>
              <a:cxn ang="0">
                <a:pos x="78" y="0"/>
              </a:cxn>
              <a:cxn ang="0">
                <a:pos x="63" y="1"/>
              </a:cxn>
              <a:cxn ang="0">
                <a:pos x="59" y="3"/>
              </a:cxn>
              <a:cxn ang="0">
                <a:pos x="47" y="9"/>
              </a:cxn>
              <a:cxn ang="0">
                <a:pos x="30" y="7"/>
              </a:cxn>
              <a:cxn ang="0">
                <a:pos x="22" y="7"/>
              </a:cxn>
              <a:cxn ang="0">
                <a:pos x="13" y="6"/>
              </a:cxn>
              <a:cxn ang="0">
                <a:pos x="10" y="3"/>
              </a:cxn>
              <a:cxn ang="0">
                <a:pos x="4" y="0"/>
              </a:cxn>
              <a:cxn ang="0">
                <a:pos x="3" y="1"/>
              </a:cxn>
              <a:cxn ang="0">
                <a:pos x="2" y="3"/>
              </a:cxn>
              <a:cxn ang="0">
                <a:pos x="0" y="9"/>
              </a:cxn>
              <a:cxn ang="0">
                <a:pos x="3" y="11"/>
              </a:cxn>
              <a:cxn ang="0">
                <a:pos x="9" y="21"/>
              </a:cxn>
              <a:cxn ang="0">
                <a:pos x="7" y="23"/>
              </a:cxn>
              <a:cxn ang="0">
                <a:pos x="6" y="23"/>
              </a:cxn>
              <a:cxn ang="0">
                <a:pos x="3" y="28"/>
              </a:cxn>
              <a:cxn ang="0">
                <a:pos x="2" y="33"/>
              </a:cxn>
              <a:cxn ang="0">
                <a:pos x="3" y="37"/>
              </a:cxn>
              <a:cxn ang="0">
                <a:pos x="12" y="47"/>
              </a:cxn>
              <a:cxn ang="0">
                <a:pos x="13" y="50"/>
              </a:cxn>
              <a:cxn ang="0">
                <a:pos x="14" y="51"/>
              </a:cxn>
              <a:cxn ang="0">
                <a:pos x="33" y="51"/>
              </a:cxn>
              <a:cxn ang="0">
                <a:pos x="36" y="51"/>
              </a:cxn>
              <a:cxn ang="0">
                <a:pos x="53" y="54"/>
              </a:cxn>
              <a:cxn ang="0">
                <a:pos x="59" y="54"/>
              </a:cxn>
              <a:cxn ang="0">
                <a:pos x="60" y="51"/>
              </a:cxn>
              <a:cxn ang="0">
                <a:pos x="60" y="50"/>
              </a:cxn>
              <a:cxn ang="0">
                <a:pos x="67" y="47"/>
              </a:cxn>
              <a:cxn ang="0">
                <a:pos x="66" y="44"/>
              </a:cxn>
              <a:cxn ang="0">
                <a:pos x="67" y="43"/>
              </a:cxn>
              <a:cxn ang="0">
                <a:pos x="78" y="41"/>
              </a:cxn>
              <a:cxn ang="0">
                <a:pos x="83" y="43"/>
              </a:cxn>
              <a:cxn ang="0">
                <a:pos x="90" y="41"/>
              </a:cxn>
              <a:cxn ang="0">
                <a:pos x="88" y="38"/>
              </a:cxn>
              <a:cxn ang="0">
                <a:pos x="87" y="37"/>
              </a:cxn>
              <a:cxn ang="0">
                <a:pos x="84" y="31"/>
              </a:cxn>
              <a:cxn ang="0">
                <a:pos x="83" y="26"/>
              </a:cxn>
              <a:cxn ang="0">
                <a:pos x="84" y="26"/>
              </a:cxn>
              <a:cxn ang="0">
                <a:pos x="90" y="19"/>
              </a:cxn>
              <a:cxn ang="0">
                <a:pos x="97" y="11"/>
              </a:cxn>
              <a:cxn ang="0">
                <a:pos x="100" y="10"/>
              </a:cxn>
              <a:cxn ang="0">
                <a:pos x="100" y="9"/>
              </a:cxn>
              <a:cxn ang="0">
                <a:pos x="91" y="4"/>
              </a:cxn>
              <a:cxn ang="0">
                <a:pos x="88" y="3"/>
              </a:cxn>
              <a:cxn ang="0">
                <a:pos x="78" y="0"/>
              </a:cxn>
            </a:cxnLst>
            <a:rect l="0" t="0" r="r" b="b"/>
            <a:pathLst>
              <a:path w="100" h="54">
                <a:moveTo>
                  <a:pt x="78" y="0"/>
                </a:moveTo>
                <a:lnTo>
                  <a:pt x="78" y="0"/>
                </a:lnTo>
                <a:lnTo>
                  <a:pt x="69" y="0"/>
                </a:lnTo>
                <a:lnTo>
                  <a:pt x="63" y="1"/>
                </a:lnTo>
                <a:lnTo>
                  <a:pt x="59" y="3"/>
                </a:lnTo>
                <a:lnTo>
                  <a:pt x="59" y="3"/>
                </a:lnTo>
                <a:lnTo>
                  <a:pt x="53" y="7"/>
                </a:lnTo>
                <a:lnTo>
                  <a:pt x="47" y="9"/>
                </a:lnTo>
                <a:lnTo>
                  <a:pt x="47" y="9"/>
                </a:lnTo>
                <a:lnTo>
                  <a:pt x="30" y="7"/>
                </a:lnTo>
                <a:lnTo>
                  <a:pt x="30" y="7"/>
                </a:lnTo>
                <a:lnTo>
                  <a:pt x="22" y="7"/>
                </a:lnTo>
                <a:lnTo>
                  <a:pt x="13" y="6"/>
                </a:lnTo>
                <a:lnTo>
                  <a:pt x="13" y="6"/>
                </a:lnTo>
                <a:lnTo>
                  <a:pt x="12" y="4"/>
                </a:lnTo>
                <a:lnTo>
                  <a:pt x="10" y="3"/>
                </a:lnTo>
                <a:lnTo>
                  <a:pt x="7" y="1"/>
                </a:lnTo>
                <a:lnTo>
                  <a:pt x="4" y="0"/>
                </a:lnTo>
                <a:lnTo>
                  <a:pt x="4" y="0"/>
                </a:lnTo>
                <a:lnTo>
                  <a:pt x="3" y="1"/>
                </a:lnTo>
                <a:lnTo>
                  <a:pt x="3" y="1"/>
                </a:lnTo>
                <a:lnTo>
                  <a:pt x="2" y="3"/>
                </a:lnTo>
                <a:lnTo>
                  <a:pt x="0" y="6"/>
                </a:lnTo>
                <a:lnTo>
                  <a:pt x="0" y="9"/>
                </a:lnTo>
                <a:lnTo>
                  <a:pt x="3" y="11"/>
                </a:lnTo>
                <a:lnTo>
                  <a:pt x="3" y="11"/>
                </a:lnTo>
                <a:lnTo>
                  <a:pt x="7" y="19"/>
                </a:lnTo>
                <a:lnTo>
                  <a:pt x="9" y="21"/>
                </a:lnTo>
                <a:lnTo>
                  <a:pt x="9" y="21"/>
                </a:lnTo>
                <a:lnTo>
                  <a:pt x="7" y="23"/>
                </a:lnTo>
                <a:lnTo>
                  <a:pt x="7" y="23"/>
                </a:lnTo>
                <a:lnTo>
                  <a:pt x="6" y="23"/>
                </a:lnTo>
                <a:lnTo>
                  <a:pt x="4" y="24"/>
                </a:lnTo>
                <a:lnTo>
                  <a:pt x="3" y="28"/>
                </a:lnTo>
                <a:lnTo>
                  <a:pt x="3" y="28"/>
                </a:lnTo>
                <a:lnTo>
                  <a:pt x="2" y="33"/>
                </a:lnTo>
                <a:lnTo>
                  <a:pt x="3" y="37"/>
                </a:lnTo>
                <a:lnTo>
                  <a:pt x="3" y="37"/>
                </a:lnTo>
                <a:lnTo>
                  <a:pt x="7" y="41"/>
                </a:lnTo>
                <a:lnTo>
                  <a:pt x="12" y="47"/>
                </a:lnTo>
                <a:lnTo>
                  <a:pt x="12" y="47"/>
                </a:lnTo>
                <a:lnTo>
                  <a:pt x="13" y="50"/>
                </a:lnTo>
                <a:lnTo>
                  <a:pt x="14" y="51"/>
                </a:lnTo>
                <a:lnTo>
                  <a:pt x="14" y="51"/>
                </a:lnTo>
                <a:lnTo>
                  <a:pt x="26" y="51"/>
                </a:lnTo>
                <a:lnTo>
                  <a:pt x="33" y="51"/>
                </a:lnTo>
                <a:lnTo>
                  <a:pt x="36" y="51"/>
                </a:lnTo>
                <a:lnTo>
                  <a:pt x="36" y="51"/>
                </a:lnTo>
                <a:lnTo>
                  <a:pt x="46" y="54"/>
                </a:lnTo>
                <a:lnTo>
                  <a:pt x="53" y="54"/>
                </a:lnTo>
                <a:lnTo>
                  <a:pt x="53" y="54"/>
                </a:lnTo>
                <a:lnTo>
                  <a:pt x="59" y="54"/>
                </a:lnTo>
                <a:lnTo>
                  <a:pt x="59" y="53"/>
                </a:lnTo>
                <a:lnTo>
                  <a:pt x="60" y="51"/>
                </a:lnTo>
                <a:lnTo>
                  <a:pt x="60" y="51"/>
                </a:lnTo>
                <a:lnTo>
                  <a:pt x="60" y="50"/>
                </a:lnTo>
                <a:lnTo>
                  <a:pt x="61" y="48"/>
                </a:lnTo>
                <a:lnTo>
                  <a:pt x="67" y="47"/>
                </a:lnTo>
                <a:lnTo>
                  <a:pt x="67" y="47"/>
                </a:lnTo>
                <a:lnTo>
                  <a:pt x="66" y="44"/>
                </a:lnTo>
                <a:lnTo>
                  <a:pt x="67" y="43"/>
                </a:lnTo>
                <a:lnTo>
                  <a:pt x="67" y="43"/>
                </a:lnTo>
                <a:lnTo>
                  <a:pt x="74" y="41"/>
                </a:lnTo>
                <a:lnTo>
                  <a:pt x="78" y="41"/>
                </a:lnTo>
                <a:lnTo>
                  <a:pt x="83" y="43"/>
                </a:lnTo>
                <a:lnTo>
                  <a:pt x="83" y="43"/>
                </a:lnTo>
                <a:lnTo>
                  <a:pt x="87" y="43"/>
                </a:lnTo>
                <a:lnTo>
                  <a:pt x="90" y="41"/>
                </a:lnTo>
                <a:lnTo>
                  <a:pt x="90" y="41"/>
                </a:lnTo>
                <a:lnTo>
                  <a:pt x="88" y="38"/>
                </a:lnTo>
                <a:lnTo>
                  <a:pt x="87" y="37"/>
                </a:lnTo>
                <a:lnTo>
                  <a:pt x="87" y="37"/>
                </a:lnTo>
                <a:lnTo>
                  <a:pt x="86" y="36"/>
                </a:lnTo>
                <a:lnTo>
                  <a:pt x="84" y="31"/>
                </a:lnTo>
                <a:lnTo>
                  <a:pt x="83" y="27"/>
                </a:lnTo>
                <a:lnTo>
                  <a:pt x="83" y="26"/>
                </a:lnTo>
                <a:lnTo>
                  <a:pt x="84" y="26"/>
                </a:lnTo>
                <a:lnTo>
                  <a:pt x="84" y="26"/>
                </a:lnTo>
                <a:lnTo>
                  <a:pt x="87" y="23"/>
                </a:lnTo>
                <a:lnTo>
                  <a:pt x="90" y="19"/>
                </a:lnTo>
                <a:lnTo>
                  <a:pt x="93" y="14"/>
                </a:lnTo>
                <a:lnTo>
                  <a:pt x="97" y="11"/>
                </a:lnTo>
                <a:lnTo>
                  <a:pt x="97" y="11"/>
                </a:lnTo>
                <a:lnTo>
                  <a:pt x="100" y="10"/>
                </a:lnTo>
                <a:lnTo>
                  <a:pt x="100" y="9"/>
                </a:lnTo>
                <a:lnTo>
                  <a:pt x="100" y="9"/>
                </a:lnTo>
                <a:lnTo>
                  <a:pt x="94" y="6"/>
                </a:lnTo>
                <a:lnTo>
                  <a:pt x="91" y="4"/>
                </a:lnTo>
                <a:lnTo>
                  <a:pt x="91" y="4"/>
                </a:lnTo>
                <a:lnTo>
                  <a:pt x="88" y="3"/>
                </a:lnTo>
                <a:lnTo>
                  <a:pt x="86" y="1"/>
                </a:lnTo>
                <a:lnTo>
                  <a:pt x="78" y="0"/>
                </a:lnTo>
                <a:lnTo>
                  <a:pt x="78" y="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80" name="Freeform 267">
            <a:extLst>
              <a:ext uri="{FF2B5EF4-FFF2-40B4-BE49-F238E27FC236}">
                <a16:creationId xmlns:a16="http://schemas.microsoft.com/office/drawing/2014/main" id="{07BB2645-D0EE-CFBA-D713-9FBD670116FD}"/>
              </a:ext>
            </a:extLst>
          </p:cNvPr>
          <p:cNvSpPr>
            <a:spLocks/>
          </p:cNvSpPr>
          <p:nvPr userDrawn="1"/>
        </p:nvSpPr>
        <p:spPr bwMode="gray">
          <a:xfrm>
            <a:off x="4774878" y="2396578"/>
            <a:ext cx="54621" cy="39015"/>
          </a:xfrm>
          <a:custGeom>
            <a:avLst/>
            <a:gdLst/>
            <a:ahLst/>
            <a:cxnLst>
              <a:cxn ang="0">
                <a:pos x="10" y="30"/>
              </a:cxn>
              <a:cxn ang="0">
                <a:pos x="10" y="30"/>
              </a:cxn>
              <a:cxn ang="0">
                <a:pos x="10" y="30"/>
              </a:cxn>
              <a:cxn ang="0">
                <a:pos x="10" y="30"/>
              </a:cxn>
              <a:cxn ang="0">
                <a:pos x="10" y="30"/>
              </a:cxn>
              <a:cxn ang="0">
                <a:pos x="10" y="30"/>
              </a:cxn>
              <a:cxn ang="0">
                <a:pos x="10" y="30"/>
              </a:cxn>
              <a:cxn ang="0">
                <a:pos x="11" y="30"/>
              </a:cxn>
              <a:cxn ang="0">
                <a:pos x="11" y="30"/>
              </a:cxn>
              <a:cxn ang="0">
                <a:pos x="11" y="30"/>
              </a:cxn>
              <a:cxn ang="0">
                <a:pos x="11" y="30"/>
              </a:cxn>
              <a:cxn ang="0">
                <a:pos x="15" y="30"/>
              </a:cxn>
              <a:cxn ang="0">
                <a:pos x="15" y="30"/>
              </a:cxn>
              <a:cxn ang="0">
                <a:pos x="17" y="30"/>
              </a:cxn>
              <a:cxn ang="0">
                <a:pos x="17" y="30"/>
              </a:cxn>
              <a:cxn ang="0">
                <a:pos x="18" y="30"/>
              </a:cxn>
              <a:cxn ang="0">
                <a:pos x="18" y="30"/>
              </a:cxn>
              <a:cxn ang="0">
                <a:pos x="18" y="30"/>
              </a:cxn>
              <a:cxn ang="0">
                <a:pos x="18" y="30"/>
              </a:cxn>
              <a:cxn ang="0">
                <a:pos x="20" y="30"/>
              </a:cxn>
              <a:cxn ang="0">
                <a:pos x="20" y="30"/>
              </a:cxn>
              <a:cxn ang="0">
                <a:pos x="23" y="29"/>
              </a:cxn>
              <a:cxn ang="0">
                <a:pos x="24" y="26"/>
              </a:cxn>
              <a:cxn ang="0">
                <a:pos x="25" y="24"/>
              </a:cxn>
              <a:cxn ang="0">
                <a:pos x="27" y="24"/>
              </a:cxn>
              <a:cxn ang="0">
                <a:pos x="27" y="24"/>
              </a:cxn>
              <a:cxn ang="0">
                <a:pos x="30" y="24"/>
              </a:cxn>
              <a:cxn ang="0">
                <a:pos x="35" y="23"/>
              </a:cxn>
              <a:cxn ang="0">
                <a:pos x="42" y="19"/>
              </a:cxn>
              <a:cxn ang="0">
                <a:pos x="42" y="19"/>
              </a:cxn>
              <a:cxn ang="0">
                <a:pos x="42" y="17"/>
              </a:cxn>
              <a:cxn ang="0">
                <a:pos x="42" y="17"/>
              </a:cxn>
              <a:cxn ang="0">
                <a:pos x="41" y="16"/>
              </a:cxn>
              <a:cxn ang="0">
                <a:pos x="40" y="13"/>
              </a:cxn>
              <a:cxn ang="0">
                <a:pos x="40" y="13"/>
              </a:cxn>
              <a:cxn ang="0">
                <a:pos x="35" y="7"/>
              </a:cxn>
              <a:cxn ang="0">
                <a:pos x="31" y="3"/>
              </a:cxn>
              <a:cxn ang="0">
                <a:pos x="31" y="3"/>
              </a:cxn>
              <a:cxn ang="0">
                <a:pos x="30" y="2"/>
              </a:cxn>
              <a:cxn ang="0">
                <a:pos x="30" y="2"/>
              </a:cxn>
              <a:cxn ang="0">
                <a:pos x="30" y="2"/>
              </a:cxn>
              <a:cxn ang="0">
                <a:pos x="30" y="2"/>
              </a:cxn>
              <a:cxn ang="0">
                <a:pos x="30" y="0"/>
              </a:cxn>
              <a:cxn ang="0">
                <a:pos x="30" y="0"/>
              </a:cxn>
              <a:cxn ang="0">
                <a:pos x="3" y="4"/>
              </a:cxn>
              <a:cxn ang="0">
                <a:pos x="3" y="4"/>
              </a:cxn>
              <a:cxn ang="0">
                <a:pos x="1" y="4"/>
              </a:cxn>
              <a:cxn ang="0">
                <a:pos x="1" y="4"/>
              </a:cxn>
              <a:cxn ang="0">
                <a:pos x="0" y="13"/>
              </a:cxn>
              <a:cxn ang="0">
                <a:pos x="0" y="20"/>
              </a:cxn>
              <a:cxn ang="0">
                <a:pos x="0" y="20"/>
              </a:cxn>
              <a:cxn ang="0">
                <a:pos x="3" y="26"/>
              </a:cxn>
              <a:cxn ang="0">
                <a:pos x="10" y="30"/>
              </a:cxn>
              <a:cxn ang="0">
                <a:pos x="10" y="30"/>
              </a:cxn>
            </a:cxnLst>
            <a:rect l="0" t="0" r="r" b="b"/>
            <a:pathLst>
              <a:path w="42" h="30">
                <a:moveTo>
                  <a:pt x="10" y="30"/>
                </a:moveTo>
                <a:lnTo>
                  <a:pt x="10" y="30"/>
                </a:lnTo>
                <a:lnTo>
                  <a:pt x="10" y="30"/>
                </a:lnTo>
                <a:lnTo>
                  <a:pt x="10" y="30"/>
                </a:lnTo>
                <a:lnTo>
                  <a:pt x="10" y="30"/>
                </a:lnTo>
                <a:lnTo>
                  <a:pt x="10" y="30"/>
                </a:lnTo>
                <a:lnTo>
                  <a:pt x="10" y="30"/>
                </a:lnTo>
                <a:lnTo>
                  <a:pt x="11" y="30"/>
                </a:lnTo>
                <a:lnTo>
                  <a:pt x="11" y="30"/>
                </a:lnTo>
                <a:lnTo>
                  <a:pt x="11" y="30"/>
                </a:lnTo>
                <a:lnTo>
                  <a:pt x="11" y="30"/>
                </a:lnTo>
                <a:lnTo>
                  <a:pt x="15" y="30"/>
                </a:lnTo>
                <a:lnTo>
                  <a:pt x="15" y="30"/>
                </a:lnTo>
                <a:lnTo>
                  <a:pt x="17" y="30"/>
                </a:lnTo>
                <a:lnTo>
                  <a:pt x="17" y="30"/>
                </a:lnTo>
                <a:lnTo>
                  <a:pt x="18" y="30"/>
                </a:lnTo>
                <a:lnTo>
                  <a:pt x="18" y="30"/>
                </a:lnTo>
                <a:lnTo>
                  <a:pt x="18" y="30"/>
                </a:lnTo>
                <a:lnTo>
                  <a:pt x="18" y="30"/>
                </a:lnTo>
                <a:lnTo>
                  <a:pt x="20" y="30"/>
                </a:lnTo>
                <a:lnTo>
                  <a:pt x="20" y="30"/>
                </a:lnTo>
                <a:lnTo>
                  <a:pt x="23" y="29"/>
                </a:lnTo>
                <a:lnTo>
                  <a:pt x="24" y="26"/>
                </a:lnTo>
                <a:lnTo>
                  <a:pt x="25" y="24"/>
                </a:lnTo>
                <a:lnTo>
                  <a:pt x="27" y="24"/>
                </a:lnTo>
                <a:lnTo>
                  <a:pt x="27" y="24"/>
                </a:lnTo>
                <a:lnTo>
                  <a:pt x="30" y="24"/>
                </a:lnTo>
                <a:lnTo>
                  <a:pt x="35" y="23"/>
                </a:lnTo>
                <a:lnTo>
                  <a:pt x="42" y="19"/>
                </a:lnTo>
                <a:lnTo>
                  <a:pt x="42" y="19"/>
                </a:lnTo>
                <a:lnTo>
                  <a:pt x="42" y="17"/>
                </a:lnTo>
                <a:lnTo>
                  <a:pt x="42" y="17"/>
                </a:lnTo>
                <a:lnTo>
                  <a:pt x="41" y="16"/>
                </a:lnTo>
                <a:lnTo>
                  <a:pt x="40" y="13"/>
                </a:lnTo>
                <a:lnTo>
                  <a:pt x="40" y="13"/>
                </a:lnTo>
                <a:lnTo>
                  <a:pt x="35" y="7"/>
                </a:lnTo>
                <a:lnTo>
                  <a:pt x="31" y="3"/>
                </a:lnTo>
                <a:lnTo>
                  <a:pt x="31" y="3"/>
                </a:lnTo>
                <a:lnTo>
                  <a:pt x="30" y="2"/>
                </a:lnTo>
                <a:lnTo>
                  <a:pt x="30" y="2"/>
                </a:lnTo>
                <a:lnTo>
                  <a:pt x="30" y="2"/>
                </a:lnTo>
                <a:lnTo>
                  <a:pt x="30" y="2"/>
                </a:lnTo>
                <a:lnTo>
                  <a:pt x="30" y="0"/>
                </a:lnTo>
                <a:lnTo>
                  <a:pt x="30" y="0"/>
                </a:lnTo>
                <a:lnTo>
                  <a:pt x="3" y="4"/>
                </a:lnTo>
                <a:lnTo>
                  <a:pt x="3" y="4"/>
                </a:lnTo>
                <a:lnTo>
                  <a:pt x="1" y="4"/>
                </a:lnTo>
                <a:lnTo>
                  <a:pt x="1" y="4"/>
                </a:lnTo>
                <a:lnTo>
                  <a:pt x="0" y="13"/>
                </a:lnTo>
                <a:lnTo>
                  <a:pt x="0" y="20"/>
                </a:lnTo>
                <a:lnTo>
                  <a:pt x="0" y="20"/>
                </a:lnTo>
                <a:lnTo>
                  <a:pt x="3" y="26"/>
                </a:lnTo>
                <a:lnTo>
                  <a:pt x="10" y="30"/>
                </a:lnTo>
                <a:lnTo>
                  <a:pt x="10" y="3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81" name="Freeform 268">
            <a:extLst>
              <a:ext uri="{FF2B5EF4-FFF2-40B4-BE49-F238E27FC236}">
                <a16:creationId xmlns:a16="http://schemas.microsoft.com/office/drawing/2014/main" id="{49A90659-8DDC-1E71-68BE-14194CA6E4D6}"/>
              </a:ext>
            </a:extLst>
          </p:cNvPr>
          <p:cNvSpPr>
            <a:spLocks/>
          </p:cNvSpPr>
          <p:nvPr userDrawn="1"/>
        </p:nvSpPr>
        <p:spPr bwMode="gray">
          <a:xfrm>
            <a:off x="4809993" y="2129974"/>
            <a:ext cx="371946" cy="213283"/>
          </a:xfrm>
          <a:custGeom>
            <a:avLst/>
            <a:gdLst/>
            <a:ahLst/>
            <a:cxnLst>
              <a:cxn ang="0">
                <a:pos x="264" y="96"/>
              </a:cxn>
              <a:cxn ang="0">
                <a:pos x="280" y="94"/>
              </a:cxn>
              <a:cxn ang="0">
                <a:pos x="280" y="83"/>
              </a:cxn>
              <a:cxn ang="0">
                <a:pos x="283" y="77"/>
              </a:cxn>
              <a:cxn ang="0">
                <a:pos x="283" y="73"/>
              </a:cxn>
              <a:cxn ang="0">
                <a:pos x="286" y="64"/>
              </a:cxn>
              <a:cxn ang="0">
                <a:pos x="277" y="59"/>
              </a:cxn>
              <a:cxn ang="0">
                <a:pos x="259" y="53"/>
              </a:cxn>
              <a:cxn ang="0">
                <a:pos x="247" y="49"/>
              </a:cxn>
              <a:cxn ang="0">
                <a:pos x="235" y="44"/>
              </a:cxn>
              <a:cxn ang="0">
                <a:pos x="222" y="43"/>
              </a:cxn>
              <a:cxn ang="0">
                <a:pos x="212" y="40"/>
              </a:cxn>
              <a:cxn ang="0">
                <a:pos x="205" y="26"/>
              </a:cxn>
              <a:cxn ang="0">
                <a:pos x="193" y="23"/>
              </a:cxn>
              <a:cxn ang="0">
                <a:pos x="190" y="12"/>
              </a:cxn>
              <a:cxn ang="0">
                <a:pos x="180" y="0"/>
              </a:cxn>
              <a:cxn ang="0">
                <a:pos x="163" y="2"/>
              </a:cxn>
              <a:cxn ang="0">
                <a:pos x="156" y="5"/>
              </a:cxn>
              <a:cxn ang="0">
                <a:pos x="142" y="6"/>
              </a:cxn>
              <a:cxn ang="0">
                <a:pos x="132" y="16"/>
              </a:cxn>
              <a:cxn ang="0">
                <a:pos x="126" y="20"/>
              </a:cxn>
              <a:cxn ang="0">
                <a:pos x="109" y="17"/>
              </a:cxn>
              <a:cxn ang="0">
                <a:pos x="98" y="16"/>
              </a:cxn>
              <a:cxn ang="0">
                <a:pos x="89" y="17"/>
              </a:cxn>
              <a:cxn ang="0">
                <a:pos x="71" y="13"/>
              </a:cxn>
              <a:cxn ang="0">
                <a:pos x="41" y="9"/>
              </a:cxn>
              <a:cxn ang="0">
                <a:pos x="30" y="15"/>
              </a:cxn>
              <a:cxn ang="0">
                <a:pos x="23" y="22"/>
              </a:cxn>
              <a:cxn ang="0">
                <a:pos x="30" y="37"/>
              </a:cxn>
              <a:cxn ang="0">
                <a:pos x="14" y="52"/>
              </a:cxn>
              <a:cxn ang="0">
                <a:pos x="7" y="70"/>
              </a:cxn>
              <a:cxn ang="0">
                <a:pos x="0" y="81"/>
              </a:cxn>
              <a:cxn ang="0">
                <a:pos x="10" y="91"/>
              </a:cxn>
              <a:cxn ang="0">
                <a:pos x="33" y="94"/>
              </a:cxn>
              <a:cxn ang="0">
                <a:pos x="42" y="97"/>
              </a:cxn>
              <a:cxn ang="0">
                <a:pos x="52" y="93"/>
              </a:cxn>
              <a:cxn ang="0">
                <a:pos x="67" y="89"/>
              </a:cxn>
              <a:cxn ang="0">
                <a:pos x="88" y="83"/>
              </a:cxn>
              <a:cxn ang="0">
                <a:pos x="101" y="90"/>
              </a:cxn>
              <a:cxn ang="0">
                <a:pos x="115" y="107"/>
              </a:cxn>
              <a:cxn ang="0">
                <a:pos x="124" y="124"/>
              </a:cxn>
              <a:cxn ang="0">
                <a:pos x="109" y="123"/>
              </a:cxn>
              <a:cxn ang="0">
                <a:pos x="102" y="137"/>
              </a:cxn>
              <a:cxn ang="0">
                <a:pos x="104" y="148"/>
              </a:cxn>
              <a:cxn ang="0">
                <a:pos x="118" y="148"/>
              </a:cxn>
              <a:cxn ang="0">
                <a:pos x="125" y="137"/>
              </a:cxn>
              <a:cxn ang="0">
                <a:pos x="139" y="120"/>
              </a:cxn>
              <a:cxn ang="0">
                <a:pos x="159" y="118"/>
              </a:cxn>
              <a:cxn ang="0">
                <a:pos x="159" y="128"/>
              </a:cxn>
              <a:cxn ang="0">
                <a:pos x="183" y="130"/>
              </a:cxn>
              <a:cxn ang="0">
                <a:pos x="173" y="138"/>
              </a:cxn>
              <a:cxn ang="0">
                <a:pos x="171" y="147"/>
              </a:cxn>
              <a:cxn ang="0">
                <a:pos x="179" y="161"/>
              </a:cxn>
              <a:cxn ang="0">
                <a:pos x="193" y="160"/>
              </a:cxn>
              <a:cxn ang="0">
                <a:pos x="209" y="154"/>
              </a:cxn>
              <a:cxn ang="0">
                <a:pos x="230" y="151"/>
              </a:cxn>
              <a:cxn ang="0">
                <a:pos x="213" y="147"/>
              </a:cxn>
              <a:cxn ang="0">
                <a:pos x="203" y="141"/>
              </a:cxn>
              <a:cxn ang="0">
                <a:pos x="207" y="126"/>
              </a:cxn>
              <a:cxn ang="0">
                <a:pos x="242" y="114"/>
              </a:cxn>
              <a:cxn ang="0">
                <a:pos x="253" y="104"/>
              </a:cxn>
            </a:cxnLst>
            <a:rect l="0" t="0" r="r" b="b"/>
            <a:pathLst>
              <a:path w="286" h="164">
                <a:moveTo>
                  <a:pt x="254" y="103"/>
                </a:moveTo>
                <a:lnTo>
                  <a:pt x="254" y="103"/>
                </a:lnTo>
                <a:lnTo>
                  <a:pt x="257" y="101"/>
                </a:lnTo>
                <a:lnTo>
                  <a:pt x="260" y="98"/>
                </a:lnTo>
                <a:lnTo>
                  <a:pt x="264" y="96"/>
                </a:lnTo>
                <a:lnTo>
                  <a:pt x="267" y="94"/>
                </a:lnTo>
                <a:lnTo>
                  <a:pt x="267" y="94"/>
                </a:lnTo>
                <a:lnTo>
                  <a:pt x="274" y="96"/>
                </a:lnTo>
                <a:lnTo>
                  <a:pt x="279" y="96"/>
                </a:lnTo>
                <a:lnTo>
                  <a:pt x="280" y="94"/>
                </a:lnTo>
                <a:lnTo>
                  <a:pt x="280" y="94"/>
                </a:lnTo>
                <a:lnTo>
                  <a:pt x="281" y="90"/>
                </a:lnTo>
                <a:lnTo>
                  <a:pt x="283" y="86"/>
                </a:lnTo>
                <a:lnTo>
                  <a:pt x="283" y="86"/>
                </a:lnTo>
                <a:lnTo>
                  <a:pt x="280" y="83"/>
                </a:lnTo>
                <a:lnTo>
                  <a:pt x="280" y="80"/>
                </a:lnTo>
                <a:lnTo>
                  <a:pt x="280" y="79"/>
                </a:lnTo>
                <a:lnTo>
                  <a:pt x="280" y="79"/>
                </a:lnTo>
                <a:lnTo>
                  <a:pt x="280" y="79"/>
                </a:lnTo>
                <a:lnTo>
                  <a:pt x="283" y="77"/>
                </a:lnTo>
                <a:lnTo>
                  <a:pt x="284" y="77"/>
                </a:lnTo>
                <a:lnTo>
                  <a:pt x="286" y="76"/>
                </a:lnTo>
                <a:lnTo>
                  <a:pt x="286" y="76"/>
                </a:lnTo>
                <a:lnTo>
                  <a:pt x="284" y="74"/>
                </a:lnTo>
                <a:lnTo>
                  <a:pt x="283" y="73"/>
                </a:lnTo>
                <a:lnTo>
                  <a:pt x="281" y="70"/>
                </a:lnTo>
                <a:lnTo>
                  <a:pt x="281" y="70"/>
                </a:lnTo>
                <a:lnTo>
                  <a:pt x="284" y="67"/>
                </a:lnTo>
                <a:lnTo>
                  <a:pt x="286" y="66"/>
                </a:lnTo>
                <a:lnTo>
                  <a:pt x="286" y="64"/>
                </a:lnTo>
                <a:lnTo>
                  <a:pt x="286" y="64"/>
                </a:lnTo>
                <a:lnTo>
                  <a:pt x="284" y="62"/>
                </a:lnTo>
                <a:lnTo>
                  <a:pt x="283" y="62"/>
                </a:lnTo>
                <a:lnTo>
                  <a:pt x="277" y="59"/>
                </a:lnTo>
                <a:lnTo>
                  <a:pt x="277" y="59"/>
                </a:lnTo>
                <a:lnTo>
                  <a:pt x="273" y="57"/>
                </a:lnTo>
                <a:lnTo>
                  <a:pt x="270" y="56"/>
                </a:lnTo>
                <a:lnTo>
                  <a:pt x="263" y="54"/>
                </a:lnTo>
                <a:lnTo>
                  <a:pt x="263" y="54"/>
                </a:lnTo>
                <a:lnTo>
                  <a:pt x="259" y="53"/>
                </a:lnTo>
                <a:lnTo>
                  <a:pt x="254" y="53"/>
                </a:lnTo>
                <a:lnTo>
                  <a:pt x="252" y="53"/>
                </a:lnTo>
                <a:lnTo>
                  <a:pt x="250" y="53"/>
                </a:lnTo>
                <a:lnTo>
                  <a:pt x="250" y="53"/>
                </a:lnTo>
                <a:lnTo>
                  <a:pt x="247" y="49"/>
                </a:lnTo>
                <a:lnTo>
                  <a:pt x="243" y="44"/>
                </a:lnTo>
                <a:lnTo>
                  <a:pt x="243" y="44"/>
                </a:lnTo>
                <a:lnTo>
                  <a:pt x="242" y="43"/>
                </a:lnTo>
                <a:lnTo>
                  <a:pt x="239" y="43"/>
                </a:lnTo>
                <a:lnTo>
                  <a:pt x="235" y="44"/>
                </a:lnTo>
                <a:lnTo>
                  <a:pt x="235" y="44"/>
                </a:lnTo>
                <a:lnTo>
                  <a:pt x="230" y="46"/>
                </a:lnTo>
                <a:lnTo>
                  <a:pt x="226" y="46"/>
                </a:lnTo>
                <a:lnTo>
                  <a:pt x="226" y="46"/>
                </a:lnTo>
                <a:lnTo>
                  <a:pt x="222" y="43"/>
                </a:lnTo>
                <a:lnTo>
                  <a:pt x="220" y="42"/>
                </a:lnTo>
                <a:lnTo>
                  <a:pt x="217" y="42"/>
                </a:lnTo>
                <a:lnTo>
                  <a:pt x="217" y="42"/>
                </a:lnTo>
                <a:lnTo>
                  <a:pt x="213" y="42"/>
                </a:lnTo>
                <a:lnTo>
                  <a:pt x="212" y="40"/>
                </a:lnTo>
                <a:lnTo>
                  <a:pt x="212" y="39"/>
                </a:lnTo>
                <a:lnTo>
                  <a:pt x="212" y="39"/>
                </a:lnTo>
                <a:lnTo>
                  <a:pt x="212" y="36"/>
                </a:lnTo>
                <a:lnTo>
                  <a:pt x="210" y="32"/>
                </a:lnTo>
                <a:lnTo>
                  <a:pt x="205" y="26"/>
                </a:lnTo>
                <a:lnTo>
                  <a:pt x="205" y="26"/>
                </a:lnTo>
                <a:lnTo>
                  <a:pt x="199" y="26"/>
                </a:lnTo>
                <a:lnTo>
                  <a:pt x="195" y="25"/>
                </a:lnTo>
                <a:lnTo>
                  <a:pt x="193" y="23"/>
                </a:lnTo>
                <a:lnTo>
                  <a:pt x="193" y="23"/>
                </a:lnTo>
                <a:lnTo>
                  <a:pt x="190" y="19"/>
                </a:lnTo>
                <a:lnTo>
                  <a:pt x="189" y="16"/>
                </a:lnTo>
                <a:lnTo>
                  <a:pt x="189" y="15"/>
                </a:lnTo>
                <a:lnTo>
                  <a:pt x="189" y="15"/>
                </a:lnTo>
                <a:lnTo>
                  <a:pt x="190" y="12"/>
                </a:lnTo>
                <a:lnTo>
                  <a:pt x="189" y="9"/>
                </a:lnTo>
                <a:lnTo>
                  <a:pt x="188" y="2"/>
                </a:lnTo>
                <a:lnTo>
                  <a:pt x="188" y="2"/>
                </a:lnTo>
                <a:lnTo>
                  <a:pt x="185" y="0"/>
                </a:lnTo>
                <a:lnTo>
                  <a:pt x="180" y="0"/>
                </a:lnTo>
                <a:lnTo>
                  <a:pt x="175" y="0"/>
                </a:lnTo>
                <a:lnTo>
                  <a:pt x="175" y="0"/>
                </a:lnTo>
                <a:lnTo>
                  <a:pt x="169" y="0"/>
                </a:lnTo>
                <a:lnTo>
                  <a:pt x="166" y="0"/>
                </a:lnTo>
                <a:lnTo>
                  <a:pt x="163" y="2"/>
                </a:lnTo>
                <a:lnTo>
                  <a:pt x="163" y="2"/>
                </a:lnTo>
                <a:lnTo>
                  <a:pt x="161" y="3"/>
                </a:lnTo>
                <a:lnTo>
                  <a:pt x="158" y="5"/>
                </a:lnTo>
                <a:lnTo>
                  <a:pt x="156" y="5"/>
                </a:lnTo>
                <a:lnTo>
                  <a:pt x="156" y="5"/>
                </a:lnTo>
                <a:lnTo>
                  <a:pt x="153" y="5"/>
                </a:lnTo>
                <a:lnTo>
                  <a:pt x="152" y="3"/>
                </a:lnTo>
                <a:lnTo>
                  <a:pt x="152" y="3"/>
                </a:lnTo>
                <a:lnTo>
                  <a:pt x="145" y="5"/>
                </a:lnTo>
                <a:lnTo>
                  <a:pt x="142" y="6"/>
                </a:lnTo>
                <a:lnTo>
                  <a:pt x="142" y="6"/>
                </a:lnTo>
                <a:lnTo>
                  <a:pt x="136" y="9"/>
                </a:lnTo>
                <a:lnTo>
                  <a:pt x="134" y="13"/>
                </a:lnTo>
                <a:lnTo>
                  <a:pt x="132" y="16"/>
                </a:lnTo>
                <a:lnTo>
                  <a:pt x="132" y="16"/>
                </a:lnTo>
                <a:lnTo>
                  <a:pt x="131" y="20"/>
                </a:lnTo>
                <a:lnTo>
                  <a:pt x="131" y="22"/>
                </a:lnTo>
                <a:lnTo>
                  <a:pt x="129" y="22"/>
                </a:lnTo>
                <a:lnTo>
                  <a:pt x="129" y="22"/>
                </a:lnTo>
                <a:lnTo>
                  <a:pt x="126" y="20"/>
                </a:lnTo>
                <a:lnTo>
                  <a:pt x="122" y="19"/>
                </a:lnTo>
                <a:lnTo>
                  <a:pt x="115" y="20"/>
                </a:lnTo>
                <a:lnTo>
                  <a:pt x="115" y="20"/>
                </a:lnTo>
                <a:lnTo>
                  <a:pt x="112" y="20"/>
                </a:lnTo>
                <a:lnTo>
                  <a:pt x="109" y="17"/>
                </a:lnTo>
                <a:lnTo>
                  <a:pt x="106" y="16"/>
                </a:lnTo>
                <a:lnTo>
                  <a:pt x="104" y="17"/>
                </a:lnTo>
                <a:lnTo>
                  <a:pt x="104" y="17"/>
                </a:lnTo>
                <a:lnTo>
                  <a:pt x="101" y="17"/>
                </a:lnTo>
                <a:lnTo>
                  <a:pt x="98" y="16"/>
                </a:lnTo>
                <a:lnTo>
                  <a:pt x="95" y="16"/>
                </a:lnTo>
                <a:lnTo>
                  <a:pt x="94" y="16"/>
                </a:lnTo>
                <a:lnTo>
                  <a:pt x="94" y="16"/>
                </a:lnTo>
                <a:lnTo>
                  <a:pt x="92" y="17"/>
                </a:lnTo>
                <a:lnTo>
                  <a:pt x="89" y="17"/>
                </a:lnTo>
                <a:lnTo>
                  <a:pt x="82" y="15"/>
                </a:lnTo>
                <a:lnTo>
                  <a:pt x="82" y="15"/>
                </a:lnTo>
                <a:lnTo>
                  <a:pt x="79" y="13"/>
                </a:lnTo>
                <a:lnTo>
                  <a:pt x="75" y="13"/>
                </a:lnTo>
                <a:lnTo>
                  <a:pt x="71" y="13"/>
                </a:lnTo>
                <a:lnTo>
                  <a:pt x="68" y="12"/>
                </a:lnTo>
                <a:lnTo>
                  <a:pt x="68" y="12"/>
                </a:lnTo>
                <a:lnTo>
                  <a:pt x="64" y="10"/>
                </a:lnTo>
                <a:lnTo>
                  <a:pt x="55" y="9"/>
                </a:lnTo>
                <a:lnTo>
                  <a:pt x="41" y="9"/>
                </a:lnTo>
                <a:lnTo>
                  <a:pt x="41" y="9"/>
                </a:lnTo>
                <a:lnTo>
                  <a:pt x="37" y="9"/>
                </a:lnTo>
                <a:lnTo>
                  <a:pt x="34" y="10"/>
                </a:lnTo>
                <a:lnTo>
                  <a:pt x="30" y="15"/>
                </a:lnTo>
                <a:lnTo>
                  <a:pt x="30" y="15"/>
                </a:lnTo>
                <a:lnTo>
                  <a:pt x="28" y="16"/>
                </a:lnTo>
                <a:lnTo>
                  <a:pt x="25" y="17"/>
                </a:lnTo>
                <a:lnTo>
                  <a:pt x="21" y="17"/>
                </a:lnTo>
                <a:lnTo>
                  <a:pt x="21" y="17"/>
                </a:lnTo>
                <a:lnTo>
                  <a:pt x="23" y="22"/>
                </a:lnTo>
                <a:lnTo>
                  <a:pt x="23" y="22"/>
                </a:lnTo>
                <a:lnTo>
                  <a:pt x="27" y="30"/>
                </a:lnTo>
                <a:lnTo>
                  <a:pt x="30" y="34"/>
                </a:lnTo>
                <a:lnTo>
                  <a:pt x="30" y="37"/>
                </a:lnTo>
                <a:lnTo>
                  <a:pt x="30" y="37"/>
                </a:lnTo>
                <a:lnTo>
                  <a:pt x="27" y="40"/>
                </a:lnTo>
                <a:lnTo>
                  <a:pt x="25" y="42"/>
                </a:lnTo>
                <a:lnTo>
                  <a:pt x="23" y="43"/>
                </a:lnTo>
                <a:lnTo>
                  <a:pt x="23" y="43"/>
                </a:lnTo>
                <a:lnTo>
                  <a:pt x="14" y="52"/>
                </a:lnTo>
                <a:lnTo>
                  <a:pt x="7" y="59"/>
                </a:lnTo>
                <a:lnTo>
                  <a:pt x="7" y="59"/>
                </a:lnTo>
                <a:lnTo>
                  <a:pt x="8" y="64"/>
                </a:lnTo>
                <a:lnTo>
                  <a:pt x="8" y="67"/>
                </a:lnTo>
                <a:lnTo>
                  <a:pt x="7" y="70"/>
                </a:lnTo>
                <a:lnTo>
                  <a:pt x="7" y="70"/>
                </a:lnTo>
                <a:lnTo>
                  <a:pt x="3" y="76"/>
                </a:lnTo>
                <a:lnTo>
                  <a:pt x="1" y="79"/>
                </a:lnTo>
                <a:lnTo>
                  <a:pt x="0" y="81"/>
                </a:lnTo>
                <a:lnTo>
                  <a:pt x="0" y="81"/>
                </a:lnTo>
                <a:lnTo>
                  <a:pt x="1" y="84"/>
                </a:lnTo>
                <a:lnTo>
                  <a:pt x="3" y="86"/>
                </a:lnTo>
                <a:lnTo>
                  <a:pt x="7" y="90"/>
                </a:lnTo>
                <a:lnTo>
                  <a:pt x="7" y="90"/>
                </a:lnTo>
                <a:lnTo>
                  <a:pt x="10" y="91"/>
                </a:lnTo>
                <a:lnTo>
                  <a:pt x="10" y="91"/>
                </a:lnTo>
                <a:lnTo>
                  <a:pt x="17" y="91"/>
                </a:lnTo>
                <a:lnTo>
                  <a:pt x="17" y="91"/>
                </a:lnTo>
                <a:lnTo>
                  <a:pt x="24" y="93"/>
                </a:lnTo>
                <a:lnTo>
                  <a:pt x="33" y="94"/>
                </a:lnTo>
                <a:lnTo>
                  <a:pt x="33" y="94"/>
                </a:lnTo>
                <a:lnTo>
                  <a:pt x="38" y="94"/>
                </a:lnTo>
                <a:lnTo>
                  <a:pt x="42" y="97"/>
                </a:lnTo>
                <a:lnTo>
                  <a:pt x="42" y="97"/>
                </a:lnTo>
                <a:lnTo>
                  <a:pt x="42" y="97"/>
                </a:lnTo>
                <a:lnTo>
                  <a:pt x="45" y="97"/>
                </a:lnTo>
                <a:lnTo>
                  <a:pt x="50" y="94"/>
                </a:lnTo>
                <a:lnTo>
                  <a:pt x="50" y="94"/>
                </a:lnTo>
                <a:lnTo>
                  <a:pt x="51" y="93"/>
                </a:lnTo>
                <a:lnTo>
                  <a:pt x="52" y="93"/>
                </a:lnTo>
                <a:lnTo>
                  <a:pt x="57" y="94"/>
                </a:lnTo>
                <a:lnTo>
                  <a:pt x="57" y="94"/>
                </a:lnTo>
                <a:lnTo>
                  <a:pt x="62" y="93"/>
                </a:lnTo>
                <a:lnTo>
                  <a:pt x="67" y="89"/>
                </a:lnTo>
                <a:lnTo>
                  <a:pt x="67" y="89"/>
                </a:lnTo>
                <a:lnTo>
                  <a:pt x="70" y="87"/>
                </a:lnTo>
                <a:lnTo>
                  <a:pt x="75" y="84"/>
                </a:lnTo>
                <a:lnTo>
                  <a:pt x="85" y="83"/>
                </a:lnTo>
                <a:lnTo>
                  <a:pt x="85" y="83"/>
                </a:lnTo>
                <a:lnTo>
                  <a:pt x="88" y="83"/>
                </a:lnTo>
                <a:lnTo>
                  <a:pt x="92" y="86"/>
                </a:lnTo>
                <a:lnTo>
                  <a:pt x="95" y="89"/>
                </a:lnTo>
                <a:lnTo>
                  <a:pt x="98" y="90"/>
                </a:lnTo>
                <a:lnTo>
                  <a:pt x="98" y="90"/>
                </a:lnTo>
                <a:lnTo>
                  <a:pt x="101" y="90"/>
                </a:lnTo>
                <a:lnTo>
                  <a:pt x="105" y="91"/>
                </a:lnTo>
                <a:lnTo>
                  <a:pt x="108" y="94"/>
                </a:lnTo>
                <a:lnTo>
                  <a:pt x="109" y="98"/>
                </a:lnTo>
                <a:lnTo>
                  <a:pt x="109" y="98"/>
                </a:lnTo>
                <a:lnTo>
                  <a:pt x="115" y="107"/>
                </a:lnTo>
                <a:lnTo>
                  <a:pt x="119" y="114"/>
                </a:lnTo>
                <a:lnTo>
                  <a:pt x="119" y="114"/>
                </a:lnTo>
                <a:lnTo>
                  <a:pt x="122" y="120"/>
                </a:lnTo>
                <a:lnTo>
                  <a:pt x="124" y="124"/>
                </a:lnTo>
                <a:lnTo>
                  <a:pt x="124" y="124"/>
                </a:lnTo>
                <a:lnTo>
                  <a:pt x="122" y="126"/>
                </a:lnTo>
                <a:lnTo>
                  <a:pt x="121" y="124"/>
                </a:lnTo>
                <a:lnTo>
                  <a:pt x="112" y="123"/>
                </a:lnTo>
                <a:lnTo>
                  <a:pt x="112" y="123"/>
                </a:lnTo>
                <a:lnTo>
                  <a:pt x="109" y="123"/>
                </a:lnTo>
                <a:lnTo>
                  <a:pt x="108" y="124"/>
                </a:lnTo>
                <a:lnTo>
                  <a:pt x="106" y="130"/>
                </a:lnTo>
                <a:lnTo>
                  <a:pt x="106" y="130"/>
                </a:lnTo>
                <a:lnTo>
                  <a:pt x="105" y="133"/>
                </a:lnTo>
                <a:lnTo>
                  <a:pt x="102" y="137"/>
                </a:lnTo>
                <a:lnTo>
                  <a:pt x="97" y="144"/>
                </a:lnTo>
                <a:lnTo>
                  <a:pt x="97" y="144"/>
                </a:lnTo>
                <a:lnTo>
                  <a:pt x="97" y="145"/>
                </a:lnTo>
                <a:lnTo>
                  <a:pt x="98" y="147"/>
                </a:lnTo>
                <a:lnTo>
                  <a:pt x="104" y="148"/>
                </a:lnTo>
                <a:lnTo>
                  <a:pt x="104" y="148"/>
                </a:lnTo>
                <a:lnTo>
                  <a:pt x="108" y="147"/>
                </a:lnTo>
                <a:lnTo>
                  <a:pt x="112" y="144"/>
                </a:lnTo>
                <a:lnTo>
                  <a:pt x="112" y="144"/>
                </a:lnTo>
                <a:lnTo>
                  <a:pt x="118" y="148"/>
                </a:lnTo>
                <a:lnTo>
                  <a:pt x="118" y="148"/>
                </a:lnTo>
                <a:lnTo>
                  <a:pt x="118" y="144"/>
                </a:lnTo>
                <a:lnTo>
                  <a:pt x="119" y="141"/>
                </a:lnTo>
                <a:lnTo>
                  <a:pt x="125" y="137"/>
                </a:lnTo>
                <a:lnTo>
                  <a:pt x="125" y="137"/>
                </a:lnTo>
                <a:lnTo>
                  <a:pt x="129" y="131"/>
                </a:lnTo>
                <a:lnTo>
                  <a:pt x="132" y="127"/>
                </a:lnTo>
                <a:lnTo>
                  <a:pt x="135" y="123"/>
                </a:lnTo>
                <a:lnTo>
                  <a:pt x="139" y="120"/>
                </a:lnTo>
                <a:lnTo>
                  <a:pt x="139" y="120"/>
                </a:lnTo>
                <a:lnTo>
                  <a:pt x="146" y="118"/>
                </a:lnTo>
                <a:lnTo>
                  <a:pt x="151" y="117"/>
                </a:lnTo>
                <a:lnTo>
                  <a:pt x="156" y="117"/>
                </a:lnTo>
                <a:lnTo>
                  <a:pt x="156" y="117"/>
                </a:lnTo>
                <a:lnTo>
                  <a:pt x="159" y="118"/>
                </a:lnTo>
                <a:lnTo>
                  <a:pt x="161" y="120"/>
                </a:lnTo>
                <a:lnTo>
                  <a:pt x="159" y="123"/>
                </a:lnTo>
                <a:lnTo>
                  <a:pt x="156" y="126"/>
                </a:lnTo>
                <a:lnTo>
                  <a:pt x="156" y="127"/>
                </a:lnTo>
                <a:lnTo>
                  <a:pt x="159" y="128"/>
                </a:lnTo>
                <a:lnTo>
                  <a:pt x="159" y="128"/>
                </a:lnTo>
                <a:lnTo>
                  <a:pt x="165" y="130"/>
                </a:lnTo>
                <a:lnTo>
                  <a:pt x="173" y="130"/>
                </a:lnTo>
                <a:lnTo>
                  <a:pt x="180" y="130"/>
                </a:lnTo>
                <a:lnTo>
                  <a:pt x="183" y="130"/>
                </a:lnTo>
                <a:lnTo>
                  <a:pt x="185" y="131"/>
                </a:lnTo>
                <a:lnTo>
                  <a:pt x="185" y="131"/>
                </a:lnTo>
                <a:lnTo>
                  <a:pt x="183" y="134"/>
                </a:lnTo>
                <a:lnTo>
                  <a:pt x="182" y="135"/>
                </a:lnTo>
                <a:lnTo>
                  <a:pt x="173" y="138"/>
                </a:lnTo>
                <a:lnTo>
                  <a:pt x="166" y="141"/>
                </a:lnTo>
                <a:lnTo>
                  <a:pt x="163" y="144"/>
                </a:lnTo>
                <a:lnTo>
                  <a:pt x="163" y="144"/>
                </a:lnTo>
                <a:lnTo>
                  <a:pt x="165" y="145"/>
                </a:lnTo>
                <a:lnTo>
                  <a:pt x="171" y="147"/>
                </a:lnTo>
                <a:lnTo>
                  <a:pt x="179" y="151"/>
                </a:lnTo>
                <a:lnTo>
                  <a:pt x="179" y="151"/>
                </a:lnTo>
                <a:lnTo>
                  <a:pt x="180" y="154"/>
                </a:lnTo>
                <a:lnTo>
                  <a:pt x="180" y="157"/>
                </a:lnTo>
                <a:lnTo>
                  <a:pt x="179" y="161"/>
                </a:lnTo>
                <a:lnTo>
                  <a:pt x="180" y="164"/>
                </a:lnTo>
                <a:lnTo>
                  <a:pt x="180" y="164"/>
                </a:lnTo>
                <a:lnTo>
                  <a:pt x="182" y="164"/>
                </a:lnTo>
                <a:lnTo>
                  <a:pt x="185" y="164"/>
                </a:lnTo>
                <a:lnTo>
                  <a:pt x="193" y="160"/>
                </a:lnTo>
                <a:lnTo>
                  <a:pt x="193" y="160"/>
                </a:lnTo>
                <a:lnTo>
                  <a:pt x="196" y="158"/>
                </a:lnTo>
                <a:lnTo>
                  <a:pt x="200" y="157"/>
                </a:lnTo>
                <a:lnTo>
                  <a:pt x="205" y="155"/>
                </a:lnTo>
                <a:lnTo>
                  <a:pt x="209" y="154"/>
                </a:lnTo>
                <a:lnTo>
                  <a:pt x="209" y="154"/>
                </a:lnTo>
                <a:lnTo>
                  <a:pt x="215" y="151"/>
                </a:lnTo>
                <a:lnTo>
                  <a:pt x="220" y="151"/>
                </a:lnTo>
                <a:lnTo>
                  <a:pt x="226" y="151"/>
                </a:lnTo>
                <a:lnTo>
                  <a:pt x="230" y="151"/>
                </a:lnTo>
                <a:lnTo>
                  <a:pt x="230" y="151"/>
                </a:lnTo>
                <a:lnTo>
                  <a:pt x="230" y="148"/>
                </a:lnTo>
                <a:lnTo>
                  <a:pt x="227" y="147"/>
                </a:lnTo>
                <a:lnTo>
                  <a:pt x="222" y="147"/>
                </a:lnTo>
                <a:lnTo>
                  <a:pt x="213" y="147"/>
                </a:lnTo>
                <a:lnTo>
                  <a:pt x="213" y="147"/>
                </a:lnTo>
                <a:lnTo>
                  <a:pt x="209" y="145"/>
                </a:lnTo>
                <a:lnTo>
                  <a:pt x="206" y="145"/>
                </a:lnTo>
                <a:lnTo>
                  <a:pt x="205" y="143"/>
                </a:lnTo>
                <a:lnTo>
                  <a:pt x="203" y="141"/>
                </a:lnTo>
                <a:lnTo>
                  <a:pt x="200" y="137"/>
                </a:lnTo>
                <a:lnTo>
                  <a:pt x="200" y="133"/>
                </a:lnTo>
                <a:lnTo>
                  <a:pt x="200" y="133"/>
                </a:lnTo>
                <a:lnTo>
                  <a:pt x="203" y="130"/>
                </a:lnTo>
                <a:lnTo>
                  <a:pt x="207" y="126"/>
                </a:lnTo>
                <a:lnTo>
                  <a:pt x="215" y="123"/>
                </a:lnTo>
                <a:lnTo>
                  <a:pt x="220" y="120"/>
                </a:lnTo>
                <a:lnTo>
                  <a:pt x="220" y="120"/>
                </a:lnTo>
                <a:lnTo>
                  <a:pt x="232" y="118"/>
                </a:lnTo>
                <a:lnTo>
                  <a:pt x="242" y="114"/>
                </a:lnTo>
                <a:lnTo>
                  <a:pt x="242" y="114"/>
                </a:lnTo>
                <a:lnTo>
                  <a:pt x="254" y="111"/>
                </a:lnTo>
                <a:lnTo>
                  <a:pt x="254" y="111"/>
                </a:lnTo>
                <a:lnTo>
                  <a:pt x="253" y="106"/>
                </a:lnTo>
                <a:lnTo>
                  <a:pt x="253" y="104"/>
                </a:lnTo>
                <a:lnTo>
                  <a:pt x="254" y="103"/>
                </a:lnTo>
                <a:lnTo>
                  <a:pt x="254" y="103"/>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82" name="Freeform 269">
            <a:extLst>
              <a:ext uri="{FF2B5EF4-FFF2-40B4-BE49-F238E27FC236}">
                <a16:creationId xmlns:a16="http://schemas.microsoft.com/office/drawing/2014/main" id="{2F37E0C6-9F60-F76F-FC6B-810485AAFAB7}"/>
              </a:ext>
            </a:extLst>
          </p:cNvPr>
          <p:cNvSpPr>
            <a:spLocks/>
          </p:cNvSpPr>
          <p:nvPr userDrawn="1"/>
        </p:nvSpPr>
        <p:spPr bwMode="gray">
          <a:xfrm>
            <a:off x="4832101" y="2019430"/>
            <a:ext cx="193776" cy="139155"/>
          </a:xfrm>
          <a:custGeom>
            <a:avLst/>
            <a:gdLst/>
            <a:ahLst/>
            <a:cxnLst>
              <a:cxn ang="0">
                <a:pos x="138" y="51"/>
              </a:cxn>
              <a:cxn ang="0">
                <a:pos x="131" y="44"/>
              </a:cxn>
              <a:cxn ang="0">
                <a:pos x="128" y="40"/>
              </a:cxn>
              <a:cxn ang="0">
                <a:pos x="124" y="34"/>
              </a:cxn>
              <a:cxn ang="0">
                <a:pos x="122" y="23"/>
              </a:cxn>
              <a:cxn ang="0">
                <a:pos x="122" y="13"/>
              </a:cxn>
              <a:cxn ang="0">
                <a:pos x="114" y="9"/>
              </a:cxn>
              <a:cxn ang="0">
                <a:pos x="105" y="7"/>
              </a:cxn>
              <a:cxn ang="0">
                <a:pos x="97" y="7"/>
              </a:cxn>
              <a:cxn ang="0">
                <a:pos x="91" y="3"/>
              </a:cxn>
              <a:cxn ang="0">
                <a:pos x="87" y="4"/>
              </a:cxn>
              <a:cxn ang="0">
                <a:pos x="81" y="1"/>
              </a:cxn>
              <a:cxn ang="0">
                <a:pos x="75" y="1"/>
              </a:cxn>
              <a:cxn ang="0">
                <a:pos x="71" y="7"/>
              </a:cxn>
              <a:cxn ang="0">
                <a:pos x="62" y="7"/>
              </a:cxn>
              <a:cxn ang="0">
                <a:pos x="58" y="9"/>
              </a:cxn>
              <a:cxn ang="0">
                <a:pos x="54" y="17"/>
              </a:cxn>
              <a:cxn ang="0">
                <a:pos x="51" y="24"/>
              </a:cxn>
              <a:cxn ang="0">
                <a:pos x="48" y="26"/>
              </a:cxn>
              <a:cxn ang="0">
                <a:pos x="47" y="28"/>
              </a:cxn>
              <a:cxn ang="0">
                <a:pos x="38" y="36"/>
              </a:cxn>
              <a:cxn ang="0">
                <a:pos x="35" y="43"/>
              </a:cxn>
              <a:cxn ang="0">
                <a:pos x="27" y="46"/>
              </a:cxn>
              <a:cxn ang="0">
                <a:pos x="23" y="50"/>
              </a:cxn>
              <a:cxn ang="0">
                <a:pos x="17" y="50"/>
              </a:cxn>
              <a:cxn ang="0">
                <a:pos x="6" y="51"/>
              </a:cxn>
              <a:cxn ang="0">
                <a:pos x="6" y="58"/>
              </a:cxn>
              <a:cxn ang="0">
                <a:pos x="8" y="63"/>
              </a:cxn>
              <a:cxn ang="0">
                <a:pos x="10" y="74"/>
              </a:cxn>
              <a:cxn ang="0">
                <a:pos x="3" y="81"/>
              </a:cxn>
              <a:cxn ang="0">
                <a:pos x="0" y="85"/>
              </a:cxn>
              <a:cxn ang="0">
                <a:pos x="4" y="91"/>
              </a:cxn>
              <a:cxn ang="0">
                <a:pos x="4" y="102"/>
              </a:cxn>
              <a:cxn ang="0">
                <a:pos x="11" y="101"/>
              </a:cxn>
              <a:cxn ang="0">
                <a:pos x="17" y="95"/>
              </a:cxn>
              <a:cxn ang="0">
                <a:pos x="24" y="94"/>
              </a:cxn>
              <a:cxn ang="0">
                <a:pos x="51" y="97"/>
              </a:cxn>
              <a:cxn ang="0">
                <a:pos x="58" y="98"/>
              </a:cxn>
              <a:cxn ang="0">
                <a:pos x="65" y="100"/>
              </a:cxn>
              <a:cxn ang="0">
                <a:pos x="77" y="101"/>
              </a:cxn>
              <a:cxn ang="0">
                <a:pos x="81" y="101"/>
              </a:cxn>
              <a:cxn ang="0">
                <a:pos x="87" y="102"/>
              </a:cxn>
              <a:cxn ang="0">
                <a:pos x="95" y="105"/>
              </a:cxn>
              <a:cxn ang="0">
                <a:pos x="105" y="104"/>
              </a:cxn>
              <a:cxn ang="0">
                <a:pos x="112" y="107"/>
              </a:cxn>
              <a:cxn ang="0">
                <a:pos x="115" y="101"/>
              </a:cxn>
              <a:cxn ang="0">
                <a:pos x="119" y="94"/>
              </a:cxn>
              <a:cxn ang="0">
                <a:pos x="128" y="90"/>
              </a:cxn>
              <a:cxn ang="0">
                <a:pos x="132" y="81"/>
              </a:cxn>
              <a:cxn ang="0">
                <a:pos x="129" y="70"/>
              </a:cxn>
              <a:cxn ang="0">
                <a:pos x="132" y="67"/>
              </a:cxn>
              <a:cxn ang="0">
                <a:pos x="141" y="68"/>
              </a:cxn>
              <a:cxn ang="0">
                <a:pos x="149" y="64"/>
              </a:cxn>
              <a:cxn ang="0">
                <a:pos x="148" y="58"/>
              </a:cxn>
              <a:cxn ang="0">
                <a:pos x="141" y="53"/>
              </a:cxn>
            </a:cxnLst>
            <a:rect l="0" t="0" r="r" b="b"/>
            <a:pathLst>
              <a:path w="149" h="107">
                <a:moveTo>
                  <a:pt x="141" y="53"/>
                </a:moveTo>
                <a:lnTo>
                  <a:pt x="141" y="53"/>
                </a:lnTo>
                <a:lnTo>
                  <a:pt x="138" y="51"/>
                </a:lnTo>
                <a:lnTo>
                  <a:pt x="136" y="48"/>
                </a:lnTo>
                <a:lnTo>
                  <a:pt x="134" y="46"/>
                </a:lnTo>
                <a:lnTo>
                  <a:pt x="131" y="44"/>
                </a:lnTo>
                <a:lnTo>
                  <a:pt x="131" y="44"/>
                </a:lnTo>
                <a:lnTo>
                  <a:pt x="129" y="43"/>
                </a:lnTo>
                <a:lnTo>
                  <a:pt x="128" y="40"/>
                </a:lnTo>
                <a:lnTo>
                  <a:pt x="126" y="37"/>
                </a:lnTo>
                <a:lnTo>
                  <a:pt x="124" y="34"/>
                </a:lnTo>
                <a:lnTo>
                  <a:pt x="124" y="34"/>
                </a:lnTo>
                <a:lnTo>
                  <a:pt x="122" y="31"/>
                </a:lnTo>
                <a:lnTo>
                  <a:pt x="122" y="28"/>
                </a:lnTo>
                <a:lnTo>
                  <a:pt x="122" y="23"/>
                </a:lnTo>
                <a:lnTo>
                  <a:pt x="122" y="23"/>
                </a:lnTo>
                <a:lnTo>
                  <a:pt x="122" y="16"/>
                </a:lnTo>
                <a:lnTo>
                  <a:pt x="122" y="13"/>
                </a:lnTo>
                <a:lnTo>
                  <a:pt x="121" y="11"/>
                </a:lnTo>
                <a:lnTo>
                  <a:pt x="121" y="11"/>
                </a:lnTo>
                <a:lnTo>
                  <a:pt x="114" y="9"/>
                </a:lnTo>
                <a:lnTo>
                  <a:pt x="109" y="7"/>
                </a:lnTo>
                <a:lnTo>
                  <a:pt x="105" y="7"/>
                </a:lnTo>
                <a:lnTo>
                  <a:pt x="105" y="7"/>
                </a:lnTo>
                <a:lnTo>
                  <a:pt x="101" y="9"/>
                </a:lnTo>
                <a:lnTo>
                  <a:pt x="98" y="9"/>
                </a:lnTo>
                <a:lnTo>
                  <a:pt x="97" y="7"/>
                </a:lnTo>
                <a:lnTo>
                  <a:pt x="97" y="7"/>
                </a:lnTo>
                <a:lnTo>
                  <a:pt x="94" y="4"/>
                </a:lnTo>
                <a:lnTo>
                  <a:pt x="91" y="3"/>
                </a:lnTo>
                <a:lnTo>
                  <a:pt x="89" y="3"/>
                </a:lnTo>
                <a:lnTo>
                  <a:pt x="89" y="3"/>
                </a:lnTo>
                <a:lnTo>
                  <a:pt x="87" y="4"/>
                </a:lnTo>
                <a:lnTo>
                  <a:pt x="84" y="3"/>
                </a:lnTo>
                <a:lnTo>
                  <a:pt x="81" y="1"/>
                </a:lnTo>
                <a:lnTo>
                  <a:pt x="81" y="1"/>
                </a:lnTo>
                <a:lnTo>
                  <a:pt x="80" y="0"/>
                </a:lnTo>
                <a:lnTo>
                  <a:pt x="80" y="0"/>
                </a:lnTo>
                <a:lnTo>
                  <a:pt x="75" y="1"/>
                </a:lnTo>
                <a:lnTo>
                  <a:pt x="75" y="1"/>
                </a:lnTo>
                <a:lnTo>
                  <a:pt x="72" y="6"/>
                </a:lnTo>
                <a:lnTo>
                  <a:pt x="71" y="7"/>
                </a:lnTo>
                <a:lnTo>
                  <a:pt x="68" y="7"/>
                </a:lnTo>
                <a:lnTo>
                  <a:pt x="68" y="7"/>
                </a:lnTo>
                <a:lnTo>
                  <a:pt x="62" y="7"/>
                </a:lnTo>
                <a:lnTo>
                  <a:pt x="61" y="7"/>
                </a:lnTo>
                <a:lnTo>
                  <a:pt x="58" y="9"/>
                </a:lnTo>
                <a:lnTo>
                  <a:pt x="58" y="9"/>
                </a:lnTo>
                <a:lnTo>
                  <a:pt x="54" y="13"/>
                </a:lnTo>
                <a:lnTo>
                  <a:pt x="54" y="17"/>
                </a:lnTo>
                <a:lnTo>
                  <a:pt x="54" y="17"/>
                </a:lnTo>
                <a:lnTo>
                  <a:pt x="54" y="21"/>
                </a:lnTo>
                <a:lnTo>
                  <a:pt x="53" y="23"/>
                </a:lnTo>
                <a:lnTo>
                  <a:pt x="51" y="24"/>
                </a:lnTo>
                <a:lnTo>
                  <a:pt x="51" y="24"/>
                </a:lnTo>
                <a:lnTo>
                  <a:pt x="50" y="24"/>
                </a:lnTo>
                <a:lnTo>
                  <a:pt x="48" y="26"/>
                </a:lnTo>
                <a:lnTo>
                  <a:pt x="48" y="27"/>
                </a:lnTo>
                <a:lnTo>
                  <a:pt x="47" y="28"/>
                </a:lnTo>
                <a:lnTo>
                  <a:pt x="47" y="28"/>
                </a:lnTo>
                <a:lnTo>
                  <a:pt x="41" y="31"/>
                </a:lnTo>
                <a:lnTo>
                  <a:pt x="38" y="36"/>
                </a:lnTo>
                <a:lnTo>
                  <a:pt x="38" y="36"/>
                </a:lnTo>
                <a:lnTo>
                  <a:pt x="37" y="40"/>
                </a:lnTo>
                <a:lnTo>
                  <a:pt x="37" y="43"/>
                </a:lnTo>
                <a:lnTo>
                  <a:pt x="35" y="43"/>
                </a:lnTo>
                <a:lnTo>
                  <a:pt x="35" y="43"/>
                </a:lnTo>
                <a:lnTo>
                  <a:pt x="31" y="44"/>
                </a:lnTo>
                <a:lnTo>
                  <a:pt x="27" y="46"/>
                </a:lnTo>
                <a:lnTo>
                  <a:pt x="25" y="47"/>
                </a:lnTo>
                <a:lnTo>
                  <a:pt x="25" y="47"/>
                </a:lnTo>
                <a:lnTo>
                  <a:pt x="23" y="50"/>
                </a:lnTo>
                <a:lnTo>
                  <a:pt x="20" y="50"/>
                </a:lnTo>
                <a:lnTo>
                  <a:pt x="17" y="50"/>
                </a:lnTo>
                <a:lnTo>
                  <a:pt x="17" y="50"/>
                </a:lnTo>
                <a:lnTo>
                  <a:pt x="6" y="50"/>
                </a:lnTo>
                <a:lnTo>
                  <a:pt x="6" y="50"/>
                </a:lnTo>
                <a:lnTo>
                  <a:pt x="6" y="51"/>
                </a:lnTo>
                <a:lnTo>
                  <a:pt x="6" y="51"/>
                </a:lnTo>
                <a:lnTo>
                  <a:pt x="4" y="54"/>
                </a:lnTo>
                <a:lnTo>
                  <a:pt x="6" y="58"/>
                </a:lnTo>
                <a:lnTo>
                  <a:pt x="6" y="61"/>
                </a:lnTo>
                <a:lnTo>
                  <a:pt x="8" y="63"/>
                </a:lnTo>
                <a:lnTo>
                  <a:pt x="8" y="63"/>
                </a:lnTo>
                <a:lnTo>
                  <a:pt x="10" y="65"/>
                </a:lnTo>
                <a:lnTo>
                  <a:pt x="10" y="70"/>
                </a:lnTo>
                <a:lnTo>
                  <a:pt x="10" y="74"/>
                </a:lnTo>
                <a:lnTo>
                  <a:pt x="8" y="77"/>
                </a:lnTo>
                <a:lnTo>
                  <a:pt x="8" y="77"/>
                </a:lnTo>
                <a:lnTo>
                  <a:pt x="3" y="81"/>
                </a:lnTo>
                <a:lnTo>
                  <a:pt x="0" y="82"/>
                </a:lnTo>
                <a:lnTo>
                  <a:pt x="0" y="85"/>
                </a:lnTo>
                <a:lnTo>
                  <a:pt x="0" y="85"/>
                </a:lnTo>
                <a:lnTo>
                  <a:pt x="0" y="87"/>
                </a:lnTo>
                <a:lnTo>
                  <a:pt x="3" y="88"/>
                </a:lnTo>
                <a:lnTo>
                  <a:pt x="4" y="91"/>
                </a:lnTo>
                <a:lnTo>
                  <a:pt x="4" y="92"/>
                </a:lnTo>
                <a:lnTo>
                  <a:pt x="4" y="92"/>
                </a:lnTo>
                <a:lnTo>
                  <a:pt x="4" y="102"/>
                </a:lnTo>
                <a:lnTo>
                  <a:pt x="4" y="102"/>
                </a:lnTo>
                <a:lnTo>
                  <a:pt x="8" y="102"/>
                </a:lnTo>
                <a:lnTo>
                  <a:pt x="11" y="101"/>
                </a:lnTo>
                <a:lnTo>
                  <a:pt x="13" y="100"/>
                </a:lnTo>
                <a:lnTo>
                  <a:pt x="13" y="100"/>
                </a:lnTo>
                <a:lnTo>
                  <a:pt x="17" y="95"/>
                </a:lnTo>
                <a:lnTo>
                  <a:pt x="20" y="94"/>
                </a:lnTo>
                <a:lnTo>
                  <a:pt x="24" y="94"/>
                </a:lnTo>
                <a:lnTo>
                  <a:pt x="24" y="94"/>
                </a:lnTo>
                <a:lnTo>
                  <a:pt x="38" y="94"/>
                </a:lnTo>
                <a:lnTo>
                  <a:pt x="47" y="95"/>
                </a:lnTo>
                <a:lnTo>
                  <a:pt x="51" y="97"/>
                </a:lnTo>
                <a:lnTo>
                  <a:pt x="51" y="97"/>
                </a:lnTo>
                <a:lnTo>
                  <a:pt x="54" y="98"/>
                </a:lnTo>
                <a:lnTo>
                  <a:pt x="58" y="98"/>
                </a:lnTo>
                <a:lnTo>
                  <a:pt x="62" y="98"/>
                </a:lnTo>
                <a:lnTo>
                  <a:pt x="65" y="100"/>
                </a:lnTo>
                <a:lnTo>
                  <a:pt x="65" y="100"/>
                </a:lnTo>
                <a:lnTo>
                  <a:pt x="72" y="102"/>
                </a:lnTo>
                <a:lnTo>
                  <a:pt x="75" y="102"/>
                </a:lnTo>
                <a:lnTo>
                  <a:pt x="77" y="101"/>
                </a:lnTo>
                <a:lnTo>
                  <a:pt x="77" y="101"/>
                </a:lnTo>
                <a:lnTo>
                  <a:pt x="78" y="101"/>
                </a:lnTo>
                <a:lnTo>
                  <a:pt x="81" y="101"/>
                </a:lnTo>
                <a:lnTo>
                  <a:pt x="84" y="102"/>
                </a:lnTo>
                <a:lnTo>
                  <a:pt x="87" y="102"/>
                </a:lnTo>
                <a:lnTo>
                  <a:pt x="87" y="102"/>
                </a:lnTo>
                <a:lnTo>
                  <a:pt x="89" y="101"/>
                </a:lnTo>
                <a:lnTo>
                  <a:pt x="92" y="102"/>
                </a:lnTo>
                <a:lnTo>
                  <a:pt x="95" y="105"/>
                </a:lnTo>
                <a:lnTo>
                  <a:pt x="98" y="105"/>
                </a:lnTo>
                <a:lnTo>
                  <a:pt x="98" y="105"/>
                </a:lnTo>
                <a:lnTo>
                  <a:pt x="105" y="104"/>
                </a:lnTo>
                <a:lnTo>
                  <a:pt x="109" y="105"/>
                </a:lnTo>
                <a:lnTo>
                  <a:pt x="112" y="107"/>
                </a:lnTo>
                <a:lnTo>
                  <a:pt x="112" y="107"/>
                </a:lnTo>
                <a:lnTo>
                  <a:pt x="114" y="107"/>
                </a:lnTo>
                <a:lnTo>
                  <a:pt x="114" y="105"/>
                </a:lnTo>
                <a:lnTo>
                  <a:pt x="115" y="101"/>
                </a:lnTo>
                <a:lnTo>
                  <a:pt x="115" y="101"/>
                </a:lnTo>
                <a:lnTo>
                  <a:pt x="117" y="98"/>
                </a:lnTo>
                <a:lnTo>
                  <a:pt x="119" y="94"/>
                </a:lnTo>
                <a:lnTo>
                  <a:pt x="125" y="91"/>
                </a:lnTo>
                <a:lnTo>
                  <a:pt x="125" y="91"/>
                </a:lnTo>
                <a:lnTo>
                  <a:pt x="128" y="90"/>
                </a:lnTo>
                <a:lnTo>
                  <a:pt x="135" y="88"/>
                </a:lnTo>
                <a:lnTo>
                  <a:pt x="135" y="88"/>
                </a:lnTo>
                <a:lnTo>
                  <a:pt x="132" y="81"/>
                </a:lnTo>
                <a:lnTo>
                  <a:pt x="132" y="81"/>
                </a:lnTo>
                <a:lnTo>
                  <a:pt x="129" y="73"/>
                </a:lnTo>
                <a:lnTo>
                  <a:pt x="129" y="70"/>
                </a:lnTo>
                <a:lnTo>
                  <a:pt x="129" y="67"/>
                </a:lnTo>
                <a:lnTo>
                  <a:pt x="129" y="67"/>
                </a:lnTo>
                <a:lnTo>
                  <a:pt x="132" y="67"/>
                </a:lnTo>
                <a:lnTo>
                  <a:pt x="135" y="67"/>
                </a:lnTo>
                <a:lnTo>
                  <a:pt x="138" y="68"/>
                </a:lnTo>
                <a:lnTo>
                  <a:pt x="141" y="68"/>
                </a:lnTo>
                <a:lnTo>
                  <a:pt x="141" y="68"/>
                </a:lnTo>
                <a:lnTo>
                  <a:pt x="146" y="65"/>
                </a:lnTo>
                <a:lnTo>
                  <a:pt x="149" y="64"/>
                </a:lnTo>
                <a:lnTo>
                  <a:pt x="149" y="61"/>
                </a:lnTo>
                <a:lnTo>
                  <a:pt x="149" y="61"/>
                </a:lnTo>
                <a:lnTo>
                  <a:pt x="148" y="58"/>
                </a:lnTo>
                <a:lnTo>
                  <a:pt x="146" y="55"/>
                </a:lnTo>
                <a:lnTo>
                  <a:pt x="141" y="53"/>
                </a:lnTo>
                <a:lnTo>
                  <a:pt x="141" y="53"/>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83" name="Freeform 270">
            <a:extLst>
              <a:ext uri="{FF2B5EF4-FFF2-40B4-BE49-F238E27FC236}">
                <a16:creationId xmlns:a16="http://schemas.microsoft.com/office/drawing/2014/main" id="{76035452-142E-4F2A-23F7-A1FEFB75C023}"/>
              </a:ext>
            </a:extLst>
          </p:cNvPr>
          <p:cNvSpPr>
            <a:spLocks/>
          </p:cNvSpPr>
          <p:nvPr userDrawn="1"/>
        </p:nvSpPr>
        <p:spPr bwMode="gray">
          <a:xfrm>
            <a:off x="4783982" y="1963509"/>
            <a:ext cx="152160" cy="72828"/>
          </a:xfrm>
          <a:custGeom>
            <a:avLst/>
            <a:gdLst/>
            <a:ahLst/>
            <a:cxnLst>
              <a:cxn ang="0">
                <a:pos x="38" y="39"/>
              </a:cxn>
              <a:cxn ang="0">
                <a:pos x="54" y="39"/>
              </a:cxn>
              <a:cxn ang="0">
                <a:pos x="58" y="39"/>
              </a:cxn>
              <a:cxn ang="0">
                <a:pos x="64" y="40"/>
              </a:cxn>
              <a:cxn ang="0">
                <a:pos x="68" y="42"/>
              </a:cxn>
              <a:cxn ang="0">
                <a:pos x="71" y="43"/>
              </a:cxn>
              <a:cxn ang="0">
                <a:pos x="84" y="50"/>
              </a:cxn>
              <a:cxn ang="0">
                <a:pos x="91" y="56"/>
              </a:cxn>
              <a:cxn ang="0">
                <a:pos x="95" y="52"/>
              </a:cxn>
              <a:cxn ang="0">
                <a:pos x="98" y="50"/>
              </a:cxn>
              <a:cxn ang="0">
                <a:pos x="105" y="50"/>
              </a:cxn>
              <a:cxn ang="0">
                <a:pos x="108" y="50"/>
              </a:cxn>
              <a:cxn ang="0">
                <a:pos x="112" y="44"/>
              </a:cxn>
              <a:cxn ang="0">
                <a:pos x="117" y="43"/>
              </a:cxn>
              <a:cxn ang="0">
                <a:pos x="115" y="37"/>
              </a:cxn>
              <a:cxn ang="0">
                <a:pos x="114" y="33"/>
              </a:cxn>
              <a:cxn ang="0">
                <a:pos x="108" y="26"/>
              </a:cxn>
              <a:cxn ang="0">
                <a:pos x="108" y="23"/>
              </a:cxn>
              <a:cxn ang="0">
                <a:pos x="108" y="17"/>
              </a:cxn>
              <a:cxn ang="0">
                <a:pos x="107" y="15"/>
              </a:cxn>
              <a:cxn ang="0">
                <a:pos x="104" y="10"/>
              </a:cxn>
              <a:cxn ang="0">
                <a:pos x="88" y="10"/>
              </a:cxn>
              <a:cxn ang="0">
                <a:pos x="85" y="9"/>
              </a:cxn>
              <a:cxn ang="0">
                <a:pos x="72" y="0"/>
              </a:cxn>
              <a:cxn ang="0">
                <a:pos x="65" y="0"/>
              </a:cxn>
              <a:cxn ang="0">
                <a:pos x="55" y="0"/>
              </a:cxn>
              <a:cxn ang="0">
                <a:pos x="53" y="7"/>
              </a:cxn>
              <a:cxn ang="0">
                <a:pos x="54" y="16"/>
              </a:cxn>
              <a:cxn ang="0">
                <a:pos x="53" y="20"/>
              </a:cxn>
              <a:cxn ang="0">
                <a:pos x="41" y="23"/>
              </a:cxn>
              <a:cxn ang="0">
                <a:pos x="37" y="20"/>
              </a:cxn>
              <a:cxn ang="0">
                <a:pos x="27" y="6"/>
              </a:cxn>
              <a:cxn ang="0">
                <a:pos x="25" y="5"/>
              </a:cxn>
              <a:cxn ang="0">
                <a:pos x="20" y="7"/>
              </a:cxn>
              <a:cxn ang="0">
                <a:pos x="11" y="13"/>
              </a:cxn>
              <a:cxn ang="0">
                <a:pos x="7" y="19"/>
              </a:cxn>
              <a:cxn ang="0">
                <a:pos x="4" y="26"/>
              </a:cxn>
              <a:cxn ang="0">
                <a:pos x="1" y="29"/>
              </a:cxn>
              <a:cxn ang="0">
                <a:pos x="0" y="36"/>
              </a:cxn>
              <a:cxn ang="0">
                <a:pos x="3" y="42"/>
              </a:cxn>
              <a:cxn ang="0">
                <a:pos x="3" y="42"/>
              </a:cxn>
              <a:cxn ang="0">
                <a:pos x="16" y="39"/>
              </a:cxn>
              <a:cxn ang="0">
                <a:pos x="20" y="37"/>
              </a:cxn>
              <a:cxn ang="0">
                <a:pos x="38" y="39"/>
              </a:cxn>
            </a:cxnLst>
            <a:rect l="0" t="0" r="r" b="b"/>
            <a:pathLst>
              <a:path w="117" h="56">
                <a:moveTo>
                  <a:pt x="38" y="39"/>
                </a:moveTo>
                <a:lnTo>
                  <a:pt x="38" y="39"/>
                </a:lnTo>
                <a:lnTo>
                  <a:pt x="48" y="39"/>
                </a:lnTo>
                <a:lnTo>
                  <a:pt x="54" y="39"/>
                </a:lnTo>
                <a:lnTo>
                  <a:pt x="58" y="39"/>
                </a:lnTo>
                <a:lnTo>
                  <a:pt x="58" y="39"/>
                </a:lnTo>
                <a:lnTo>
                  <a:pt x="62" y="39"/>
                </a:lnTo>
                <a:lnTo>
                  <a:pt x="64" y="40"/>
                </a:lnTo>
                <a:lnTo>
                  <a:pt x="65" y="42"/>
                </a:lnTo>
                <a:lnTo>
                  <a:pt x="68" y="42"/>
                </a:lnTo>
                <a:lnTo>
                  <a:pt x="68" y="42"/>
                </a:lnTo>
                <a:lnTo>
                  <a:pt x="71" y="43"/>
                </a:lnTo>
                <a:lnTo>
                  <a:pt x="75" y="44"/>
                </a:lnTo>
                <a:lnTo>
                  <a:pt x="84" y="50"/>
                </a:lnTo>
                <a:lnTo>
                  <a:pt x="84" y="50"/>
                </a:lnTo>
                <a:lnTo>
                  <a:pt x="91" y="56"/>
                </a:lnTo>
                <a:lnTo>
                  <a:pt x="91" y="56"/>
                </a:lnTo>
                <a:lnTo>
                  <a:pt x="95" y="52"/>
                </a:lnTo>
                <a:lnTo>
                  <a:pt x="95" y="52"/>
                </a:lnTo>
                <a:lnTo>
                  <a:pt x="98" y="50"/>
                </a:lnTo>
                <a:lnTo>
                  <a:pt x="99" y="50"/>
                </a:lnTo>
                <a:lnTo>
                  <a:pt x="105" y="50"/>
                </a:lnTo>
                <a:lnTo>
                  <a:pt x="105" y="50"/>
                </a:lnTo>
                <a:lnTo>
                  <a:pt x="108" y="50"/>
                </a:lnTo>
                <a:lnTo>
                  <a:pt x="109" y="49"/>
                </a:lnTo>
                <a:lnTo>
                  <a:pt x="112" y="44"/>
                </a:lnTo>
                <a:lnTo>
                  <a:pt x="112" y="44"/>
                </a:lnTo>
                <a:lnTo>
                  <a:pt x="117" y="43"/>
                </a:lnTo>
                <a:lnTo>
                  <a:pt x="117" y="43"/>
                </a:lnTo>
                <a:lnTo>
                  <a:pt x="115" y="37"/>
                </a:lnTo>
                <a:lnTo>
                  <a:pt x="114" y="33"/>
                </a:lnTo>
                <a:lnTo>
                  <a:pt x="114" y="33"/>
                </a:lnTo>
                <a:lnTo>
                  <a:pt x="109" y="29"/>
                </a:lnTo>
                <a:lnTo>
                  <a:pt x="108" y="26"/>
                </a:lnTo>
                <a:lnTo>
                  <a:pt x="108" y="23"/>
                </a:lnTo>
                <a:lnTo>
                  <a:pt x="108" y="23"/>
                </a:lnTo>
                <a:lnTo>
                  <a:pt x="109" y="19"/>
                </a:lnTo>
                <a:lnTo>
                  <a:pt x="108" y="17"/>
                </a:lnTo>
                <a:lnTo>
                  <a:pt x="107" y="15"/>
                </a:lnTo>
                <a:lnTo>
                  <a:pt x="107" y="15"/>
                </a:lnTo>
                <a:lnTo>
                  <a:pt x="104" y="10"/>
                </a:lnTo>
                <a:lnTo>
                  <a:pt x="104" y="10"/>
                </a:lnTo>
                <a:lnTo>
                  <a:pt x="94" y="10"/>
                </a:lnTo>
                <a:lnTo>
                  <a:pt x="88" y="10"/>
                </a:lnTo>
                <a:lnTo>
                  <a:pt x="88" y="10"/>
                </a:lnTo>
                <a:lnTo>
                  <a:pt x="85" y="9"/>
                </a:lnTo>
                <a:lnTo>
                  <a:pt x="80" y="6"/>
                </a:lnTo>
                <a:lnTo>
                  <a:pt x="72" y="0"/>
                </a:lnTo>
                <a:lnTo>
                  <a:pt x="72" y="0"/>
                </a:lnTo>
                <a:lnTo>
                  <a:pt x="65" y="0"/>
                </a:lnTo>
                <a:lnTo>
                  <a:pt x="55" y="0"/>
                </a:lnTo>
                <a:lnTo>
                  <a:pt x="55" y="0"/>
                </a:lnTo>
                <a:lnTo>
                  <a:pt x="53" y="5"/>
                </a:lnTo>
                <a:lnTo>
                  <a:pt x="53" y="7"/>
                </a:lnTo>
                <a:lnTo>
                  <a:pt x="54" y="16"/>
                </a:lnTo>
                <a:lnTo>
                  <a:pt x="54" y="16"/>
                </a:lnTo>
                <a:lnTo>
                  <a:pt x="53" y="19"/>
                </a:lnTo>
                <a:lnTo>
                  <a:pt x="53" y="20"/>
                </a:lnTo>
                <a:lnTo>
                  <a:pt x="48" y="22"/>
                </a:lnTo>
                <a:lnTo>
                  <a:pt x="41" y="23"/>
                </a:lnTo>
                <a:lnTo>
                  <a:pt x="41" y="23"/>
                </a:lnTo>
                <a:lnTo>
                  <a:pt x="37" y="20"/>
                </a:lnTo>
                <a:lnTo>
                  <a:pt x="33" y="16"/>
                </a:lnTo>
                <a:lnTo>
                  <a:pt x="27" y="6"/>
                </a:lnTo>
                <a:lnTo>
                  <a:pt x="27" y="6"/>
                </a:lnTo>
                <a:lnTo>
                  <a:pt x="25" y="5"/>
                </a:lnTo>
                <a:lnTo>
                  <a:pt x="24" y="5"/>
                </a:lnTo>
                <a:lnTo>
                  <a:pt x="20" y="7"/>
                </a:lnTo>
                <a:lnTo>
                  <a:pt x="11" y="13"/>
                </a:lnTo>
                <a:lnTo>
                  <a:pt x="11" y="13"/>
                </a:lnTo>
                <a:lnTo>
                  <a:pt x="8" y="16"/>
                </a:lnTo>
                <a:lnTo>
                  <a:pt x="7" y="19"/>
                </a:lnTo>
                <a:lnTo>
                  <a:pt x="6" y="23"/>
                </a:lnTo>
                <a:lnTo>
                  <a:pt x="4" y="26"/>
                </a:lnTo>
                <a:lnTo>
                  <a:pt x="4" y="26"/>
                </a:lnTo>
                <a:lnTo>
                  <a:pt x="1" y="29"/>
                </a:lnTo>
                <a:lnTo>
                  <a:pt x="0" y="32"/>
                </a:lnTo>
                <a:lnTo>
                  <a:pt x="0" y="36"/>
                </a:lnTo>
                <a:lnTo>
                  <a:pt x="3" y="42"/>
                </a:lnTo>
                <a:lnTo>
                  <a:pt x="3" y="42"/>
                </a:lnTo>
                <a:lnTo>
                  <a:pt x="3" y="42"/>
                </a:lnTo>
                <a:lnTo>
                  <a:pt x="3" y="42"/>
                </a:lnTo>
                <a:lnTo>
                  <a:pt x="10" y="40"/>
                </a:lnTo>
                <a:lnTo>
                  <a:pt x="16" y="39"/>
                </a:lnTo>
                <a:lnTo>
                  <a:pt x="16" y="39"/>
                </a:lnTo>
                <a:lnTo>
                  <a:pt x="20" y="37"/>
                </a:lnTo>
                <a:lnTo>
                  <a:pt x="27" y="37"/>
                </a:lnTo>
                <a:lnTo>
                  <a:pt x="38" y="39"/>
                </a:lnTo>
                <a:lnTo>
                  <a:pt x="38" y="39"/>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84" name="Freeform 271">
            <a:extLst>
              <a:ext uri="{FF2B5EF4-FFF2-40B4-BE49-F238E27FC236}">
                <a16:creationId xmlns:a16="http://schemas.microsoft.com/office/drawing/2014/main" id="{D1E473A1-D491-DEF2-80C0-948D3F674360}"/>
              </a:ext>
            </a:extLst>
          </p:cNvPr>
          <p:cNvSpPr>
            <a:spLocks/>
          </p:cNvSpPr>
          <p:nvPr userDrawn="1"/>
        </p:nvSpPr>
        <p:spPr bwMode="gray">
          <a:xfrm>
            <a:off x="4783982" y="2011627"/>
            <a:ext cx="118347" cy="72828"/>
          </a:xfrm>
          <a:custGeom>
            <a:avLst/>
            <a:gdLst/>
            <a:ahLst/>
            <a:cxnLst>
              <a:cxn ang="0">
                <a:pos x="11" y="27"/>
              </a:cxn>
              <a:cxn ang="0">
                <a:pos x="18" y="32"/>
              </a:cxn>
              <a:cxn ang="0">
                <a:pos x="21" y="32"/>
              </a:cxn>
              <a:cxn ang="0">
                <a:pos x="27" y="33"/>
              </a:cxn>
              <a:cxn ang="0">
                <a:pos x="30" y="36"/>
              </a:cxn>
              <a:cxn ang="0">
                <a:pos x="30" y="43"/>
              </a:cxn>
              <a:cxn ang="0">
                <a:pos x="30" y="47"/>
              </a:cxn>
              <a:cxn ang="0">
                <a:pos x="37" y="50"/>
              </a:cxn>
              <a:cxn ang="0">
                <a:pos x="43" y="56"/>
              </a:cxn>
              <a:cxn ang="0">
                <a:pos x="54" y="56"/>
              </a:cxn>
              <a:cxn ang="0">
                <a:pos x="57" y="56"/>
              </a:cxn>
              <a:cxn ang="0">
                <a:pos x="62" y="53"/>
              </a:cxn>
              <a:cxn ang="0">
                <a:pos x="64" y="52"/>
              </a:cxn>
              <a:cxn ang="0">
                <a:pos x="72" y="49"/>
              </a:cxn>
              <a:cxn ang="0">
                <a:pos x="74" y="49"/>
              </a:cxn>
              <a:cxn ang="0">
                <a:pos x="75" y="42"/>
              </a:cxn>
              <a:cxn ang="0">
                <a:pos x="78" y="37"/>
              </a:cxn>
              <a:cxn ang="0">
                <a:pos x="84" y="34"/>
              </a:cxn>
              <a:cxn ang="0">
                <a:pos x="85" y="32"/>
              </a:cxn>
              <a:cxn ang="0">
                <a:pos x="88" y="30"/>
              </a:cxn>
              <a:cxn ang="0">
                <a:pos x="90" y="29"/>
              </a:cxn>
              <a:cxn ang="0">
                <a:pos x="91" y="23"/>
              </a:cxn>
              <a:cxn ang="0">
                <a:pos x="91" y="22"/>
              </a:cxn>
              <a:cxn ang="0">
                <a:pos x="91" y="19"/>
              </a:cxn>
              <a:cxn ang="0">
                <a:pos x="84" y="13"/>
              </a:cxn>
              <a:cxn ang="0">
                <a:pos x="71" y="6"/>
              </a:cxn>
              <a:cxn ang="0">
                <a:pos x="68" y="5"/>
              </a:cxn>
              <a:cxn ang="0">
                <a:pos x="64" y="3"/>
              </a:cxn>
              <a:cxn ang="0">
                <a:pos x="58" y="2"/>
              </a:cxn>
              <a:cxn ang="0">
                <a:pos x="54" y="2"/>
              </a:cxn>
              <a:cxn ang="0">
                <a:pos x="38" y="2"/>
              </a:cxn>
              <a:cxn ang="0">
                <a:pos x="27" y="0"/>
              </a:cxn>
              <a:cxn ang="0">
                <a:pos x="16" y="2"/>
              </a:cxn>
              <a:cxn ang="0">
                <a:pos x="10" y="3"/>
              </a:cxn>
              <a:cxn ang="0">
                <a:pos x="3" y="5"/>
              </a:cxn>
              <a:cxn ang="0">
                <a:pos x="4" y="15"/>
              </a:cxn>
              <a:cxn ang="0">
                <a:pos x="1" y="22"/>
              </a:cxn>
              <a:cxn ang="0">
                <a:pos x="0" y="24"/>
              </a:cxn>
              <a:cxn ang="0">
                <a:pos x="1" y="27"/>
              </a:cxn>
              <a:cxn ang="0">
                <a:pos x="7" y="26"/>
              </a:cxn>
              <a:cxn ang="0">
                <a:pos x="11" y="27"/>
              </a:cxn>
            </a:cxnLst>
            <a:rect l="0" t="0" r="r" b="b"/>
            <a:pathLst>
              <a:path w="91" h="56">
                <a:moveTo>
                  <a:pt x="11" y="27"/>
                </a:moveTo>
                <a:lnTo>
                  <a:pt x="11" y="27"/>
                </a:lnTo>
                <a:lnTo>
                  <a:pt x="16" y="30"/>
                </a:lnTo>
                <a:lnTo>
                  <a:pt x="18" y="32"/>
                </a:lnTo>
                <a:lnTo>
                  <a:pt x="21" y="32"/>
                </a:lnTo>
                <a:lnTo>
                  <a:pt x="21" y="32"/>
                </a:lnTo>
                <a:lnTo>
                  <a:pt x="23" y="32"/>
                </a:lnTo>
                <a:lnTo>
                  <a:pt x="27" y="33"/>
                </a:lnTo>
                <a:lnTo>
                  <a:pt x="28" y="34"/>
                </a:lnTo>
                <a:lnTo>
                  <a:pt x="30" y="36"/>
                </a:lnTo>
                <a:lnTo>
                  <a:pt x="30" y="36"/>
                </a:lnTo>
                <a:lnTo>
                  <a:pt x="30" y="43"/>
                </a:lnTo>
                <a:lnTo>
                  <a:pt x="30" y="46"/>
                </a:lnTo>
                <a:lnTo>
                  <a:pt x="30" y="47"/>
                </a:lnTo>
                <a:lnTo>
                  <a:pt x="30" y="47"/>
                </a:lnTo>
                <a:lnTo>
                  <a:pt x="37" y="50"/>
                </a:lnTo>
                <a:lnTo>
                  <a:pt x="40" y="53"/>
                </a:lnTo>
                <a:lnTo>
                  <a:pt x="43" y="56"/>
                </a:lnTo>
                <a:lnTo>
                  <a:pt x="43" y="56"/>
                </a:lnTo>
                <a:lnTo>
                  <a:pt x="54" y="56"/>
                </a:lnTo>
                <a:lnTo>
                  <a:pt x="54" y="56"/>
                </a:lnTo>
                <a:lnTo>
                  <a:pt x="57" y="56"/>
                </a:lnTo>
                <a:lnTo>
                  <a:pt x="60" y="56"/>
                </a:lnTo>
                <a:lnTo>
                  <a:pt x="62" y="53"/>
                </a:lnTo>
                <a:lnTo>
                  <a:pt x="62" y="53"/>
                </a:lnTo>
                <a:lnTo>
                  <a:pt x="64" y="52"/>
                </a:lnTo>
                <a:lnTo>
                  <a:pt x="68" y="50"/>
                </a:lnTo>
                <a:lnTo>
                  <a:pt x="72" y="49"/>
                </a:lnTo>
                <a:lnTo>
                  <a:pt x="72" y="49"/>
                </a:lnTo>
                <a:lnTo>
                  <a:pt x="74" y="49"/>
                </a:lnTo>
                <a:lnTo>
                  <a:pt x="74" y="46"/>
                </a:lnTo>
                <a:lnTo>
                  <a:pt x="75" y="42"/>
                </a:lnTo>
                <a:lnTo>
                  <a:pt x="75" y="42"/>
                </a:lnTo>
                <a:lnTo>
                  <a:pt x="78" y="37"/>
                </a:lnTo>
                <a:lnTo>
                  <a:pt x="84" y="34"/>
                </a:lnTo>
                <a:lnTo>
                  <a:pt x="84" y="34"/>
                </a:lnTo>
                <a:lnTo>
                  <a:pt x="85" y="33"/>
                </a:lnTo>
                <a:lnTo>
                  <a:pt x="85" y="32"/>
                </a:lnTo>
                <a:lnTo>
                  <a:pt x="87" y="30"/>
                </a:lnTo>
                <a:lnTo>
                  <a:pt x="88" y="30"/>
                </a:lnTo>
                <a:lnTo>
                  <a:pt x="88" y="30"/>
                </a:lnTo>
                <a:lnTo>
                  <a:pt x="90" y="29"/>
                </a:lnTo>
                <a:lnTo>
                  <a:pt x="91" y="27"/>
                </a:lnTo>
                <a:lnTo>
                  <a:pt x="91" y="23"/>
                </a:lnTo>
                <a:lnTo>
                  <a:pt x="91" y="23"/>
                </a:lnTo>
                <a:lnTo>
                  <a:pt x="91" y="22"/>
                </a:lnTo>
                <a:lnTo>
                  <a:pt x="91" y="19"/>
                </a:lnTo>
                <a:lnTo>
                  <a:pt x="91" y="19"/>
                </a:lnTo>
                <a:lnTo>
                  <a:pt x="84" y="13"/>
                </a:lnTo>
                <a:lnTo>
                  <a:pt x="84" y="13"/>
                </a:lnTo>
                <a:lnTo>
                  <a:pt x="75" y="7"/>
                </a:lnTo>
                <a:lnTo>
                  <a:pt x="71" y="6"/>
                </a:lnTo>
                <a:lnTo>
                  <a:pt x="68" y="5"/>
                </a:lnTo>
                <a:lnTo>
                  <a:pt x="68" y="5"/>
                </a:lnTo>
                <a:lnTo>
                  <a:pt x="65" y="5"/>
                </a:lnTo>
                <a:lnTo>
                  <a:pt x="64" y="3"/>
                </a:lnTo>
                <a:lnTo>
                  <a:pt x="62" y="2"/>
                </a:lnTo>
                <a:lnTo>
                  <a:pt x="58" y="2"/>
                </a:lnTo>
                <a:lnTo>
                  <a:pt x="58" y="2"/>
                </a:lnTo>
                <a:lnTo>
                  <a:pt x="54" y="2"/>
                </a:lnTo>
                <a:lnTo>
                  <a:pt x="48" y="2"/>
                </a:lnTo>
                <a:lnTo>
                  <a:pt x="38" y="2"/>
                </a:lnTo>
                <a:lnTo>
                  <a:pt x="38" y="2"/>
                </a:lnTo>
                <a:lnTo>
                  <a:pt x="27" y="0"/>
                </a:lnTo>
                <a:lnTo>
                  <a:pt x="20" y="0"/>
                </a:lnTo>
                <a:lnTo>
                  <a:pt x="16" y="2"/>
                </a:lnTo>
                <a:lnTo>
                  <a:pt x="16" y="2"/>
                </a:lnTo>
                <a:lnTo>
                  <a:pt x="10" y="3"/>
                </a:lnTo>
                <a:lnTo>
                  <a:pt x="3" y="5"/>
                </a:lnTo>
                <a:lnTo>
                  <a:pt x="3" y="5"/>
                </a:lnTo>
                <a:lnTo>
                  <a:pt x="4" y="10"/>
                </a:lnTo>
                <a:lnTo>
                  <a:pt x="4" y="15"/>
                </a:lnTo>
                <a:lnTo>
                  <a:pt x="3" y="19"/>
                </a:lnTo>
                <a:lnTo>
                  <a:pt x="1" y="22"/>
                </a:lnTo>
                <a:lnTo>
                  <a:pt x="1" y="22"/>
                </a:lnTo>
                <a:lnTo>
                  <a:pt x="0" y="24"/>
                </a:lnTo>
                <a:lnTo>
                  <a:pt x="0" y="24"/>
                </a:lnTo>
                <a:lnTo>
                  <a:pt x="1" y="27"/>
                </a:lnTo>
                <a:lnTo>
                  <a:pt x="1" y="27"/>
                </a:lnTo>
                <a:lnTo>
                  <a:pt x="7" y="26"/>
                </a:lnTo>
                <a:lnTo>
                  <a:pt x="10" y="26"/>
                </a:lnTo>
                <a:lnTo>
                  <a:pt x="11" y="27"/>
                </a:lnTo>
                <a:lnTo>
                  <a:pt x="11" y="27"/>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85" name="Freeform 272">
            <a:extLst>
              <a:ext uri="{FF2B5EF4-FFF2-40B4-BE49-F238E27FC236}">
                <a16:creationId xmlns:a16="http://schemas.microsoft.com/office/drawing/2014/main" id="{6C6AE5E5-5A67-4D4C-4D0F-AB13B06BFA47}"/>
              </a:ext>
            </a:extLst>
          </p:cNvPr>
          <p:cNvSpPr>
            <a:spLocks/>
          </p:cNvSpPr>
          <p:nvPr userDrawn="1"/>
        </p:nvSpPr>
        <p:spPr bwMode="gray">
          <a:xfrm>
            <a:off x="4483564" y="2260025"/>
            <a:ext cx="94937" cy="49419"/>
          </a:xfrm>
          <a:custGeom>
            <a:avLst/>
            <a:gdLst/>
            <a:ahLst/>
            <a:cxnLst>
              <a:cxn ang="0">
                <a:pos x="64" y="16"/>
              </a:cxn>
              <a:cxn ang="0">
                <a:pos x="59" y="14"/>
              </a:cxn>
              <a:cxn ang="0">
                <a:pos x="56" y="11"/>
              </a:cxn>
              <a:cxn ang="0">
                <a:pos x="56" y="4"/>
              </a:cxn>
              <a:cxn ang="0">
                <a:pos x="47" y="1"/>
              </a:cxn>
              <a:cxn ang="0">
                <a:pos x="42" y="0"/>
              </a:cxn>
              <a:cxn ang="0">
                <a:pos x="36" y="1"/>
              </a:cxn>
              <a:cxn ang="0">
                <a:pos x="23" y="1"/>
              </a:cxn>
              <a:cxn ang="0">
                <a:pos x="22" y="3"/>
              </a:cxn>
              <a:cxn ang="0">
                <a:pos x="20" y="4"/>
              </a:cxn>
              <a:cxn ang="0">
                <a:pos x="16" y="6"/>
              </a:cxn>
              <a:cxn ang="0">
                <a:pos x="12" y="11"/>
              </a:cxn>
              <a:cxn ang="0">
                <a:pos x="10" y="13"/>
              </a:cxn>
              <a:cxn ang="0">
                <a:pos x="5" y="20"/>
              </a:cxn>
              <a:cxn ang="0">
                <a:pos x="2" y="24"/>
              </a:cxn>
              <a:cxn ang="0">
                <a:pos x="0" y="30"/>
              </a:cxn>
              <a:cxn ang="0">
                <a:pos x="5" y="28"/>
              </a:cxn>
              <a:cxn ang="0">
                <a:pos x="6" y="27"/>
              </a:cxn>
              <a:cxn ang="0">
                <a:pos x="10" y="27"/>
              </a:cxn>
              <a:cxn ang="0">
                <a:pos x="12" y="30"/>
              </a:cxn>
              <a:cxn ang="0">
                <a:pos x="13" y="33"/>
              </a:cxn>
              <a:cxn ang="0">
                <a:pos x="15" y="37"/>
              </a:cxn>
              <a:cxn ang="0">
                <a:pos x="15" y="38"/>
              </a:cxn>
              <a:cxn ang="0">
                <a:pos x="27" y="37"/>
              </a:cxn>
              <a:cxn ang="0">
                <a:pos x="30" y="35"/>
              </a:cxn>
              <a:cxn ang="0">
                <a:pos x="36" y="26"/>
              </a:cxn>
              <a:cxn ang="0">
                <a:pos x="37" y="27"/>
              </a:cxn>
              <a:cxn ang="0">
                <a:pos x="45" y="37"/>
              </a:cxn>
              <a:cxn ang="0">
                <a:pos x="47" y="37"/>
              </a:cxn>
              <a:cxn ang="0">
                <a:pos x="49" y="31"/>
              </a:cxn>
              <a:cxn ang="0">
                <a:pos x="50" y="28"/>
              </a:cxn>
              <a:cxn ang="0">
                <a:pos x="54" y="27"/>
              </a:cxn>
              <a:cxn ang="0">
                <a:pos x="59" y="28"/>
              </a:cxn>
              <a:cxn ang="0">
                <a:pos x="63" y="26"/>
              </a:cxn>
              <a:cxn ang="0">
                <a:pos x="63" y="24"/>
              </a:cxn>
              <a:cxn ang="0">
                <a:pos x="67" y="24"/>
              </a:cxn>
              <a:cxn ang="0">
                <a:pos x="69" y="23"/>
              </a:cxn>
              <a:cxn ang="0">
                <a:pos x="70" y="20"/>
              </a:cxn>
              <a:cxn ang="0">
                <a:pos x="73" y="17"/>
              </a:cxn>
              <a:cxn ang="0">
                <a:pos x="64" y="16"/>
              </a:cxn>
            </a:cxnLst>
            <a:rect l="0" t="0" r="r" b="b"/>
            <a:pathLst>
              <a:path w="73" h="38">
                <a:moveTo>
                  <a:pt x="64" y="16"/>
                </a:moveTo>
                <a:lnTo>
                  <a:pt x="64" y="16"/>
                </a:lnTo>
                <a:lnTo>
                  <a:pt x="62" y="16"/>
                </a:lnTo>
                <a:lnTo>
                  <a:pt x="59" y="14"/>
                </a:lnTo>
                <a:lnTo>
                  <a:pt x="56" y="11"/>
                </a:lnTo>
                <a:lnTo>
                  <a:pt x="56" y="11"/>
                </a:lnTo>
                <a:lnTo>
                  <a:pt x="56" y="8"/>
                </a:lnTo>
                <a:lnTo>
                  <a:pt x="56" y="4"/>
                </a:lnTo>
                <a:lnTo>
                  <a:pt x="56" y="4"/>
                </a:lnTo>
                <a:lnTo>
                  <a:pt x="47" y="1"/>
                </a:lnTo>
                <a:lnTo>
                  <a:pt x="47" y="1"/>
                </a:lnTo>
                <a:lnTo>
                  <a:pt x="42" y="0"/>
                </a:lnTo>
                <a:lnTo>
                  <a:pt x="36" y="1"/>
                </a:lnTo>
                <a:lnTo>
                  <a:pt x="36" y="1"/>
                </a:lnTo>
                <a:lnTo>
                  <a:pt x="30" y="3"/>
                </a:lnTo>
                <a:lnTo>
                  <a:pt x="23" y="1"/>
                </a:lnTo>
                <a:lnTo>
                  <a:pt x="23" y="1"/>
                </a:lnTo>
                <a:lnTo>
                  <a:pt x="22" y="3"/>
                </a:lnTo>
                <a:lnTo>
                  <a:pt x="20" y="4"/>
                </a:lnTo>
                <a:lnTo>
                  <a:pt x="20" y="4"/>
                </a:lnTo>
                <a:lnTo>
                  <a:pt x="17" y="4"/>
                </a:lnTo>
                <a:lnTo>
                  <a:pt x="16" y="6"/>
                </a:lnTo>
                <a:lnTo>
                  <a:pt x="13" y="8"/>
                </a:lnTo>
                <a:lnTo>
                  <a:pt x="12" y="11"/>
                </a:lnTo>
                <a:lnTo>
                  <a:pt x="12" y="11"/>
                </a:lnTo>
                <a:lnTo>
                  <a:pt x="10" y="13"/>
                </a:lnTo>
                <a:lnTo>
                  <a:pt x="8" y="16"/>
                </a:lnTo>
                <a:lnTo>
                  <a:pt x="5" y="20"/>
                </a:lnTo>
                <a:lnTo>
                  <a:pt x="2" y="24"/>
                </a:lnTo>
                <a:lnTo>
                  <a:pt x="2" y="24"/>
                </a:lnTo>
                <a:lnTo>
                  <a:pt x="0" y="28"/>
                </a:lnTo>
                <a:lnTo>
                  <a:pt x="0" y="30"/>
                </a:lnTo>
                <a:lnTo>
                  <a:pt x="2" y="31"/>
                </a:lnTo>
                <a:lnTo>
                  <a:pt x="5" y="28"/>
                </a:lnTo>
                <a:lnTo>
                  <a:pt x="5" y="28"/>
                </a:lnTo>
                <a:lnTo>
                  <a:pt x="6" y="27"/>
                </a:lnTo>
                <a:lnTo>
                  <a:pt x="9" y="27"/>
                </a:lnTo>
                <a:lnTo>
                  <a:pt x="10" y="27"/>
                </a:lnTo>
                <a:lnTo>
                  <a:pt x="12" y="30"/>
                </a:lnTo>
                <a:lnTo>
                  <a:pt x="12" y="30"/>
                </a:lnTo>
                <a:lnTo>
                  <a:pt x="12" y="31"/>
                </a:lnTo>
                <a:lnTo>
                  <a:pt x="13" y="33"/>
                </a:lnTo>
                <a:lnTo>
                  <a:pt x="15" y="35"/>
                </a:lnTo>
                <a:lnTo>
                  <a:pt x="15" y="37"/>
                </a:lnTo>
                <a:lnTo>
                  <a:pt x="15" y="37"/>
                </a:lnTo>
                <a:lnTo>
                  <a:pt x="15" y="38"/>
                </a:lnTo>
                <a:lnTo>
                  <a:pt x="15" y="38"/>
                </a:lnTo>
                <a:lnTo>
                  <a:pt x="27" y="37"/>
                </a:lnTo>
                <a:lnTo>
                  <a:pt x="27" y="37"/>
                </a:lnTo>
                <a:lnTo>
                  <a:pt x="30" y="35"/>
                </a:lnTo>
                <a:lnTo>
                  <a:pt x="33" y="31"/>
                </a:lnTo>
                <a:lnTo>
                  <a:pt x="36" y="26"/>
                </a:lnTo>
                <a:lnTo>
                  <a:pt x="36" y="26"/>
                </a:lnTo>
                <a:lnTo>
                  <a:pt x="37" y="27"/>
                </a:lnTo>
                <a:lnTo>
                  <a:pt x="39" y="30"/>
                </a:lnTo>
                <a:lnTo>
                  <a:pt x="45" y="37"/>
                </a:lnTo>
                <a:lnTo>
                  <a:pt x="45" y="37"/>
                </a:lnTo>
                <a:lnTo>
                  <a:pt x="47" y="37"/>
                </a:lnTo>
                <a:lnTo>
                  <a:pt x="49" y="35"/>
                </a:lnTo>
                <a:lnTo>
                  <a:pt x="49" y="31"/>
                </a:lnTo>
                <a:lnTo>
                  <a:pt x="49" y="31"/>
                </a:lnTo>
                <a:lnTo>
                  <a:pt x="50" y="28"/>
                </a:lnTo>
                <a:lnTo>
                  <a:pt x="52" y="28"/>
                </a:lnTo>
                <a:lnTo>
                  <a:pt x="54" y="27"/>
                </a:lnTo>
                <a:lnTo>
                  <a:pt x="54" y="27"/>
                </a:lnTo>
                <a:lnTo>
                  <a:pt x="59" y="28"/>
                </a:lnTo>
                <a:lnTo>
                  <a:pt x="62" y="27"/>
                </a:lnTo>
                <a:lnTo>
                  <a:pt x="63" y="26"/>
                </a:lnTo>
                <a:lnTo>
                  <a:pt x="63" y="26"/>
                </a:lnTo>
                <a:lnTo>
                  <a:pt x="63" y="24"/>
                </a:lnTo>
                <a:lnTo>
                  <a:pt x="64" y="23"/>
                </a:lnTo>
                <a:lnTo>
                  <a:pt x="67" y="24"/>
                </a:lnTo>
                <a:lnTo>
                  <a:pt x="67" y="24"/>
                </a:lnTo>
                <a:lnTo>
                  <a:pt x="69" y="23"/>
                </a:lnTo>
                <a:lnTo>
                  <a:pt x="69" y="21"/>
                </a:lnTo>
                <a:lnTo>
                  <a:pt x="70" y="20"/>
                </a:lnTo>
                <a:lnTo>
                  <a:pt x="73" y="17"/>
                </a:lnTo>
                <a:lnTo>
                  <a:pt x="73" y="17"/>
                </a:lnTo>
                <a:lnTo>
                  <a:pt x="69" y="16"/>
                </a:lnTo>
                <a:lnTo>
                  <a:pt x="64" y="16"/>
                </a:lnTo>
                <a:lnTo>
                  <a:pt x="64" y="16"/>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86" name="Freeform 273">
            <a:extLst>
              <a:ext uri="{FF2B5EF4-FFF2-40B4-BE49-F238E27FC236}">
                <a16:creationId xmlns:a16="http://schemas.microsoft.com/office/drawing/2014/main" id="{959D8144-C5AC-F16E-4A8A-1B07997D8AA4}"/>
              </a:ext>
            </a:extLst>
          </p:cNvPr>
          <p:cNvSpPr>
            <a:spLocks/>
          </p:cNvSpPr>
          <p:nvPr userDrawn="1"/>
        </p:nvSpPr>
        <p:spPr bwMode="gray">
          <a:xfrm>
            <a:off x="4482264" y="2059746"/>
            <a:ext cx="184672" cy="209383"/>
          </a:xfrm>
          <a:custGeom>
            <a:avLst/>
            <a:gdLst/>
            <a:ahLst/>
            <a:cxnLst>
              <a:cxn ang="0">
                <a:pos x="11" y="47"/>
              </a:cxn>
              <a:cxn ang="0">
                <a:pos x="13" y="54"/>
              </a:cxn>
              <a:cxn ang="0">
                <a:pos x="13" y="60"/>
              </a:cxn>
              <a:cxn ang="0">
                <a:pos x="10" y="66"/>
              </a:cxn>
              <a:cxn ang="0">
                <a:pos x="1" y="69"/>
              </a:cxn>
              <a:cxn ang="0">
                <a:pos x="1" y="76"/>
              </a:cxn>
              <a:cxn ang="0">
                <a:pos x="0" y="91"/>
              </a:cxn>
              <a:cxn ang="0">
                <a:pos x="4" y="98"/>
              </a:cxn>
              <a:cxn ang="0">
                <a:pos x="1" y="104"/>
              </a:cxn>
              <a:cxn ang="0">
                <a:pos x="6" y="118"/>
              </a:cxn>
              <a:cxn ang="0">
                <a:pos x="20" y="124"/>
              </a:cxn>
              <a:cxn ang="0">
                <a:pos x="28" y="127"/>
              </a:cxn>
              <a:cxn ang="0">
                <a:pos x="33" y="130"/>
              </a:cxn>
              <a:cxn ang="0">
                <a:pos x="27" y="140"/>
              </a:cxn>
              <a:cxn ang="0">
                <a:pos x="24" y="155"/>
              </a:cxn>
              <a:cxn ang="0">
                <a:pos x="43" y="154"/>
              </a:cxn>
              <a:cxn ang="0">
                <a:pos x="57" y="158"/>
              </a:cxn>
              <a:cxn ang="0">
                <a:pos x="61" y="158"/>
              </a:cxn>
              <a:cxn ang="0">
                <a:pos x="68" y="160"/>
              </a:cxn>
              <a:cxn ang="0">
                <a:pos x="78" y="158"/>
              </a:cxn>
              <a:cxn ang="0">
                <a:pos x="87" y="157"/>
              </a:cxn>
              <a:cxn ang="0">
                <a:pos x="104" y="154"/>
              </a:cxn>
              <a:cxn ang="0">
                <a:pos x="110" y="150"/>
              </a:cxn>
              <a:cxn ang="0">
                <a:pos x="115" y="141"/>
              </a:cxn>
              <a:cxn ang="0">
                <a:pos x="122" y="135"/>
              </a:cxn>
              <a:cxn ang="0">
                <a:pos x="118" y="127"/>
              </a:cxn>
              <a:cxn ang="0">
                <a:pos x="105" y="114"/>
              </a:cxn>
              <a:cxn ang="0">
                <a:pos x="100" y="100"/>
              </a:cxn>
              <a:cxn ang="0">
                <a:pos x="115" y="94"/>
              </a:cxn>
              <a:cxn ang="0">
                <a:pos x="127" y="88"/>
              </a:cxn>
              <a:cxn ang="0">
                <a:pos x="134" y="84"/>
              </a:cxn>
              <a:cxn ang="0">
                <a:pos x="141" y="86"/>
              </a:cxn>
              <a:cxn ang="0">
                <a:pos x="141" y="76"/>
              </a:cxn>
              <a:cxn ang="0">
                <a:pos x="137" y="59"/>
              </a:cxn>
              <a:cxn ang="0">
                <a:pos x="131" y="47"/>
              </a:cxn>
              <a:cxn ang="0">
                <a:pos x="131" y="40"/>
              </a:cxn>
              <a:cxn ang="0">
                <a:pos x="131" y="24"/>
              </a:cxn>
              <a:cxn ang="0">
                <a:pos x="129" y="20"/>
              </a:cxn>
              <a:cxn ang="0">
                <a:pos x="120" y="15"/>
              </a:cxn>
              <a:cxn ang="0">
                <a:pos x="120" y="12"/>
              </a:cxn>
              <a:cxn ang="0">
                <a:pos x="121" y="6"/>
              </a:cxn>
              <a:cxn ang="0">
                <a:pos x="111" y="9"/>
              </a:cxn>
              <a:cxn ang="0">
                <a:pos x="98" y="13"/>
              </a:cxn>
              <a:cxn ang="0">
                <a:pos x="81" y="20"/>
              </a:cxn>
              <a:cxn ang="0">
                <a:pos x="83" y="10"/>
              </a:cxn>
              <a:cxn ang="0">
                <a:pos x="71" y="12"/>
              </a:cxn>
              <a:cxn ang="0">
                <a:pos x="63" y="5"/>
              </a:cxn>
              <a:cxn ang="0">
                <a:pos x="57" y="2"/>
              </a:cxn>
              <a:cxn ang="0">
                <a:pos x="44" y="5"/>
              </a:cxn>
              <a:cxn ang="0">
                <a:pos x="44" y="10"/>
              </a:cxn>
              <a:cxn ang="0">
                <a:pos x="50" y="23"/>
              </a:cxn>
              <a:cxn ang="0">
                <a:pos x="43" y="27"/>
              </a:cxn>
              <a:cxn ang="0">
                <a:pos x="40" y="29"/>
              </a:cxn>
              <a:cxn ang="0">
                <a:pos x="27" y="26"/>
              </a:cxn>
              <a:cxn ang="0">
                <a:pos x="18" y="29"/>
              </a:cxn>
              <a:cxn ang="0">
                <a:pos x="18" y="43"/>
              </a:cxn>
            </a:cxnLst>
            <a:rect l="0" t="0" r="r" b="b"/>
            <a:pathLst>
              <a:path w="142" h="161">
                <a:moveTo>
                  <a:pt x="18" y="43"/>
                </a:moveTo>
                <a:lnTo>
                  <a:pt x="18" y="43"/>
                </a:lnTo>
                <a:lnTo>
                  <a:pt x="14" y="46"/>
                </a:lnTo>
                <a:lnTo>
                  <a:pt x="11" y="47"/>
                </a:lnTo>
                <a:lnTo>
                  <a:pt x="10" y="49"/>
                </a:lnTo>
                <a:lnTo>
                  <a:pt x="10" y="50"/>
                </a:lnTo>
                <a:lnTo>
                  <a:pt x="10" y="50"/>
                </a:lnTo>
                <a:lnTo>
                  <a:pt x="13" y="54"/>
                </a:lnTo>
                <a:lnTo>
                  <a:pt x="14" y="56"/>
                </a:lnTo>
                <a:lnTo>
                  <a:pt x="16" y="59"/>
                </a:lnTo>
                <a:lnTo>
                  <a:pt x="16" y="59"/>
                </a:lnTo>
                <a:lnTo>
                  <a:pt x="13" y="60"/>
                </a:lnTo>
                <a:lnTo>
                  <a:pt x="11" y="61"/>
                </a:lnTo>
                <a:lnTo>
                  <a:pt x="11" y="64"/>
                </a:lnTo>
                <a:lnTo>
                  <a:pt x="11" y="64"/>
                </a:lnTo>
                <a:lnTo>
                  <a:pt x="10" y="66"/>
                </a:lnTo>
                <a:lnTo>
                  <a:pt x="9" y="67"/>
                </a:lnTo>
                <a:lnTo>
                  <a:pt x="3" y="69"/>
                </a:lnTo>
                <a:lnTo>
                  <a:pt x="3" y="69"/>
                </a:lnTo>
                <a:lnTo>
                  <a:pt x="1" y="69"/>
                </a:lnTo>
                <a:lnTo>
                  <a:pt x="1" y="70"/>
                </a:lnTo>
                <a:lnTo>
                  <a:pt x="1" y="73"/>
                </a:lnTo>
                <a:lnTo>
                  <a:pt x="1" y="76"/>
                </a:lnTo>
                <a:lnTo>
                  <a:pt x="1" y="76"/>
                </a:lnTo>
                <a:lnTo>
                  <a:pt x="0" y="83"/>
                </a:lnTo>
                <a:lnTo>
                  <a:pt x="0" y="88"/>
                </a:lnTo>
                <a:lnTo>
                  <a:pt x="0" y="88"/>
                </a:lnTo>
                <a:lnTo>
                  <a:pt x="0" y="91"/>
                </a:lnTo>
                <a:lnTo>
                  <a:pt x="1" y="94"/>
                </a:lnTo>
                <a:lnTo>
                  <a:pt x="3" y="96"/>
                </a:lnTo>
                <a:lnTo>
                  <a:pt x="4" y="98"/>
                </a:lnTo>
                <a:lnTo>
                  <a:pt x="4" y="98"/>
                </a:lnTo>
                <a:lnTo>
                  <a:pt x="1" y="101"/>
                </a:lnTo>
                <a:lnTo>
                  <a:pt x="1" y="103"/>
                </a:lnTo>
                <a:lnTo>
                  <a:pt x="1" y="104"/>
                </a:lnTo>
                <a:lnTo>
                  <a:pt x="1" y="104"/>
                </a:lnTo>
                <a:lnTo>
                  <a:pt x="3" y="108"/>
                </a:lnTo>
                <a:lnTo>
                  <a:pt x="4" y="113"/>
                </a:lnTo>
                <a:lnTo>
                  <a:pt x="6" y="118"/>
                </a:lnTo>
                <a:lnTo>
                  <a:pt x="6" y="118"/>
                </a:lnTo>
                <a:lnTo>
                  <a:pt x="10" y="120"/>
                </a:lnTo>
                <a:lnTo>
                  <a:pt x="10" y="120"/>
                </a:lnTo>
                <a:lnTo>
                  <a:pt x="14" y="123"/>
                </a:lnTo>
                <a:lnTo>
                  <a:pt x="20" y="124"/>
                </a:lnTo>
                <a:lnTo>
                  <a:pt x="20" y="124"/>
                </a:lnTo>
                <a:lnTo>
                  <a:pt x="23" y="125"/>
                </a:lnTo>
                <a:lnTo>
                  <a:pt x="26" y="127"/>
                </a:lnTo>
                <a:lnTo>
                  <a:pt x="28" y="127"/>
                </a:lnTo>
                <a:lnTo>
                  <a:pt x="28" y="127"/>
                </a:lnTo>
                <a:lnTo>
                  <a:pt x="30" y="128"/>
                </a:lnTo>
                <a:lnTo>
                  <a:pt x="33" y="128"/>
                </a:lnTo>
                <a:lnTo>
                  <a:pt x="33" y="130"/>
                </a:lnTo>
                <a:lnTo>
                  <a:pt x="31" y="133"/>
                </a:lnTo>
                <a:lnTo>
                  <a:pt x="31" y="133"/>
                </a:lnTo>
                <a:lnTo>
                  <a:pt x="28" y="135"/>
                </a:lnTo>
                <a:lnTo>
                  <a:pt x="27" y="140"/>
                </a:lnTo>
                <a:lnTo>
                  <a:pt x="26" y="145"/>
                </a:lnTo>
                <a:lnTo>
                  <a:pt x="26" y="145"/>
                </a:lnTo>
                <a:lnTo>
                  <a:pt x="24" y="155"/>
                </a:lnTo>
                <a:lnTo>
                  <a:pt x="24" y="155"/>
                </a:lnTo>
                <a:lnTo>
                  <a:pt x="31" y="157"/>
                </a:lnTo>
                <a:lnTo>
                  <a:pt x="37" y="155"/>
                </a:lnTo>
                <a:lnTo>
                  <a:pt x="37" y="155"/>
                </a:lnTo>
                <a:lnTo>
                  <a:pt x="43" y="154"/>
                </a:lnTo>
                <a:lnTo>
                  <a:pt x="48" y="155"/>
                </a:lnTo>
                <a:lnTo>
                  <a:pt x="48" y="155"/>
                </a:lnTo>
                <a:lnTo>
                  <a:pt x="57" y="158"/>
                </a:lnTo>
                <a:lnTo>
                  <a:pt x="57" y="158"/>
                </a:lnTo>
                <a:lnTo>
                  <a:pt x="58" y="158"/>
                </a:lnTo>
                <a:lnTo>
                  <a:pt x="60" y="157"/>
                </a:lnTo>
                <a:lnTo>
                  <a:pt x="60" y="157"/>
                </a:lnTo>
                <a:lnTo>
                  <a:pt x="61" y="158"/>
                </a:lnTo>
                <a:lnTo>
                  <a:pt x="64" y="160"/>
                </a:lnTo>
                <a:lnTo>
                  <a:pt x="67" y="161"/>
                </a:lnTo>
                <a:lnTo>
                  <a:pt x="68" y="160"/>
                </a:lnTo>
                <a:lnTo>
                  <a:pt x="68" y="160"/>
                </a:lnTo>
                <a:lnTo>
                  <a:pt x="71" y="158"/>
                </a:lnTo>
                <a:lnTo>
                  <a:pt x="73" y="157"/>
                </a:lnTo>
                <a:lnTo>
                  <a:pt x="78" y="158"/>
                </a:lnTo>
                <a:lnTo>
                  <a:pt x="78" y="158"/>
                </a:lnTo>
                <a:lnTo>
                  <a:pt x="83" y="160"/>
                </a:lnTo>
                <a:lnTo>
                  <a:pt x="85" y="158"/>
                </a:lnTo>
                <a:lnTo>
                  <a:pt x="87" y="157"/>
                </a:lnTo>
                <a:lnTo>
                  <a:pt x="87" y="157"/>
                </a:lnTo>
                <a:lnTo>
                  <a:pt x="91" y="155"/>
                </a:lnTo>
                <a:lnTo>
                  <a:pt x="95" y="154"/>
                </a:lnTo>
                <a:lnTo>
                  <a:pt x="104" y="154"/>
                </a:lnTo>
                <a:lnTo>
                  <a:pt x="104" y="154"/>
                </a:lnTo>
                <a:lnTo>
                  <a:pt x="107" y="155"/>
                </a:lnTo>
                <a:lnTo>
                  <a:pt x="108" y="155"/>
                </a:lnTo>
                <a:lnTo>
                  <a:pt x="111" y="154"/>
                </a:lnTo>
                <a:lnTo>
                  <a:pt x="110" y="150"/>
                </a:lnTo>
                <a:lnTo>
                  <a:pt x="110" y="150"/>
                </a:lnTo>
                <a:lnTo>
                  <a:pt x="110" y="145"/>
                </a:lnTo>
                <a:lnTo>
                  <a:pt x="112" y="143"/>
                </a:lnTo>
                <a:lnTo>
                  <a:pt x="115" y="141"/>
                </a:lnTo>
                <a:lnTo>
                  <a:pt x="117" y="140"/>
                </a:lnTo>
                <a:lnTo>
                  <a:pt x="117" y="140"/>
                </a:lnTo>
                <a:lnTo>
                  <a:pt x="118" y="137"/>
                </a:lnTo>
                <a:lnTo>
                  <a:pt x="122" y="135"/>
                </a:lnTo>
                <a:lnTo>
                  <a:pt x="125" y="134"/>
                </a:lnTo>
                <a:lnTo>
                  <a:pt x="125" y="133"/>
                </a:lnTo>
                <a:lnTo>
                  <a:pt x="125" y="133"/>
                </a:lnTo>
                <a:lnTo>
                  <a:pt x="118" y="127"/>
                </a:lnTo>
                <a:lnTo>
                  <a:pt x="108" y="120"/>
                </a:lnTo>
                <a:lnTo>
                  <a:pt x="108" y="120"/>
                </a:lnTo>
                <a:lnTo>
                  <a:pt x="107" y="117"/>
                </a:lnTo>
                <a:lnTo>
                  <a:pt x="105" y="114"/>
                </a:lnTo>
                <a:lnTo>
                  <a:pt x="104" y="107"/>
                </a:lnTo>
                <a:lnTo>
                  <a:pt x="104" y="107"/>
                </a:lnTo>
                <a:lnTo>
                  <a:pt x="101" y="101"/>
                </a:lnTo>
                <a:lnTo>
                  <a:pt x="100" y="100"/>
                </a:lnTo>
                <a:lnTo>
                  <a:pt x="102" y="98"/>
                </a:lnTo>
                <a:lnTo>
                  <a:pt x="102" y="98"/>
                </a:lnTo>
                <a:lnTo>
                  <a:pt x="111" y="96"/>
                </a:lnTo>
                <a:lnTo>
                  <a:pt x="115" y="94"/>
                </a:lnTo>
                <a:lnTo>
                  <a:pt x="120" y="91"/>
                </a:lnTo>
                <a:lnTo>
                  <a:pt x="120" y="91"/>
                </a:lnTo>
                <a:lnTo>
                  <a:pt x="122" y="90"/>
                </a:lnTo>
                <a:lnTo>
                  <a:pt x="127" y="88"/>
                </a:lnTo>
                <a:lnTo>
                  <a:pt x="129" y="87"/>
                </a:lnTo>
                <a:lnTo>
                  <a:pt x="132" y="86"/>
                </a:lnTo>
                <a:lnTo>
                  <a:pt x="132" y="86"/>
                </a:lnTo>
                <a:lnTo>
                  <a:pt x="134" y="84"/>
                </a:lnTo>
                <a:lnTo>
                  <a:pt x="137" y="86"/>
                </a:lnTo>
                <a:lnTo>
                  <a:pt x="139" y="86"/>
                </a:lnTo>
                <a:lnTo>
                  <a:pt x="141" y="86"/>
                </a:lnTo>
                <a:lnTo>
                  <a:pt x="141" y="86"/>
                </a:lnTo>
                <a:lnTo>
                  <a:pt x="142" y="81"/>
                </a:lnTo>
                <a:lnTo>
                  <a:pt x="142" y="79"/>
                </a:lnTo>
                <a:lnTo>
                  <a:pt x="141" y="76"/>
                </a:lnTo>
                <a:lnTo>
                  <a:pt x="141" y="76"/>
                </a:lnTo>
                <a:lnTo>
                  <a:pt x="138" y="71"/>
                </a:lnTo>
                <a:lnTo>
                  <a:pt x="137" y="63"/>
                </a:lnTo>
                <a:lnTo>
                  <a:pt x="137" y="63"/>
                </a:lnTo>
                <a:lnTo>
                  <a:pt x="137" y="59"/>
                </a:lnTo>
                <a:lnTo>
                  <a:pt x="135" y="54"/>
                </a:lnTo>
                <a:lnTo>
                  <a:pt x="135" y="54"/>
                </a:lnTo>
                <a:lnTo>
                  <a:pt x="134" y="50"/>
                </a:lnTo>
                <a:lnTo>
                  <a:pt x="131" y="47"/>
                </a:lnTo>
                <a:lnTo>
                  <a:pt x="131" y="47"/>
                </a:lnTo>
                <a:lnTo>
                  <a:pt x="129" y="44"/>
                </a:lnTo>
                <a:lnTo>
                  <a:pt x="129" y="43"/>
                </a:lnTo>
                <a:lnTo>
                  <a:pt x="131" y="40"/>
                </a:lnTo>
                <a:lnTo>
                  <a:pt x="131" y="40"/>
                </a:lnTo>
                <a:lnTo>
                  <a:pt x="131" y="37"/>
                </a:lnTo>
                <a:lnTo>
                  <a:pt x="132" y="32"/>
                </a:lnTo>
                <a:lnTo>
                  <a:pt x="131" y="24"/>
                </a:lnTo>
                <a:lnTo>
                  <a:pt x="131" y="24"/>
                </a:lnTo>
                <a:lnTo>
                  <a:pt x="131" y="22"/>
                </a:lnTo>
                <a:lnTo>
                  <a:pt x="131" y="22"/>
                </a:lnTo>
                <a:lnTo>
                  <a:pt x="129" y="20"/>
                </a:lnTo>
                <a:lnTo>
                  <a:pt x="129" y="20"/>
                </a:lnTo>
                <a:lnTo>
                  <a:pt x="128" y="17"/>
                </a:lnTo>
                <a:lnTo>
                  <a:pt x="127" y="16"/>
                </a:lnTo>
                <a:lnTo>
                  <a:pt x="120" y="15"/>
                </a:lnTo>
                <a:lnTo>
                  <a:pt x="120" y="15"/>
                </a:lnTo>
                <a:lnTo>
                  <a:pt x="118" y="15"/>
                </a:lnTo>
                <a:lnTo>
                  <a:pt x="118" y="15"/>
                </a:lnTo>
                <a:lnTo>
                  <a:pt x="120" y="12"/>
                </a:lnTo>
                <a:lnTo>
                  <a:pt x="121" y="9"/>
                </a:lnTo>
                <a:lnTo>
                  <a:pt x="121" y="7"/>
                </a:lnTo>
                <a:lnTo>
                  <a:pt x="121" y="6"/>
                </a:lnTo>
                <a:lnTo>
                  <a:pt x="121" y="6"/>
                </a:lnTo>
                <a:lnTo>
                  <a:pt x="120" y="5"/>
                </a:lnTo>
                <a:lnTo>
                  <a:pt x="118" y="5"/>
                </a:lnTo>
                <a:lnTo>
                  <a:pt x="115" y="7"/>
                </a:lnTo>
                <a:lnTo>
                  <a:pt x="111" y="9"/>
                </a:lnTo>
                <a:lnTo>
                  <a:pt x="107" y="9"/>
                </a:lnTo>
                <a:lnTo>
                  <a:pt x="107" y="9"/>
                </a:lnTo>
                <a:lnTo>
                  <a:pt x="102" y="10"/>
                </a:lnTo>
                <a:lnTo>
                  <a:pt x="98" y="13"/>
                </a:lnTo>
                <a:lnTo>
                  <a:pt x="90" y="20"/>
                </a:lnTo>
                <a:lnTo>
                  <a:pt x="90" y="20"/>
                </a:lnTo>
                <a:lnTo>
                  <a:pt x="85" y="22"/>
                </a:lnTo>
                <a:lnTo>
                  <a:pt x="81" y="20"/>
                </a:lnTo>
                <a:lnTo>
                  <a:pt x="80" y="17"/>
                </a:lnTo>
                <a:lnTo>
                  <a:pt x="81" y="13"/>
                </a:lnTo>
                <a:lnTo>
                  <a:pt x="81" y="13"/>
                </a:lnTo>
                <a:lnTo>
                  <a:pt x="83" y="10"/>
                </a:lnTo>
                <a:lnTo>
                  <a:pt x="81" y="9"/>
                </a:lnTo>
                <a:lnTo>
                  <a:pt x="75" y="10"/>
                </a:lnTo>
                <a:lnTo>
                  <a:pt x="75" y="10"/>
                </a:lnTo>
                <a:lnTo>
                  <a:pt x="71" y="12"/>
                </a:lnTo>
                <a:lnTo>
                  <a:pt x="67" y="10"/>
                </a:lnTo>
                <a:lnTo>
                  <a:pt x="64" y="9"/>
                </a:lnTo>
                <a:lnTo>
                  <a:pt x="63" y="5"/>
                </a:lnTo>
                <a:lnTo>
                  <a:pt x="63" y="5"/>
                </a:lnTo>
                <a:lnTo>
                  <a:pt x="63" y="2"/>
                </a:lnTo>
                <a:lnTo>
                  <a:pt x="63" y="2"/>
                </a:lnTo>
                <a:lnTo>
                  <a:pt x="57" y="2"/>
                </a:lnTo>
                <a:lnTo>
                  <a:pt x="57" y="2"/>
                </a:lnTo>
                <a:lnTo>
                  <a:pt x="50" y="0"/>
                </a:lnTo>
                <a:lnTo>
                  <a:pt x="41" y="0"/>
                </a:lnTo>
                <a:lnTo>
                  <a:pt x="41" y="0"/>
                </a:lnTo>
                <a:lnTo>
                  <a:pt x="44" y="5"/>
                </a:lnTo>
                <a:lnTo>
                  <a:pt x="44" y="6"/>
                </a:lnTo>
                <a:lnTo>
                  <a:pt x="44" y="7"/>
                </a:lnTo>
                <a:lnTo>
                  <a:pt x="44" y="7"/>
                </a:lnTo>
                <a:lnTo>
                  <a:pt x="44" y="10"/>
                </a:lnTo>
                <a:lnTo>
                  <a:pt x="44" y="15"/>
                </a:lnTo>
                <a:lnTo>
                  <a:pt x="48" y="22"/>
                </a:lnTo>
                <a:lnTo>
                  <a:pt x="48" y="22"/>
                </a:lnTo>
                <a:lnTo>
                  <a:pt x="50" y="23"/>
                </a:lnTo>
                <a:lnTo>
                  <a:pt x="48" y="24"/>
                </a:lnTo>
                <a:lnTo>
                  <a:pt x="47" y="26"/>
                </a:lnTo>
                <a:lnTo>
                  <a:pt x="43" y="26"/>
                </a:lnTo>
                <a:lnTo>
                  <a:pt x="43" y="27"/>
                </a:lnTo>
                <a:lnTo>
                  <a:pt x="41" y="27"/>
                </a:lnTo>
                <a:lnTo>
                  <a:pt x="41" y="27"/>
                </a:lnTo>
                <a:lnTo>
                  <a:pt x="41" y="29"/>
                </a:lnTo>
                <a:lnTo>
                  <a:pt x="40" y="29"/>
                </a:lnTo>
                <a:lnTo>
                  <a:pt x="37" y="29"/>
                </a:lnTo>
                <a:lnTo>
                  <a:pt x="30" y="26"/>
                </a:lnTo>
                <a:lnTo>
                  <a:pt x="30" y="26"/>
                </a:lnTo>
                <a:lnTo>
                  <a:pt x="27" y="26"/>
                </a:lnTo>
                <a:lnTo>
                  <a:pt x="23" y="26"/>
                </a:lnTo>
                <a:lnTo>
                  <a:pt x="18" y="27"/>
                </a:lnTo>
                <a:lnTo>
                  <a:pt x="18" y="29"/>
                </a:lnTo>
                <a:lnTo>
                  <a:pt x="18" y="29"/>
                </a:lnTo>
                <a:lnTo>
                  <a:pt x="17" y="32"/>
                </a:lnTo>
                <a:lnTo>
                  <a:pt x="17" y="32"/>
                </a:lnTo>
                <a:lnTo>
                  <a:pt x="18" y="37"/>
                </a:lnTo>
                <a:lnTo>
                  <a:pt x="18" y="43"/>
                </a:lnTo>
                <a:lnTo>
                  <a:pt x="18" y="43"/>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87" name="Freeform 274">
            <a:extLst>
              <a:ext uri="{FF2B5EF4-FFF2-40B4-BE49-F238E27FC236}">
                <a16:creationId xmlns:a16="http://schemas.microsoft.com/office/drawing/2014/main" id="{AD0E5E9D-430E-5C7B-F231-D145DF731B07}"/>
              </a:ext>
            </a:extLst>
          </p:cNvPr>
          <p:cNvSpPr>
            <a:spLocks/>
          </p:cNvSpPr>
          <p:nvPr userDrawn="1"/>
        </p:nvSpPr>
        <p:spPr bwMode="gray">
          <a:xfrm>
            <a:off x="4785282" y="1556449"/>
            <a:ext cx="218486" cy="345935"/>
          </a:xfrm>
          <a:custGeom>
            <a:avLst/>
            <a:gdLst/>
            <a:ahLst/>
            <a:cxnLst>
              <a:cxn ang="0">
                <a:pos x="155" y="211"/>
              </a:cxn>
              <a:cxn ang="0">
                <a:pos x="168" y="198"/>
              </a:cxn>
              <a:cxn ang="0">
                <a:pos x="157" y="182"/>
              </a:cxn>
              <a:cxn ang="0">
                <a:pos x="143" y="171"/>
              </a:cxn>
              <a:cxn ang="0">
                <a:pos x="153" y="163"/>
              </a:cxn>
              <a:cxn ang="0">
                <a:pos x="144" y="154"/>
              </a:cxn>
              <a:cxn ang="0">
                <a:pos x="147" y="147"/>
              </a:cxn>
              <a:cxn ang="0">
                <a:pos x="138" y="141"/>
              </a:cxn>
              <a:cxn ang="0">
                <a:pos x="143" y="137"/>
              </a:cxn>
              <a:cxn ang="0">
                <a:pos x="140" y="124"/>
              </a:cxn>
              <a:cxn ang="0">
                <a:pos x="145" y="114"/>
              </a:cxn>
              <a:cxn ang="0">
                <a:pos x="130" y="89"/>
              </a:cxn>
              <a:cxn ang="0">
                <a:pos x="144" y="71"/>
              </a:cxn>
              <a:cxn ang="0">
                <a:pos x="134" y="57"/>
              </a:cxn>
              <a:cxn ang="0">
                <a:pos x="124" y="52"/>
              </a:cxn>
              <a:cxn ang="0">
                <a:pos x="123" y="39"/>
              </a:cxn>
              <a:cxn ang="0">
                <a:pos x="128" y="32"/>
              </a:cxn>
              <a:cxn ang="0">
                <a:pos x="133" y="23"/>
              </a:cxn>
              <a:cxn ang="0">
                <a:pos x="125" y="9"/>
              </a:cxn>
              <a:cxn ang="0">
                <a:pos x="110" y="0"/>
              </a:cxn>
              <a:cxn ang="0">
                <a:pos x="94" y="5"/>
              </a:cxn>
              <a:cxn ang="0">
                <a:pos x="86" y="10"/>
              </a:cxn>
              <a:cxn ang="0">
                <a:pos x="77" y="17"/>
              </a:cxn>
              <a:cxn ang="0">
                <a:pos x="74" y="32"/>
              </a:cxn>
              <a:cxn ang="0">
                <a:pos x="67" y="40"/>
              </a:cxn>
              <a:cxn ang="0">
                <a:pos x="59" y="37"/>
              </a:cxn>
              <a:cxn ang="0">
                <a:pos x="46" y="37"/>
              </a:cxn>
              <a:cxn ang="0">
                <a:pos x="29" y="36"/>
              </a:cxn>
              <a:cxn ang="0">
                <a:pos x="12" y="23"/>
              </a:cxn>
              <a:cxn ang="0">
                <a:pos x="0" y="32"/>
              </a:cxn>
              <a:cxn ang="0">
                <a:pos x="33" y="50"/>
              </a:cxn>
              <a:cxn ang="0">
                <a:pos x="40" y="67"/>
              </a:cxn>
              <a:cxn ang="0">
                <a:pos x="43" y="76"/>
              </a:cxn>
              <a:cxn ang="0">
                <a:pos x="46" y="87"/>
              </a:cxn>
              <a:cxn ang="0">
                <a:pos x="44" y="101"/>
              </a:cxn>
              <a:cxn ang="0">
                <a:pos x="47" y="110"/>
              </a:cxn>
              <a:cxn ang="0">
                <a:pos x="63" y="123"/>
              </a:cxn>
              <a:cxn ang="0">
                <a:pos x="69" y="135"/>
              </a:cxn>
              <a:cxn ang="0">
                <a:pos x="63" y="140"/>
              </a:cxn>
              <a:cxn ang="0">
                <a:pos x="54" y="154"/>
              </a:cxn>
              <a:cxn ang="0">
                <a:pos x="37" y="165"/>
              </a:cxn>
              <a:cxn ang="0">
                <a:pos x="27" y="172"/>
              </a:cxn>
              <a:cxn ang="0">
                <a:pos x="22" y="182"/>
              </a:cxn>
              <a:cxn ang="0">
                <a:pos x="7" y="190"/>
              </a:cxn>
              <a:cxn ang="0">
                <a:pos x="2" y="199"/>
              </a:cxn>
              <a:cxn ang="0">
                <a:pos x="6" y="214"/>
              </a:cxn>
              <a:cxn ang="0">
                <a:pos x="9" y="234"/>
              </a:cxn>
              <a:cxn ang="0">
                <a:pos x="5" y="251"/>
              </a:cxn>
              <a:cxn ang="0">
                <a:pos x="20" y="256"/>
              </a:cxn>
              <a:cxn ang="0">
                <a:pos x="30" y="262"/>
              </a:cxn>
              <a:cxn ang="0">
                <a:pos x="47" y="266"/>
              </a:cxn>
              <a:cxn ang="0">
                <a:pos x="97" y="255"/>
              </a:cxn>
              <a:cxn ang="0">
                <a:pos x="120" y="244"/>
              </a:cxn>
              <a:cxn ang="0">
                <a:pos x="144" y="224"/>
              </a:cxn>
            </a:cxnLst>
            <a:rect l="0" t="0" r="r" b="b"/>
            <a:pathLst>
              <a:path w="168" h="266">
                <a:moveTo>
                  <a:pt x="144" y="224"/>
                </a:moveTo>
                <a:lnTo>
                  <a:pt x="144" y="224"/>
                </a:lnTo>
                <a:lnTo>
                  <a:pt x="145" y="219"/>
                </a:lnTo>
                <a:lnTo>
                  <a:pt x="148" y="217"/>
                </a:lnTo>
                <a:lnTo>
                  <a:pt x="155" y="211"/>
                </a:lnTo>
                <a:lnTo>
                  <a:pt x="162" y="207"/>
                </a:lnTo>
                <a:lnTo>
                  <a:pt x="165" y="204"/>
                </a:lnTo>
                <a:lnTo>
                  <a:pt x="168" y="201"/>
                </a:lnTo>
                <a:lnTo>
                  <a:pt x="168" y="201"/>
                </a:lnTo>
                <a:lnTo>
                  <a:pt x="168" y="198"/>
                </a:lnTo>
                <a:lnTo>
                  <a:pt x="168" y="195"/>
                </a:lnTo>
                <a:lnTo>
                  <a:pt x="167" y="192"/>
                </a:lnTo>
                <a:lnTo>
                  <a:pt x="164" y="188"/>
                </a:lnTo>
                <a:lnTo>
                  <a:pt x="164" y="188"/>
                </a:lnTo>
                <a:lnTo>
                  <a:pt x="157" y="182"/>
                </a:lnTo>
                <a:lnTo>
                  <a:pt x="151" y="178"/>
                </a:lnTo>
                <a:lnTo>
                  <a:pt x="145" y="175"/>
                </a:lnTo>
                <a:lnTo>
                  <a:pt x="143" y="172"/>
                </a:lnTo>
                <a:lnTo>
                  <a:pt x="143" y="172"/>
                </a:lnTo>
                <a:lnTo>
                  <a:pt x="143" y="171"/>
                </a:lnTo>
                <a:lnTo>
                  <a:pt x="144" y="170"/>
                </a:lnTo>
                <a:lnTo>
                  <a:pt x="148" y="168"/>
                </a:lnTo>
                <a:lnTo>
                  <a:pt x="151" y="165"/>
                </a:lnTo>
                <a:lnTo>
                  <a:pt x="153" y="164"/>
                </a:lnTo>
                <a:lnTo>
                  <a:pt x="153" y="163"/>
                </a:lnTo>
                <a:lnTo>
                  <a:pt x="153" y="163"/>
                </a:lnTo>
                <a:lnTo>
                  <a:pt x="151" y="160"/>
                </a:lnTo>
                <a:lnTo>
                  <a:pt x="150" y="158"/>
                </a:lnTo>
                <a:lnTo>
                  <a:pt x="147" y="157"/>
                </a:lnTo>
                <a:lnTo>
                  <a:pt x="144" y="154"/>
                </a:lnTo>
                <a:lnTo>
                  <a:pt x="144" y="154"/>
                </a:lnTo>
                <a:lnTo>
                  <a:pt x="144" y="151"/>
                </a:lnTo>
                <a:lnTo>
                  <a:pt x="145" y="150"/>
                </a:lnTo>
                <a:lnTo>
                  <a:pt x="145" y="148"/>
                </a:lnTo>
                <a:lnTo>
                  <a:pt x="147" y="147"/>
                </a:lnTo>
                <a:lnTo>
                  <a:pt x="147" y="147"/>
                </a:lnTo>
                <a:lnTo>
                  <a:pt x="145" y="145"/>
                </a:lnTo>
                <a:lnTo>
                  <a:pt x="143" y="144"/>
                </a:lnTo>
                <a:lnTo>
                  <a:pt x="140" y="143"/>
                </a:lnTo>
                <a:lnTo>
                  <a:pt x="138" y="141"/>
                </a:lnTo>
                <a:lnTo>
                  <a:pt x="138" y="141"/>
                </a:lnTo>
                <a:lnTo>
                  <a:pt x="140" y="140"/>
                </a:lnTo>
                <a:lnTo>
                  <a:pt x="141" y="138"/>
                </a:lnTo>
                <a:lnTo>
                  <a:pt x="143" y="138"/>
                </a:lnTo>
                <a:lnTo>
                  <a:pt x="143" y="137"/>
                </a:lnTo>
                <a:lnTo>
                  <a:pt x="143" y="137"/>
                </a:lnTo>
                <a:lnTo>
                  <a:pt x="140" y="131"/>
                </a:lnTo>
                <a:lnTo>
                  <a:pt x="138" y="127"/>
                </a:lnTo>
                <a:lnTo>
                  <a:pt x="140" y="124"/>
                </a:lnTo>
                <a:lnTo>
                  <a:pt x="140" y="124"/>
                </a:lnTo>
                <a:lnTo>
                  <a:pt x="143" y="123"/>
                </a:lnTo>
                <a:lnTo>
                  <a:pt x="145" y="121"/>
                </a:lnTo>
                <a:lnTo>
                  <a:pt x="147" y="120"/>
                </a:lnTo>
                <a:lnTo>
                  <a:pt x="147" y="120"/>
                </a:lnTo>
                <a:lnTo>
                  <a:pt x="145" y="114"/>
                </a:lnTo>
                <a:lnTo>
                  <a:pt x="145" y="114"/>
                </a:lnTo>
                <a:lnTo>
                  <a:pt x="137" y="100"/>
                </a:lnTo>
                <a:lnTo>
                  <a:pt x="130" y="90"/>
                </a:lnTo>
                <a:lnTo>
                  <a:pt x="130" y="90"/>
                </a:lnTo>
                <a:lnTo>
                  <a:pt x="130" y="89"/>
                </a:lnTo>
                <a:lnTo>
                  <a:pt x="131" y="86"/>
                </a:lnTo>
                <a:lnTo>
                  <a:pt x="135" y="81"/>
                </a:lnTo>
                <a:lnTo>
                  <a:pt x="135" y="81"/>
                </a:lnTo>
                <a:lnTo>
                  <a:pt x="141" y="76"/>
                </a:lnTo>
                <a:lnTo>
                  <a:pt x="144" y="71"/>
                </a:lnTo>
                <a:lnTo>
                  <a:pt x="145" y="69"/>
                </a:lnTo>
                <a:lnTo>
                  <a:pt x="145" y="69"/>
                </a:lnTo>
                <a:lnTo>
                  <a:pt x="143" y="66"/>
                </a:lnTo>
                <a:lnTo>
                  <a:pt x="140" y="63"/>
                </a:lnTo>
                <a:lnTo>
                  <a:pt x="134" y="57"/>
                </a:lnTo>
                <a:lnTo>
                  <a:pt x="134" y="57"/>
                </a:lnTo>
                <a:lnTo>
                  <a:pt x="128" y="56"/>
                </a:lnTo>
                <a:lnTo>
                  <a:pt x="125" y="54"/>
                </a:lnTo>
                <a:lnTo>
                  <a:pt x="124" y="52"/>
                </a:lnTo>
                <a:lnTo>
                  <a:pt x="124" y="52"/>
                </a:lnTo>
                <a:lnTo>
                  <a:pt x="120" y="46"/>
                </a:lnTo>
                <a:lnTo>
                  <a:pt x="120" y="44"/>
                </a:lnTo>
                <a:lnTo>
                  <a:pt x="121" y="43"/>
                </a:lnTo>
                <a:lnTo>
                  <a:pt x="121" y="43"/>
                </a:lnTo>
                <a:lnTo>
                  <a:pt x="123" y="39"/>
                </a:lnTo>
                <a:lnTo>
                  <a:pt x="124" y="34"/>
                </a:lnTo>
                <a:lnTo>
                  <a:pt x="124" y="34"/>
                </a:lnTo>
                <a:lnTo>
                  <a:pt x="124" y="33"/>
                </a:lnTo>
                <a:lnTo>
                  <a:pt x="125" y="32"/>
                </a:lnTo>
                <a:lnTo>
                  <a:pt x="128" y="32"/>
                </a:lnTo>
                <a:lnTo>
                  <a:pt x="130" y="29"/>
                </a:lnTo>
                <a:lnTo>
                  <a:pt x="130" y="29"/>
                </a:lnTo>
                <a:lnTo>
                  <a:pt x="131" y="26"/>
                </a:lnTo>
                <a:lnTo>
                  <a:pt x="133" y="23"/>
                </a:lnTo>
                <a:lnTo>
                  <a:pt x="133" y="23"/>
                </a:lnTo>
                <a:lnTo>
                  <a:pt x="133" y="15"/>
                </a:lnTo>
                <a:lnTo>
                  <a:pt x="133" y="15"/>
                </a:lnTo>
                <a:lnTo>
                  <a:pt x="133" y="13"/>
                </a:lnTo>
                <a:lnTo>
                  <a:pt x="131" y="12"/>
                </a:lnTo>
                <a:lnTo>
                  <a:pt x="125" y="9"/>
                </a:lnTo>
                <a:lnTo>
                  <a:pt x="120" y="6"/>
                </a:lnTo>
                <a:lnTo>
                  <a:pt x="117" y="3"/>
                </a:lnTo>
                <a:lnTo>
                  <a:pt x="117" y="3"/>
                </a:lnTo>
                <a:lnTo>
                  <a:pt x="113" y="0"/>
                </a:lnTo>
                <a:lnTo>
                  <a:pt x="110" y="0"/>
                </a:lnTo>
                <a:lnTo>
                  <a:pt x="106" y="0"/>
                </a:lnTo>
                <a:lnTo>
                  <a:pt x="103" y="3"/>
                </a:lnTo>
                <a:lnTo>
                  <a:pt x="103" y="3"/>
                </a:lnTo>
                <a:lnTo>
                  <a:pt x="100" y="5"/>
                </a:lnTo>
                <a:lnTo>
                  <a:pt x="94" y="5"/>
                </a:lnTo>
                <a:lnTo>
                  <a:pt x="90" y="5"/>
                </a:lnTo>
                <a:lnTo>
                  <a:pt x="89" y="6"/>
                </a:lnTo>
                <a:lnTo>
                  <a:pt x="87" y="7"/>
                </a:lnTo>
                <a:lnTo>
                  <a:pt x="87" y="7"/>
                </a:lnTo>
                <a:lnTo>
                  <a:pt x="86" y="10"/>
                </a:lnTo>
                <a:lnTo>
                  <a:pt x="83" y="12"/>
                </a:lnTo>
                <a:lnTo>
                  <a:pt x="79" y="15"/>
                </a:lnTo>
                <a:lnTo>
                  <a:pt x="79" y="16"/>
                </a:lnTo>
                <a:lnTo>
                  <a:pt x="77" y="17"/>
                </a:lnTo>
                <a:lnTo>
                  <a:pt x="77" y="17"/>
                </a:lnTo>
                <a:lnTo>
                  <a:pt x="79" y="26"/>
                </a:lnTo>
                <a:lnTo>
                  <a:pt x="79" y="30"/>
                </a:lnTo>
                <a:lnTo>
                  <a:pt x="77" y="32"/>
                </a:lnTo>
                <a:lnTo>
                  <a:pt x="74" y="32"/>
                </a:lnTo>
                <a:lnTo>
                  <a:pt x="74" y="32"/>
                </a:lnTo>
                <a:lnTo>
                  <a:pt x="71" y="32"/>
                </a:lnTo>
                <a:lnTo>
                  <a:pt x="70" y="33"/>
                </a:lnTo>
                <a:lnTo>
                  <a:pt x="70" y="36"/>
                </a:lnTo>
                <a:lnTo>
                  <a:pt x="67" y="40"/>
                </a:lnTo>
                <a:lnTo>
                  <a:pt x="67" y="40"/>
                </a:lnTo>
                <a:lnTo>
                  <a:pt x="64" y="42"/>
                </a:lnTo>
                <a:lnTo>
                  <a:pt x="63" y="40"/>
                </a:lnTo>
                <a:lnTo>
                  <a:pt x="61" y="39"/>
                </a:lnTo>
                <a:lnTo>
                  <a:pt x="60" y="37"/>
                </a:lnTo>
                <a:lnTo>
                  <a:pt x="59" y="37"/>
                </a:lnTo>
                <a:lnTo>
                  <a:pt x="59" y="37"/>
                </a:lnTo>
                <a:lnTo>
                  <a:pt x="54" y="37"/>
                </a:lnTo>
                <a:lnTo>
                  <a:pt x="52" y="37"/>
                </a:lnTo>
                <a:lnTo>
                  <a:pt x="49" y="36"/>
                </a:lnTo>
                <a:lnTo>
                  <a:pt x="46" y="37"/>
                </a:lnTo>
                <a:lnTo>
                  <a:pt x="46" y="37"/>
                </a:lnTo>
                <a:lnTo>
                  <a:pt x="43" y="39"/>
                </a:lnTo>
                <a:lnTo>
                  <a:pt x="40" y="39"/>
                </a:lnTo>
                <a:lnTo>
                  <a:pt x="29" y="36"/>
                </a:lnTo>
                <a:lnTo>
                  <a:pt x="29" y="36"/>
                </a:lnTo>
                <a:lnTo>
                  <a:pt x="23" y="34"/>
                </a:lnTo>
                <a:lnTo>
                  <a:pt x="19" y="30"/>
                </a:lnTo>
                <a:lnTo>
                  <a:pt x="16" y="26"/>
                </a:lnTo>
                <a:lnTo>
                  <a:pt x="12" y="23"/>
                </a:lnTo>
                <a:lnTo>
                  <a:pt x="12" y="23"/>
                </a:lnTo>
                <a:lnTo>
                  <a:pt x="9" y="23"/>
                </a:lnTo>
                <a:lnTo>
                  <a:pt x="5" y="26"/>
                </a:lnTo>
                <a:lnTo>
                  <a:pt x="3" y="27"/>
                </a:lnTo>
                <a:lnTo>
                  <a:pt x="0" y="32"/>
                </a:lnTo>
                <a:lnTo>
                  <a:pt x="0" y="32"/>
                </a:lnTo>
                <a:lnTo>
                  <a:pt x="9" y="37"/>
                </a:lnTo>
                <a:lnTo>
                  <a:pt x="13" y="42"/>
                </a:lnTo>
                <a:lnTo>
                  <a:pt x="17" y="44"/>
                </a:lnTo>
                <a:lnTo>
                  <a:pt x="17" y="44"/>
                </a:lnTo>
                <a:lnTo>
                  <a:pt x="33" y="50"/>
                </a:lnTo>
                <a:lnTo>
                  <a:pt x="39" y="54"/>
                </a:lnTo>
                <a:lnTo>
                  <a:pt x="40" y="56"/>
                </a:lnTo>
                <a:lnTo>
                  <a:pt x="42" y="57"/>
                </a:lnTo>
                <a:lnTo>
                  <a:pt x="42" y="57"/>
                </a:lnTo>
                <a:lnTo>
                  <a:pt x="40" y="67"/>
                </a:lnTo>
                <a:lnTo>
                  <a:pt x="40" y="70"/>
                </a:lnTo>
                <a:lnTo>
                  <a:pt x="42" y="73"/>
                </a:lnTo>
                <a:lnTo>
                  <a:pt x="42" y="73"/>
                </a:lnTo>
                <a:lnTo>
                  <a:pt x="43" y="74"/>
                </a:lnTo>
                <a:lnTo>
                  <a:pt x="43" y="76"/>
                </a:lnTo>
                <a:lnTo>
                  <a:pt x="43" y="80"/>
                </a:lnTo>
                <a:lnTo>
                  <a:pt x="43" y="84"/>
                </a:lnTo>
                <a:lnTo>
                  <a:pt x="44" y="86"/>
                </a:lnTo>
                <a:lnTo>
                  <a:pt x="46" y="87"/>
                </a:lnTo>
                <a:lnTo>
                  <a:pt x="46" y="87"/>
                </a:lnTo>
                <a:lnTo>
                  <a:pt x="47" y="90"/>
                </a:lnTo>
                <a:lnTo>
                  <a:pt x="49" y="96"/>
                </a:lnTo>
                <a:lnTo>
                  <a:pt x="47" y="100"/>
                </a:lnTo>
                <a:lnTo>
                  <a:pt x="46" y="101"/>
                </a:lnTo>
                <a:lnTo>
                  <a:pt x="44" y="101"/>
                </a:lnTo>
                <a:lnTo>
                  <a:pt x="44" y="101"/>
                </a:lnTo>
                <a:lnTo>
                  <a:pt x="43" y="103"/>
                </a:lnTo>
                <a:lnTo>
                  <a:pt x="44" y="104"/>
                </a:lnTo>
                <a:lnTo>
                  <a:pt x="47" y="110"/>
                </a:lnTo>
                <a:lnTo>
                  <a:pt x="47" y="110"/>
                </a:lnTo>
                <a:lnTo>
                  <a:pt x="49" y="113"/>
                </a:lnTo>
                <a:lnTo>
                  <a:pt x="50" y="117"/>
                </a:lnTo>
                <a:lnTo>
                  <a:pt x="50" y="117"/>
                </a:lnTo>
                <a:lnTo>
                  <a:pt x="57" y="120"/>
                </a:lnTo>
                <a:lnTo>
                  <a:pt x="63" y="123"/>
                </a:lnTo>
                <a:lnTo>
                  <a:pt x="63" y="123"/>
                </a:lnTo>
                <a:lnTo>
                  <a:pt x="67" y="126"/>
                </a:lnTo>
                <a:lnTo>
                  <a:pt x="69" y="128"/>
                </a:lnTo>
                <a:lnTo>
                  <a:pt x="69" y="135"/>
                </a:lnTo>
                <a:lnTo>
                  <a:pt x="69" y="135"/>
                </a:lnTo>
                <a:lnTo>
                  <a:pt x="69" y="141"/>
                </a:lnTo>
                <a:lnTo>
                  <a:pt x="67" y="141"/>
                </a:lnTo>
                <a:lnTo>
                  <a:pt x="66" y="141"/>
                </a:lnTo>
                <a:lnTo>
                  <a:pt x="66" y="141"/>
                </a:lnTo>
                <a:lnTo>
                  <a:pt x="63" y="140"/>
                </a:lnTo>
                <a:lnTo>
                  <a:pt x="61" y="141"/>
                </a:lnTo>
                <a:lnTo>
                  <a:pt x="59" y="144"/>
                </a:lnTo>
                <a:lnTo>
                  <a:pt x="57" y="148"/>
                </a:lnTo>
                <a:lnTo>
                  <a:pt x="57" y="148"/>
                </a:lnTo>
                <a:lnTo>
                  <a:pt x="54" y="154"/>
                </a:lnTo>
                <a:lnTo>
                  <a:pt x="50" y="158"/>
                </a:lnTo>
                <a:lnTo>
                  <a:pt x="46" y="163"/>
                </a:lnTo>
                <a:lnTo>
                  <a:pt x="40" y="164"/>
                </a:lnTo>
                <a:lnTo>
                  <a:pt x="40" y="164"/>
                </a:lnTo>
                <a:lnTo>
                  <a:pt x="37" y="165"/>
                </a:lnTo>
                <a:lnTo>
                  <a:pt x="36" y="167"/>
                </a:lnTo>
                <a:lnTo>
                  <a:pt x="34" y="170"/>
                </a:lnTo>
                <a:lnTo>
                  <a:pt x="32" y="171"/>
                </a:lnTo>
                <a:lnTo>
                  <a:pt x="32" y="171"/>
                </a:lnTo>
                <a:lnTo>
                  <a:pt x="27" y="172"/>
                </a:lnTo>
                <a:lnTo>
                  <a:pt x="24" y="174"/>
                </a:lnTo>
                <a:lnTo>
                  <a:pt x="23" y="177"/>
                </a:lnTo>
                <a:lnTo>
                  <a:pt x="23" y="180"/>
                </a:lnTo>
                <a:lnTo>
                  <a:pt x="23" y="180"/>
                </a:lnTo>
                <a:lnTo>
                  <a:pt x="22" y="182"/>
                </a:lnTo>
                <a:lnTo>
                  <a:pt x="19" y="185"/>
                </a:lnTo>
                <a:lnTo>
                  <a:pt x="12" y="185"/>
                </a:lnTo>
                <a:lnTo>
                  <a:pt x="12" y="185"/>
                </a:lnTo>
                <a:lnTo>
                  <a:pt x="9" y="187"/>
                </a:lnTo>
                <a:lnTo>
                  <a:pt x="7" y="190"/>
                </a:lnTo>
                <a:lnTo>
                  <a:pt x="6" y="194"/>
                </a:lnTo>
                <a:lnTo>
                  <a:pt x="5" y="195"/>
                </a:lnTo>
                <a:lnTo>
                  <a:pt x="5" y="195"/>
                </a:lnTo>
                <a:lnTo>
                  <a:pt x="3" y="198"/>
                </a:lnTo>
                <a:lnTo>
                  <a:pt x="2" y="199"/>
                </a:lnTo>
                <a:lnTo>
                  <a:pt x="5" y="205"/>
                </a:lnTo>
                <a:lnTo>
                  <a:pt x="5" y="205"/>
                </a:lnTo>
                <a:lnTo>
                  <a:pt x="6" y="208"/>
                </a:lnTo>
                <a:lnTo>
                  <a:pt x="6" y="211"/>
                </a:lnTo>
                <a:lnTo>
                  <a:pt x="6" y="214"/>
                </a:lnTo>
                <a:lnTo>
                  <a:pt x="6" y="217"/>
                </a:lnTo>
                <a:lnTo>
                  <a:pt x="6" y="217"/>
                </a:lnTo>
                <a:lnTo>
                  <a:pt x="10" y="224"/>
                </a:lnTo>
                <a:lnTo>
                  <a:pt x="10" y="228"/>
                </a:lnTo>
                <a:lnTo>
                  <a:pt x="9" y="234"/>
                </a:lnTo>
                <a:lnTo>
                  <a:pt x="9" y="234"/>
                </a:lnTo>
                <a:lnTo>
                  <a:pt x="5" y="246"/>
                </a:lnTo>
                <a:lnTo>
                  <a:pt x="5" y="249"/>
                </a:lnTo>
                <a:lnTo>
                  <a:pt x="5" y="251"/>
                </a:lnTo>
                <a:lnTo>
                  <a:pt x="5" y="251"/>
                </a:lnTo>
                <a:lnTo>
                  <a:pt x="5" y="251"/>
                </a:lnTo>
                <a:lnTo>
                  <a:pt x="7" y="252"/>
                </a:lnTo>
                <a:lnTo>
                  <a:pt x="12" y="254"/>
                </a:lnTo>
                <a:lnTo>
                  <a:pt x="16" y="256"/>
                </a:lnTo>
                <a:lnTo>
                  <a:pt x="20" y="256"/>
                </a:lnTo>
                <a:lnTo>
                  <a:pt x="20" y="256"/>
                </a:lnTo>
                <a:lnTo>
                  <a:pt x="23" y="258"/>
                </a:lnTo>
                <a:lnTo>
                  <a:pt x="24" y="259"/>
                </a:lnTo>
                <a:lnTo>
                  <a:pt x="27" y="262"/>
                </a:lnTo>
                <a:lnTo>
                  <a:pt x="30" y="262"/>
                </a:lnTo>
                <a:lnTo>
                  <a:pt x="30" y="262"/>
                </a:lnTo>
                <a:lnTo>
                  <a:pt x="33" y="262"/>
                </a:lnTo>
                <a:lnTo>
                  <a:pt x="36" y="264"/>
                </a:lnTo>
                <a:lnTo>
                  <a:pt x="40" y="265"/>
                </a:lnTo>
                <a:lnTo>
                  <a:pt x="47" y="266"/>
                </a:lnTo>
                <a:lnTo>
                  <a:pt x="47" y="266"/>
                </a:lnTo>
                <a:lnTo>
                  <a:pt x="59" y="264"/>
                </a:lnTo>
                <a:lnTo>
                  <a:pt x="73" y="259"/>
                </a:lnTo>
                <a:lnTo>
                  <a:pt x="87" y="256"/>
                </a:lnTo>
                <a:lnTo>
                  <a:pt x="97" y="255"/>
                </a:lnTo>
                <a:lnTo>
                  <a:pt x="97" y="255"/>
                </a:lnTo>
                <a:lnTo>
                  <a:pt x="106" y="254"/>
                </a:lnTo>
                <a:lnTo>
                  <a:pt x="111" y="252"/>
                </a:lnTo>
                <a:lnTo>
                  <a:pt x="111" y="252"/>
                </a:lnTo>
                <a:lnTo>
                  <a:pt x="120" y="244"/>
                </a:lnTo>
                <a:lnTo>
                  <a:pt x="120" y="244"/>
                </a:lnTo>
                <a:lnTo>
                  <a:pt x="125" y="238"/>
                </a:lnTo>
                <a:lnTo>
                  <a:pt x="133" y="234"/>
                </a:lnTo>
                <a:lnTo>
                  <a:pt x="140" y="229"/>
                </a:lnTo>
                <a:lnTo>
                  <a:pt x="144" y="224"/>
                </a:lnTo>
                <a:lnTo>
                  <a:pt x="144" y="22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88" name="Freeform 275">
            <a:extLst>
              <a:ext uri="{FF2B5EF4-FFF2-40B4-BE49-F238E27FC236}">
                <a16:creationId xmlns:a16="http://schemas.microsoft.com/office/drawing/2014/main" id="{2605871E-6EF4-1FB7-7201-4F84ECC71DDF}"/>
              </a:ext>
            </a:extLst>
          </p:cNvPr>
          <p:cNvSpPr>
            <a:spLocks/>
          </p:cNvSpPr>
          <p:nvPr userDrawn="1"/>
        </p:nvSpPr>
        <p:spPr bwMode="gray">
          <a:xfrm>
            <a:off x="5067493" y="2646276"/>
            <a:ext cx="438272" cy="353738"/>
          </a:xfrm>
          <a:custGeom>
            <a:avLst/>
            <a:gdLst/>
            <a:ahLst/>
            <a:cxnLst>
              <a:cxn ang="0">
                <a:pos x="173" y="54"/>
              </a:cxn>
              <a:cxn ang="0">
                <a:pos x="159" y="51"/>
              </a:cxn>
              <a:cxn ang="0">
                <a:pos x="135" y="33"/>
              </a:cxn>
              <a:cxn ang="0">
                <a:pos x="99" y="10"/>
              </a:cxn>
              <a:cxn ang="0">
                <a:pos x="83" y="2"/>
              </a:cxn>
              <a:cxn ang="0">
                <a:pos x="71" y="2"/>
              </a:cxn>
              <a:cxn ang="0">
                <a:pos x="61" y="5"/>
              </a:cxn>
              <a:cxn ang="0">
                <a:pos x="45" y="7"/>
              </a:cxn>
              <a:cxn ang="0">
                <a:pos x="37" y="16"/>
              </a:cxn>
              <a:cxn ang="0">
                <a:pos x="42" y="19"/>
              </a:cxn>
              <a:cxn ang="0">
                <a:pos x="51" y="29"/>
              </a:cxn>
              <a:cxn ang="0">
                <a:pos x="48" y="33"/>
              </a:cxn>
              <a:cxn ang="0">
                <a:pos x="41" y="37"/>
              </a:cxn>
              <a:cxn ang="0">
                <a:pos x="31" y="40"/>
              </a:cxn>
              <a:cxn ang="0">
                <a:pos x="29" y="46"/>
              </a:cxn>
              <a:cxn ang="0">
                <a:pos x="18" y="51"/>
              </a:cxn>
              <a:cxn ang="0">
                <a:pos x="1" y="44"/>
              </a:cxn>
              <a:cxn ang="0">
                <a:pos x="0" y="54"/>
              </a:cxn>
              <a:cxn ang="0">
                <a:pos x="2" y="71"/>
              </a:cxn>
              <a:cxn ang="0">
                <a:pos x="7" y="77"/>
              </a:cxn>
              <a:cxn ang="0">
                <a:pos x="29" y="107"/>
              </a:cxn>
              <a:cxn ang="0">
                <a:pos x="38" y="124"/>
              </a:cxn>
              <a:cxn ang="0">
                <a:pos x="45" y="137"/>
              </a:cxn>
              <a:cxn ang="0">
                <a:pos x="56" y="147"/>
              </a:cxn>
              <a:cxn ang="0">
                <a:pos x="65" y="160"/>
              </a:cxn>
              <a:cxn ang="0">
                <a:pos x="69" y="167"/>
              </a:cxn>
              <a:cxn ang="0">
                <a:pos x="71" y="185"/>
              </a:cxn>
              <a:cxn ang="0">
                <a:pos x="82" y="205"/>
              </a:cxn>
              <a:cxn ang="0">
                <a:pos x="93" y="214"/>
              </a:cxn>
              <a:cxn ang="0">
                <a:pos x="101" y="225"/>
              </a:cxn>
              <a:cxn ang="0">
                <a:pos x="115" y="251"/>
              </a:cxn>
              <a:cxn ang="0">
                <a:pos x="119" y="259"/>
              </a:cxn>
              <a:cxn ang="0">
                <a:pos x="126" y="272"/>
              </a:cxn>
              <a:cxn ang="0">
                <a:pos x="133" y="268"/>
              </a:cxn>
              <a:cxn ang="0">
                <a:pos x="133" y="259"/>
              </a:cxn>
              <a:cxn ang="0">
                <a:pos x="140" y="253"/>
              </a:cxn>
              <a:cxn ang="0">
                <a:pos x="145" y="253"/>
              </a:cxn>
              <a:cxn ang="0">
                <a:pos x="152" y="255"/>
              </a:cxn>
              <a:cxn ang="0">
                <a:pos x="172" y="256"/>
              </a:cxn>
              <a:cxn ang="0">
                <a:pos x="189" y="259"/>
              </a:cxn>
              <a:cxn ang="0">
                <a:pos x="197" y="262"/>
              </a:cxn>
              <a:cxn ang="0">
                <a:pos x="204" y="256"/>
              </a:cxn>
              <a:cxn ang="0">
                <a:pos x="217" y="243"/>
              </a:cxn>
              <a:cxn ang="0">
                <a:pos x="234" y="234"/>
              </a:cxn>
              <a:cxn ang="0">
                <a:pos x="261" y="232"/>
              </a:cxn>
              <a:cxn ang="0">
                <a:pos x="325" y="212"/>
              </a:cxn>
              <a:cxn ang="0">
                <a:pos x="332" y="195"/>
              </a:cxn>
              <a:cxn ang="0">
                <a:pos x="337" y="175"/>
              </a:cxn>
              <a:cxn ang="0">
                <a:pos x="328" y="167"/>
              </a:cxn>
              <a:cxn ang="0">
                <a:pos x="288" y="162"/>
              </a:cxn>
              <a:cxn ang="0">
                <a:pos x="278" y="151"/>
              </a:cxn>
              <a:cxn ang="0">
                <a:pos x="273" y="141"/>
              </a:cxn>
              <a:cxn ang="0">
                <a:pos x="266" y="135"/>
              </a:cxn>
              <a:cxn ang="0">
                <a:pos x="256" y="125"/>
              </a:cxn>
              <a:cxn ang="0">
                <a:pos x="250" y="117"/>
              </a:cxn>
              <a:cxn ang="0">
                <a:pos x="247" y="108"/>
              </a:cxn>
              <a:cxn ang="0">
                <a:pos x="247" y="100"/>
              </a:cxn>
              <a:cxn ang="0">
                <a:pos x="240" y="91"/>
              </a:cxn>
              <a:cxn ang="0">
                <a:pos x="224" y="71"/>
              </a:cxn>
              <a:cxn ang="0">
                <a:pos x="209" y="64"/>
              </a:cxn>
            </a:cxnLst>
            <a:rect l="0" t="0" r="r" b="b"/>
            <a:pathLst>
              <a:path w="337" h="272">
                <a:moveTo>
                  <a:pt x="202" y="57"/>
                </a:moveTo>
                <a:lnTo>
                  <a:pt x="202" y="57"/>
                </a:lnTo>
                <a:lnTo>
                  <a:pt x="173" y="54"/>
                </a:lnTo>
                <a:lnTo>
                  <a:pt x="173" y="54"/>
                </a:lnTo>
                <a:lnTo>
                  <a:pt x="163" y="53"/>
                </a:lnTo>
                <a:lnTo>
                  <a:pt x="159" y="51"/>
                </a:lnTo>
                <a:lnTo>
                  <a:pt x="153" y="49"/>
                </a:lnTo>
                <a:lnTo>
                  <a:pt x="153" y="49"/>
                </a:lnTo>
                <a:lnTo>
                  <a:pt x="135" y="33"/>
                </a:lnTo>
                <a:lnTo>
                  <a:pt x="115" y="20"/>
                </a:lnTo>
                <a:lnTo>
                  <a:pt x="115" y="20"/>
                </a:lnTo>
                <a:lnTo>
                  <a:pt x="99" y="10"/>
                </a:lnTo>
                <a:lnTo>
                  <a:pt x="91" y="5"/>
                </a:lnTo>
                <a:lnTo>
                  <a:pt x="83" y="2"/>
                </a:lnTo>
                <a:lnTo>
                  <a:pt x="83" y="2"/>
                </a:lnTo>
                <a:lnTo>
                  <a:pt x="78" y="0"/>
                </a:lnTo>
                <a:lnTo>
                  <a:pt x="71" y="2"/>
                </a:lnTo>
                <a:lnTo>
                  <a:pt x="71" y="2"/>
                </a:lnTo>
                <a:lnTo>
                  <a:pt x="66" y="2"/>
                </a:lnTo>
                <a:lnTo>
                  <a:pt x="64" y="3"/>
                </a:lnTo>
                <a:lnTo>
                  <a:pt x="61" y="5"/>
                </a:lnTo>
                <a:lnTo>
                  <a:pt x="54" y="6"/>
                </a:lnTo>
                <a:lnTo>
                  <a:pt x="54" y="6"/>
                </a:lnTo>
                <a:lnTo>
                  <a:pt x="45" y="7"/>
                </a:lnTo>
                <a:lnTo>
                  <a:pt x="39" y="12"/>
                </a:lnTo>
                <a:lnTo>
                  <a:pt x="37" y="14"/>
                </a:lnTo>
                <a:lnTo>
                  <a:pt x="37" y="16"/>
                </a:lnTo>
                <a:lnTo>
                  <a:pt x="38" y="16"/>
                </a:lnTo>
                <a:lnTo>
                  <a:pt x="38" y="16"/>
                </a:lnTo>
                <a:lnTo>
                  <a:pt x="42" y="19"/>
                </a:lnTo>
                <a:lnTo>
                  <a:pt x="46" y="23"/>
                </a:lnTo>
                <a:lnTo>
                  <a:pt x="49" y="27"/>
                </a:lnTo>
                <a:lnTo>
                  <a:pt x="51" y="29"/>
                </a:lnTo>
                <a:lnTo>
                  <a:pt x="49" y="30"/>
                </a:lnTo>
                <a:lnTo>
                  <a:pt x="49" y="30"/>
                </a:lnTo>
                <a:lnTo>
                  <a:pt x="48" y="33"/>
                </a:lnTo>
                <a:lnTo>
                  <a:pt x="45" y="34"/>
                </a:lnTo>
                <a:lnTo>
                  <a:pt x="44" y="37"/>
                </a:lnTo>
                <a:lnTo>
                  <a:pt x="41" y="37"/>
                </a:lnTo>
                <a:lnTo>
                  <a:pt x="41" y="37"/>
                </a:lnTo>
                <a:lnTo>
                  <a:pt x="34" y="39"/>
                </a:lnTo>
                <a:lnTo>
                  <a:pt x="31" y="40"/>
                </a:lnTo>
                <a:lnTo>
                  <a:pt x="31" y="43"/>
                </a:lnTo>
                <a:lnTo>
                  <a:pt x="31" y="43"/>
                </a:lnTo>
                <a:lnTo>
                  <a:pt x="29" y="46"/>
                </a:lnTo>
                <a:lnTo>
                  <a:pt x="27" y="49"/>
                </a:lnTo>
                <a:lnTo>
                  <a:pt x="22" y="51"/>
                </a:lnTo>
                <a:lnTo>
                  <a:pt x="18" y="51"/>
                </a:lnTo>
                <a:lnTo>
                  <a:pt x="18" y="51"/>
                </a:lnTo>
                <a:lnTo>
                  <a:pt x="11" y="49"/>
                </a:lnTo>
                <a:lnTo>
                  <a:pt x="1" y="44"/>
                </a:lnTo>
                <a:lnTo>
                  <a:pt x="0" y="50"/>
                </a:lnTo>
                <a:lnTo>
                  <a:pt x="0" y="54"/>
                </a:lnTo>
                <a:lnTo>
                  <a:pt x="0" y="54"/>
                </a:lnTo>
                <a:lnTo>
                  <a:pt x="0" y="64"/>
                </a:lnTo>
                <a:lnTo>
                  <a:pt x="1" y="69"/>
                </a:lnTo>
                <a:lnTo>
                  <a:pt x="2" y="71"/>
                </a:lnTo>
                <a:lnTo>
                  <a:pt x="2" y="71"/>
                </a:lnTo>
                <a:lnTo>
                  <a:pt x="4" y="74"/>
                </a:lnTo>
                <a:lnTo>
                  <a:pt x="7" y="77"/>
                </a:lnTo>
                <a:lnTo>
                  <a:pt x="15" y="88"/>
                </a:lnTo>
                <a:lnTo>
                  <a:pt x="15" y="88"/>
                </a:lnTo>
                <a:lnTo>
                  <a:pt x="29" y="107"/>
                </a:lnTo>
                <a:lnTo>
                  <a:pt x="35" y="117"/>
                </a:lnTo>
                <a:lnTo>
                  <a:pt x="38" y="124"/>
                </a:lnTo>
                <a:lnTo>
                  <a:pt x="38" y="124"/>
                </a:lnTo>
                <a:lnTo>
                  <a:pt x="39" y="128"/>
                </a:lnTo>
                <a:lnTo>
                  <a:pt x="41" y="133"/>
                </a:lnTo>
                <a:lnTo>
                  <a:pt x="45" y="137"/>
                </a:lnTo>
                <a:lnTo>
                  <a:pt x="51" y="141"/>
                </a:lnTo>
                <a:lnTo>
                  <a:pt x="51" y="141"/>
                </a:lnTo>
                <a:lnTo>
                  <a:pt x="56" y="147"/>
                </a:lnTo>
                <a:lnTo>
                  <a:pt x="59" y="151"/>
                </a:lnTo>
                <a:lnTo>
                  <a:pt x="62" y="157"/>
                </a:lnTo>
                <a:lnTo>
                  <a:pt x="65" y="160"/>
                </a:lnTo>
                <a:lnTo>
                  <a:pt x="65" y="160"/>
                </a:lnTo>
                <a:lnTo>
                  <a:pt x="68" y="162"/>
                </a:lnTo>
                <a:lnTo>
                  <a:pt x="69" y="167"/>
                </a:lnTo>
                <a:lnTo>
                  <a:pt x="69" y="178"/>
                </a:lnTo>
                <a:lnTo>
                  <a:pt x="69" y="178"/>
                </a:lnTo>
                <a:lnTo>
                  <a:pt x="71" y="185"/>
                </a:lnTo>
                <a:lnTo>
                  <a:pt x="72" y="192"/>
                </a:lnTo>
                <a:lnTo>
                  <a:pt x="76" y="199"/>
                </a:lnTo>
                <a:lnTo>
                  <a:pt x="82" y="205"/>
                </a:lnTo>
                <a:lnTo>
                  <a:pt x="82" y="205"/>
                </a:lnTo>
                <a:lnTo>
                  <a:pt x="88" y="208"/>
                </a:lnTo>
                <a:lnTo>
                  <a:pt x="93" y="214"/>
                </a:lnTo>
                <a:lnTo>
                  <a:pt x="98" y="219"/>
                </a:lnTo>
                <a:lnTo>
                  <a:pt x="101" y="225"/>
                </a:lnTo>
                <a:lnTo>
                  <a:pt x="101" y="225"/>
                </a:lnTo>
                <a:lnTo>
                  <a:pt x="108" y="239"/>
                </a:lnTo>
                <a:lnTo>
                  <a:pt x="115" y="251"/>
                </a:lnTo>
                <a:lnTo>
                  <a:pt x="115" y="251"/>
                </a:lnTo>
                <a:lnTo>
                  <a:pt x="118" y="253"/>
                </a:lnTo>
                <a:lnTo>
                  <a:pt x="119" y="256"/>
                </a:lnTo>
                <a:lnTo>
                  <a:pt x="119" y="259"/>
                </a:lnTo>
                <a:lnTo>
                  <a:pt x="120" y="262"/>
                </a:lnTo>
                <a:lnTo>
                  <a:pt x="120" y="262"/>
                </a:lnTo>
                <a:lnTo>
                  <a:pt x="126" y="272"/>
                </a:lnTo>
                <a:lnTo>
                  <a:pt x="126" y="272"/>
                </a:lnTo>
                <a:lnTo>
                  <a:pt x="133" y="268"/>
                </a:lnTo>
                <a:lnTo>
                  <a:pt x="133" y="268"/>
                </a:lnTo>
                <a:lnTo>
                  <a:pt x="133" y="263"/>
                </a:lnTo>
                <a:lnTo>
                  <a:pt x="133" y="261"/>
                </a:lnTo>
                <a:lnTo>
                  <a:pt x="133" y="259"/>
                </a:lnTo>
                <a:lnTo>
                  <a:pt x="133" y="259"/>
                </a:lnTo>
                <a:lnTo>
                  <a:pt x="136" y="255"/>
                </a:lnTo>
                <a:lnTo>
                  <a:pt x="140" y="253"/>
                </a:lnTo>
                <a:lnTo>
                  <a:pt x="140" y="253"/>
                </a:lnTo>
                <a:lnTo>
                  <a:pt x="142" y="253"/>
                </a:lnTo>
                <a:lnTo>
                  <a:pt x="145" y="253"/>
                </a:lnTo>
                <a:lnTo>
                  <a:pt x="147" y="255"/>
                </a:lnTo>
                <a:lnTo>
                  <a:pt x="152" y="255"/>
                </a:lnTo>
                <a:lnTo>
                  <a:pt x="152" y="255"/>
                </a:lnTo>
                <a:lnTo>
                  <a:pt x="163" y="255"/>
                </a:lnTo>
                <a:lnTo>
                  <a:pt x="172" y="256"/>
                </a:lnTo>
                <a:lnTo>
                  <a:pt x="172" y="256"/>
                </a:lnTo>
                <a:lnTo>
                  <a:pt x="175" y="258"/>
                </a:lnTo>
                <a:lnTo>
                  <a:pt x="182" y="258"/>
                </a:lnTo>
                <a:lnTo>
                  <a:pt x="189" y="259"/>
                </a:lnTo>
                <a:lnTo>
                  <a:pt x="194" y="261"/>
                </a:lnTo>
                <a:lnTo>
                  <a:pt x="194" y="261"/>
                </a:lnTo>
                <a:lnTo>
                  <a:pt x="197" y="262"/>
                </a:lnTo>
                <a:lnTo>
                  <a:pt x="200" y="262"/>
                </a:lnTo>
                <a:lnTo>
                  <a:pt x="203" y="261"/>
                </a:lnTo>
                <a:lnTo>
                  <a:pt x="204" y="256"/>
                </a:lnTo>
                <a:lnTo>
                  <a:pt x="204" y="256"/>
                </a:lnTo>
                <a:lnTo>
                  <a:pt x="210" y="251"/>
                </a:lnTo>
                <a:lnTo>
                  <a:pt x="217" y="243"/>
                </a:lnTo>
                <a:lnTo>
                  <a:pt x="230" y="235"/>
                </a:lnTo>
                <a:lnTo>
                  <a:pt x="230" y="235"/>
                </a:lnTo>
                <a:lnTo>
                  <a:pt x="234" y="234"/>
                </a:lnTo>
                <a:lnTo>
                  <a:pt x="243" y="234"/>
                </a:lnTo>
                <a:lnTo>
                  <a:pt x="253" y="234"/>
                </a:lnTo>
                <a:lnTo>
                  <a:pt x="261" y="232"/>
                </a:lnTo>
                <a:lnTo>
                  <a:pt x="261" y="232"/>
                </a:lnTo>
                <a:lnTo>
                  <a:pt x="295" y="222"/>
                </a:lnTo>
                <a:lnTo>
                  <a:pt x="325" y="212"/>
                </a:lnTo>
                <a:lnTo>
                  <a:pt x="325" y="212"/>
                </a:lnTo>
                <a:lnTo>
                  <a:pt x="328" y="207"/>
                </a:lnTo>
                <a:lnTo>
                  <a:pt x="332" y="195"/>
                </a:lnTo>
                <a:lnTo>
                  <a:pt x="337" y="178"/>
                </a:lnTo>
                <a:lnTo>
                  <a:pt x="337" y="178"/>
                </a:lnTo>
                <a:lnTo>
                  <a:pt x="337" y="175"/>
                </a:lnTo>
                <a:lnTo>
                  <a:pt x="334" y="171"/>
                </a:lnTo>
                <a:lnTo>
                  <a:pt x="331" y="168"/>
                </a:lnTo>
                <a:lnTo>
                  <a:pt x="328" y="167"/>
                </a:lnTo>
                <a:lnTo>
                  <a:pt x="328" y="167"/>
                </a:lnTo>
                <a:lnTo>
                  <a:pt x="308" y="165"/>
                </a:lnTo>
                <a:lnTo>
                  <a:pt x="288" y="162"/>
                </a:lnTo>
                <a:lnTo>
                  <a:pt x="288" y="162"/>
                </a:lnTo>
                <a:lnTo>
                  <a:pt x="283" y="157"/>
                </a:lnTo>
                <a:lnTo>
                  <a:pt x="278" y="151"/>
                </a:lnTo>
                <a:lnTo>
                  <a:pt x="276" y="145"/>
                </a:lnTo>
                <a:lnTo>
                  <a:pt x="276" y="145"/>
                </a:lnTo>
                <a:lnTo>
                  <a:pt x="273" y="141"/>
                </a:lnTo>
                <a:lnTo>
                  <a:pt x="270" y="135"/>
                </a:lnTo>
                <a:lnTo>
                  <a:pt x="270" y="135"/>
                </a:lnTo>
                <a:lnTo>
                  <a:pt x="266" y="135"/>
                </a:lnTo>
                <a:lnTo>
                  <a:pt x="263" y="134"/>
                </a:lnTo>
                <a:lnTo>
                  <a:pt x="258" y="131"/>
                </a:lnTo>
                <a:lnTo>
                  <a:pt x="256" y="125"/>
                </a:lnTo>
                <a:lnTo>
                  <a:pt x="256" y="125"/>
                </a:lnTo>
                <a:lnTo>
                  <a:pt x="253" y="123"/>
                </a:lnTo>
                <a:lnTo>
                  <a:pt x="250" y="117"/>
                </a:lnTo>
                <a:lnTo>
                  <a:pt x="247" y="113"/>
                </a:lnTo>
                <a:lnTo>
                  <a:pt x="247" y="110"/>
                </a:lnTo>
                <a:lnTo>
                  <a:pt x="247" y="108"/>
                </a:lnTo>
                <a:lnTo>
                  <a:pt x="247" y="108"/>
                </a:lnTo>
                <a:lnTo>
                  <a:pt x="248" y="104"/>
                </a:lnTo>
                <a:lnTo>
                  <a:pt x="247" y="100"/>
                </a:lnTo>
                <a:lnTo>
                  <a:pt x="244" y="96"/>
                </a:lnTo>
                <a:lnTo>
                  <a:pt x="240" y="91"/>
                </a:lnTo>
                <a:lnTo>
                  <a:pt x="240" y="91"/>
                </a:lnTo>
                <a:lnTo>
                  <a:pt x="230" y="81"/>
                </a:lnTo>
                <a:lnTo>
                  <a:pt x="226" y="77"/>
                </a:lnTo>
                <a:lnTo>
                  <a:pt x="224" y="71"/>
                </a:lnTo>
                <a:lnTo>
                  <a:pt x="224" y="71"/>
                </a:lnTo>
                <a:lnTo>
                  <a:pt x="221" y="66"/>
                </a:lnTo>
                <a:lnTo>
                  <a:pt x="209" y="64"/>
                </a:lnTo>
                <a:lnTo>
                  <a:pt x="202" y="57"/>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89" name="Freeform 276">
            <a:extLst>
              <a:ext uri="{FF2B5EF4-FFF2-40B4-BE49-F238E27FC236}">
                <a16:creationId xmlns:a16="http://schemas.microsoft.com/office/drawing/2014/main" id="{E040F357-3514-D499-649E-27F75F423EBB}"/>
              </a:ext>
            </a:extLst>
          </p:cNvPr>
          <p:cNvSpPr>
            <a:spLocks/>
          </p:cNvSpPr>
          <p:nvPr userDrawn="1"/>
        </p:nvSpPr>
        <p:spPr bwMode="gray">
          <a:xfrm>
            <a:off x="5427734" y="2808840"/>
            <a:ext cx="166465" cy="187274"/>
          </a:xfrm>
          <a:custGeom>
            <a:avLst/>
            <a:gdLst/>
            <a:ahLst/>
            <a:cxnLst>
              <a:cxn ang="0">
                <a:pos x="64" y="16"/>
              </a:cxn>
              <a:cxn ang="0">
                <a:pos x="48" y="42"/>
              </a:cxn>
              <a:cxn ang="0">
                <a:pos x="51" y="42"/>
              </a:cxn>
              <a:cxn ang="0">
                <a:pos x="54" y="43"/>
              </a:cxn>
              <a:cxn ang="0">
                <a:pos x="60" y="50"/>
              </a:cxn>
              <a:cxn ang="0">
                <a:pos x="60" y="53"/>
              </a:cxn>
              <a:cxn ang="0">
                <a:pos x="51" y="82"/>
              </a:cxn>
              <a:cxn ang="0">
                <a:pos x="48" y="87"/>
              </a:cxn>
              <a:cxn ang="0">
                <a:pos x="0" y="103"/>
              </a:cxn>
              <a:cxn ang="0">
                <a:pos x="20" y="144"/>
              </a:cxn>
              <a:cxn ang="0">
                <a:pos x="24" y="141"/>
              </a:cxn>
              <a:cxn ang="0">
                <a:pos x="30" y="140"/>
              </a:cxn>
              <a:cxn ang="0">
                <a:pos x="44" y="138"/>
              </a:cxn>
              <a:cxn ang="0">
                <a:pos x="50" y="137"/>
              </a:cxn>
              <a:cxn ang="0">
                <a:pos x="53" y="136"/>
              </a:cxn>
              <a:cxn ang="0">
                <a:pos x="53" y="128"/>
              </a:cxn>
              <a:cxn ang="0">
                <a:pos x="55" y="124"/>
              </a:cxn>
              <a:cxn ang="0">
                <a:pos x="65" y="123"/>
              </a:cxn>
              <a:cxn ang="0">
                <a:pos x="74" y="121"/>
              </a:cxn>
              <a:cxn ang="0">
                <a:pos x="75" y="120"/>
              </a:cxn>
              <a:cxn ang="0">
                <a:pos x="80" y="110"/>
              </a:cxn>
              <a:cxn ang="0">
                <a:pos x="84" y="107"/>
              </a:cxn>
              <a:cxn ang="0">
                <a:pos x="94" y="104"/>
              </a:cxn>
              <a:cxn ang="0">
                <a:pos x="94" y="101"/>
              </a:cxn>
              <a:cxn ang="0">
                <a:pos x="94" y="90"/>
              </a:cxn>
              <a:cxn ang="0">
                <a:pos x="98" y="82"/>
              </a:cxn>
              <a:cxn ang="0">
                <a:pos x="100" y="80"/>
              </a:cxn>
              <a:cxn ang="0">
                <a:pos x="108" y="77"/>
              </a:cxn>
              <a:cxn ang="0">
                <a:pos x="112" y="72"/>
              </a:cxn>
              <a:cxn ang="0">
                <a:pos x="114" y="69"/>
              </a:cxn>
              <a:cxn ang="0">
                <a:pos x="125" y="53"/>
              </a:cxn>
              <a:cxn ang="0">
                <a:pos x="128" y="49"/>
              </a:cxn>
              <a:cxn ang="0">
                <a:pos x="127" y="45"/>
              </a:cxn>
              <a:cxn ang="0">
                <a:pos x="125" y="45"/>
              </a:cxn>
              <a:cxn ang="0">
                <a:pos x="117" y="36"/>
              </a:cxn>
              <a:cxn ang="0">
                <a:pos x="111" y="27"/>
              </a:cxn>
              <a:cxn ang="0">
                <a:pos x="101" y="25"/>
              </a:cxn>
              <a:cxn ang="0">
                <a:pos x="88" y="20"/>
              </a:cxn>
              <a:cxn ang="0">
                <a:pos x="84" y="17"/>
              </a:cxn>
              <a:cxn ang="0">
                <a:pos x="78" y="10"/>
              </a:cxn>
              <a:cxn ang="0">
                <a:pos x="70" y="3"/>
              </a:cxn>
            </a:cxnLst>
            <a:rect l="0" t="0" r="r" b="b"/>
            <a:pathLst>
              <a:path w="128" h="144">
                <a:moveTo>
                  <a:pt x="64" y="3"/>
                </a:moveTo>
                <a:lnTo>
                  <a:pt x="64" y="16"/>
                </a:lnTo>
                <a:lnTo>
                  <a:pt x="54" y="29"/>
                </a:lnTo>
                <a:lnTo>
                  <a:pt x="48" y="42"/>
                </a:lnTo>
                <a:lnTo>
                  <a:pt x="48" y="42"/>
                </a:lnTo>
                <a:lnTo>
                  <a:pt x="51" y="42"/>
                </a:lnTo>
                <a:lnTo>
                  <a:pt x="51" y="42"/>
                </a:lnTo>
                <a:lnTo>
                  <a:pt x="54" y="43"/>
                </a:lnTo>
                <a:lnTo>
                  <a:pt x="57" y="46"/>
                </a:lnTo>
                <a:lnTo>
                  <a:pt x="60" y="50"/>
                </a:lnTo>
                <a:lnTo>
                  <a:pt x="60" y="53"/>
                </a:lnTo>
                <a:lnTo>
                  <a:pt x="60" y="53"/>
                </a:lnTo>
                <a:lnTo>
                  <a:pt x="55" y="70"/>
                </a:lnTo>
                <a:lnTo>
                  <a:pt x="51" y="82"/>
                </a:lnTo>
                <a:lnTo>
                  <a:pt x="48" y="87"/>
                </a:lnTo>
                <a:lnTo>
                  <a:pt x="48" y="87"/>
                </a:lnTo>
                <a:lnTo>
                  <a:pt x="31" y="93"/>
                </a:lnTo>
                <a:lnTo>
                  <a:pt x="0" y="103"/>
                </a:lnTo>
                <a:lnTo>
                  <a:pt x="0" y="103"/>
                </a:lnTo>
                <a:lnTo>
                  <a:pt x="20" y="144"/>
                </a:lnTo>
                <a:lnTo>
                  <a:pt x="20" y="144"/>
                </a:lnTo>
                <a:lnTo>
                  <a:pt x="24" y="141"/>
                </a:lnTo>
                <a:lnTo>
                  <a:pt x="24" y="141"/>
                </a:lnTo>
                <a:lnTo>
                  <a:pt x="30" y="140"/>
                </a:lnTo>
                <a:lnTo>
                  <a:pt x="37" y="138"/>
                </a:lnTo>
                <a:lnTo>
                  <a:pt x="44" y="138"/>
                </a:lnTo>
                <a:lnTo>
                  <a:pt x="50" y="137"/>
                </a:lnTo>
                <a:lnTo>
                  <a:pt x="50" y="137"/>
                </a:lnTo>
                <a:lnTo>
                  <a:pt x="51" y="137"/>
                </a:lnTo>
                <a:lnTo>
                  <a:pt x="53" y="136"/>
                </a:lnTo>
                <a:lnTo>
                  <a:pt x="53" y="133"/>
                </a:lnTo>
                <a:lnTo>
                  <a:pt x="53" y="128"/>
                </a:lnTo>
                <a:lnTo>
                  <a:pt x="55" y="124"/>
                </a:lnTo>
                <a:lnTo>
                  <a:pt x="55" y="124"/>
                </a:lnTo>
                <a:lnTo>
                  <a:pt x="61" y="123"/>
                </a:lnTo>
                <a:lnTo>
                  <a:pt x="65" y="123"/>
                </a:lnTo>
                <a:lnTo>
                  <a:pt x="70" y="123"/>
                </a:lnTo>
                <a:lnTo>
                  <a:pt x="74" y="121"/>
                </a:lnTo>
                <a:lnTo>
                  <a:pt x="74" y="121"/>
                </a:lnTo>
                <a:lnTo>
                  <a:pt x="75" y="120"/>
                </a:lnTo>
                <a:lnTo>
                  <a:pt x="78" y="114"/>
                </a:lnTo>
                <a:lnTo>
                  <a:pt x="80" y="110"/>
                </a:lnTo>
                <a:lnTo>
                  <a:pt x="84" y="107"/>
                </a:lnTo>
                <a:lnTo>
                  <a:pt x="84" y="107"/>
                </a:lnTo>
                <a:lnTo>
                  <a:pt x="91" y="106"/>
                </a:lnTo>
                <a:lnTo>
                  <a:pt x="94" y="104"/>
                </a:lnTo>
                <a:lnTo>
                  <a:pt x="94" y="101"/>
                </a:lnTo>
                <a:lnTo>
                  <a:pt x="94" y="101"/>
                </a:lnTo>
                <a:lnTo>
                  <a:pt x="94" y="97"/>
                </a:lnTo>
                <a:lnTo>
                  <a:pt x="94" y="90"/>
                </a:lnTo>
                <a:lnTo>
                  <a:pt x="97" y="83"/>
                </a:lnTo>
                <a:lnTo>
                  <a:pt x="98" y="82"/>
                </a:lnTo>
                <a:lnTo>
                  <a:pt x="100" y="80"/>
                </a:lnTo>
                <a:lnTo>
                  <a:pt x="100" y="80"/>
                </a:lnTo>
                <a:lnTo>
                  <a:pt x="104" y="79"/>
                </a:lnTo>
                <a:lnTo>
                  <a:pt x="108" y="77"/>
                </a:lnTo>
                <a:lnTo>
                  <a:pt x="111" y="74"/>
                </a:lnTo>
                <a:lnTo>
                  <a:pt x="112" y="72"/>
                </a:lnTo>
                <a:lnTo>
                  <a:pt x="112" y="72"/>
                </a:lnTo>
                <a:lnTo>
                  <a:pt x="114" y="69"/>
                </a:lnTo>
                <a:lnTo>
                  <a:pt x="118" y="63"/>
                </a:lnTo>
                <a:lnTo>
                  <a:pt x="125" y="53"/>
                </a:lnTo>
                <a:lnTo>
                  <a:pt x="125" y="53"/>
                </a:lnTo>
                <a:lnTo>
                  <a:pt x="128" y="49"/>
                </a:lnTo>
                <a:lnTo>
                  <a:pt x="128" y="46"/>
                </a:lnTo>
                <a:lnTo>
                  <a:pt x="127" y="45"/>
                </a:lnTo>
                <a:lnTo>
                  <a:pt x="125" y="45"/>
                </a:lnTo>
                <a:lnTo>
                  <a:pt x="125" y="45"/>
                </a:lnTo>
                <a:lnTo>
                  <a:pt x="121" y="42"/>
                </a:lnTo>
                <a:lnTo>
                  <a:pt x="117" y="36"/>
                </a:lnTo>
                <a:lnTo>
                  <a:pt x="111" y="27"/>
                </a:lnTo>
                <a:lnTo>
                  <a:pt x="111" y="27"/>
                </a:lnTo>
                <a:lnTo>
                  <a:pt x="108" y="25"/>
                </a:lnTo>
                <a:lnTo>
                  <a:pt x="101" y="25"/>
                </a:lnTo>
                <a:lnTo>
                  <a:pt x="92" y="22"/>
                </a:lnTo>
                <a:lnTo>
                  <a:pt x="88" y="20"/>
                </a:lnTo>
                <a:lnTo>
                  <a:pt x="84" y="17"/>
                </a:lnTo>
                <a:lnTo>
                  <a:pt x="84" y="17"/>
                </a:lnTo>
                <a:lnTo>
                  <a:pt x="81" y="13"/>
                </a:lnTo>
                <a:lnTo>
                  <a:pt x="78" y="10"/>
                </a:lnTo>
                <a:lnTo>
                  <a:pt x="75" y="0"/>
                </a:lnTo>
                <a:lnTo>
                  <a:pt x="70" y="3"/>
                </a:lnTo>
                <a:lnTo>
                  <a:pt x="64" y="3"/>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90" name="Freeform 277">
            <a:extLst>
              <a:ext uri="{FF2B5EF4-FFF2-40B4-BE49-F238E27FC236}">
                <a16:creationId xmlns:a16="http://schemas.microsoft.com/office/drawing/2014/main" id="{E5AA65AE-D11D-9D93-6E2D-D5A7EA9DA52F}"/>
              </a:ext>
            </a:extLst>
          </p:cNvPr>
          <p:cNvSpPr>
            <a:spLocks/>
          </p:cNvSpPr>
          <p:nvPr userDrawn="1"/>
        </p:nvSpPr>
        <p:spPr bwMode="gray">
          <a:xfrm>
            <a:off x="5400423" y="2789332"/>
            <a:ext cx="22109" cy="32513"/>
          </a:xfrm>
          <a:custGeom>
            <a:avLst/>
            <a:gdLst/>
            <a:ahLst/>
            <a:cxnLst>
              <a:cxn ang="0">
                <a:pos x="14" y="25"/>
              </a:cxn>
              <a:cxn ang="0">
                <a:pos x="14" y="25"/>
              </a:cxn>
              <a:cxn ang="0">
                <a:pos x="14" y="23"/>
              </a:cxn>
              <a:cxn ang="0">
                <a:pos x="14" y="20"/>
              </a:cxn>
              <a:cxn ang="0">
                <a:pos x="14" y="20"/>
              </a:cxn>
              <a:cxn ang="0">
                <a:pos x="15" y="15"/>
              </a:cxn>
              <a:cxn ang="0">
                <a:pos x="17" y="8"/>
              </a:cxn>
              <a:cxn ang="0">
                <a:pos x="15" y="3"/>
              </a:cxn>
              <a:cxn ang="0">
                <a:pos x="14" y="1"/>
              </a:cxn>
              <a:cxn ang="0">
                <a:pos x="12" y="0"/>
              </a:cxn>
              <a:cxn ang="0">
                <a:pos x="12" y="0"/>
              </a:cxn>
              <a:cxn ang="0">
                <a:pos x="10" y="0"/>
              </a:cxn>
              <a:cxn ang="0">
                <a:pos x="7" y="1"/>
              </a:cxn>
              <a:cxn ang="0">
                <a:pos x="4" y="5"/>
              </a:cxn>
              <a:cxn ang="0">
                <a:pos x="2" y="11"/>
              </a:cxn>
              <a:cxn ang="0">
                <a:pos x="1" y="15"/>
              </a:cxn>
              <a:cxn ang="0">
                <a:pos x="1" y="15"/>
              </a:cxn>
              <a:cxn ang="0">
                <a:pos x="1" y="15"/>
              </a:cxn>
              <a:cxn ang="0">
                <a:pos x="0" y="15"/>
              </a:cxn>
              <a:cxn ang="0">
                <a:pos x="0" y="15"/>
              </a:cxn>
              <a:cxn ang="0">
                <a:pos x="2" y="21"/>
              </a:cxn>
              <a:cxn ang="0">
                <a:pos x="7" y="24"/>
              </a:cxn>
              <a:cxn ang="0">
                <a:pos x="10" y="25"/>
              </a:cxn>
              <a:cxn ang="0">
                <a:pos x="14" y="25"/>
              </a:cxn>
              <a:cxn ang="0">
                <a:pos x="14" y="25"/>
              </a:cxn>
            </a:cxnLst>
            <a:rect l="0" t="0" r="r" b="b"/>
            <a:pathLst>
              <a:path w="17" h="25">
                <a:moveTo>
                  <a:pt x="14" y="25"/>
                </a:moveTo>
                <a:lnTo>
                  <a:pt x="14" y="25"/>
                </a:lnTo>
                <a:lnTo>
                  <a:pt x="14" y="23"/>
                </a:lnTo>
                <a:lnTo>
                  <a:pt x="14" y="20"/>
                </a:lnTo>
                <a:lnTo>
                  <a:pt x="14" y="20"/>
                </a:lnTo>
                <a:lnTo>
                  <a:pt x="15" y="15"/>
                </a:lnTo>
                <a:lnTo>
                  <a:pt x="17" y="8"/>
                </a:lnTo>
                <a:lnTo>
                  <a:pt x="15" y="3"/>
                </a:lnTo>
                <a:lnTo>
                  <a:pt x="14" y="1"/>
                </a:lnTo>
                <a:lnTo>
                  <a:pt x="12" y="0"/>
                </a:lnTo>
                <a:lnTo>
                  <a:pt x="12" y="0"/>
                </a:lnTo>
                <a:lnTo>
                  <a:pt x="10" y="0"/>
                </a:lnTo>
                <a:lnTo>
                  <a:pt x="7" y="1"/>
                </a:lnTo>
                <a:lnTo>
                  <a:pt x="4" y="5"/>
                </a:lnTo>
                <a:lnTo>
                  <a:pt x="2" y="11"/>
                </a:lnTo>
                <a:lnTo>
                  <a:pt x="1" y="15"/>
                </a:lnTo>
                <a:lnTo>
                  <a:pt x="1" y="15"/>
                </a:lnTo>
                <a:lnTo>
                  <a:pt x="1" y="15"/>
                </a:lnTo>
                <a:lnTo>
                  <a:pt x="0" y="15"/>
                </a:lnTo>
                <a:lnTo>
                  <a:pt x="0" y="15"/>
                </a:lnTo>
                <a:lnTo>
                  <a:pt x="2" y="21"/>
                </a:lnTo>
                <a:lnTo>
                  <a:pt x="7" y="24"/>
                </a:lnTo>
                <a:lnTo>
                  <a:pt x="10" y="25"/>
                </a:lnTo>
                <a:lnTo>
                  <a:pt x="14" y="25"/>
                </a:lnTo>
                <a:lnTo>
                  <a:pt x="14" y="25"/>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91" name="Freeform 278">
            <a:extLst>
              <a:ext uri="{FF2B5EF4-FFF2-40B4-BE49-F238E27FC236}">
                <a16:creationId xmlns:a16="http://schemas.microsoft.com/office/drawing/2014/main" id="{AE4E3913-DA93-3E3E-0238-5228EA265338}"/>
              </a:ext>
            </a:extLst>
          </p:cNvPr>
          <p:cNvSpPr>
            <a:spLocks/>
          </p:cNvSpPr>
          <p:nvPr userDrawn="1"/>
        </p:nvSpPr>
        <p:spPr bwMode="gray">
          <a:xfrm>
            <a:off x="5426434" y="2784129"/>
            <a:ext cx="98839" cy="79332"/>
          </a:xfrm>
          <a:custGeom>
            <a:avLst/>
            <a:gdLst/>
            <a:ahLst/>
            <a:cxnLst>
              <a:cxn ang="0">
                <a:pos x="12" y="56"/>
              </a:cxn>
              <a:cxn ang="0">
                <a:pos x="12" y="56"/>
              </a:cxn>
              <a:cxn ang="0">
                <a:pos x="28" y="59"/>
              </a:cxn>
              <a:cxn ang="0">
                <a:pos x="49" y="61"/>
              </a:cxn>
              <a:cxn ang="0">
                <a:pos x="55" y="48"/>
              </a:cxn>
              <a:cxn ang="0">
                <a:pos x="65" y="35"/>
              </a:cxn>
              <a:cxn ang="0">
                <a:pos x="65" y="22"/>
              </a:cxn>
              <a:cxn ang="0">
                <a:pos x="71" y="22"/>
              </a:cxn>
              <a:cxn ang="0">
                <a:pos x="76" y="19"/>
              </a:cxn>
              <a:cxn ang="0">
                <a:pos x="76" y="19"/>
              </a:cxn>
              <a:cxn ang="0">
                <a:pos x="73" y="5"/>
              </a:cxn>
              <a:cxn ang="0">
                <a:pos x="73" y="1"/>
              </a:cxn>
              <a:cxn ang="0">
                <a:pos x="72" y="0"/>
              </a:cxn>
              <a:cxn ang="0">
                <a:pos x="72" y="0"/>
              </a:cxn>
              <a:cxn ang="0">
                <a:pos x="69" y="1"/>
              </a:cxn>
              <a:cxn ang="0">
                <a:pos x="64" y="7"/>
              </a:cxn>
              <a:cxn ang="0">
                <a:pos x="58" y="14"/>
              </a:cxn>
              <a:cxn ang="0">
                <a:pos x="54" y="21"/>
              </a:cxn>
              <a:cxn ang="0">
                <a:pos x="54" y="21"/>
              </a:cxn>
              <a:cxn ang="0">
                <a:pos x="48" y="27"/>
              </a:cxn>
              <a:cxn ang="0">
                <a:pos x="41" y="32"/>
              </a:cxn>
              <a:cxn ang="0">
                <a:pos x="32" y="35"/>
              </a:cxn>
              <a:cxn ang="0">
                <a:pos x="22" y="35"/>
              </a:cxn>
              <a:cxn ang="0">
                <a:pos x="22" y="35"/>
              </a:cxn>
              <a:cxn ang="0">
                <a:pos x="15" y="35"/>
              </a:cxn>
              <a:cxn ang="0">
                <a:pos x="9" y="36"/>
              </a:cxn>
              <a:cxn ang="0">
                <a:pos x="4" y="39"/>
              </a:cxn>
              <a:cxn ang="0">
                <a:pos x="4" y="39"/>
              </a:cxn>
              <a:cxn ang="0">
                <a:pos x="2" y="41"/>
              </a:cxn>
              <a:cxn ang="0">
                <a:pos x="0" y="39"/>
              </a:cxn>
              <a:cxn ang="0">
                <a:pos x="0" y="39"/>
              </a:cxn>
              <a:cxn ang="0">
                <a:pos x="2" y="45"/>
              </a:cxn>
              <a:cxn ang="0">
                <a:pos x="7" y="51"/>
              </a:cxn>
              <a:cxn ang="0">
                <a:pos x="12" y="56"/>
              </a:cxn>
              <a:cxn ang="0">
                <a:pos x="12" y="56"/>
              </a:cxn>
            </a:cxnLst>
            <a:rect l="0" t="0" r="r" b="b"/>
            <a:pathLst>
              <a:path w="76" h="61">
                <a:moveTo>
                  <a:pt x="12" y="56"/>
                </a:moveTo>
                <a:lnTo>
                  <a:pt x="12" y="56"/>
                </a:lnTo>
                <a:lnTo>
                  <a:pt x="28" y="59"/>
                </a:lnTo>
                <a:lnTo>
                  <a:pt x="49" y="61"/>
                </a:lnTo>
                <a:lnTo>
                  <a:pt x="55" y="48"/>
                </a:lnTo>
                <a:lnTo>
                  <a:pt x="65" y="35"/>
                </a:lnTo>
                <a:lnTo>
                  <a:pt x="65" y="22"/>
                </a:lnTo>
                <a:lnTo>
                  <a:pt x="71" y="22"/>
                </a:lnTo>
                <a:lnTo>
                  <a:pt x="76" y="19"/>
                </a:lnTo>
                <a:lnTo>
                  <a:pt x="76" y="19"/>
                </a:lnTo>
                <a:lnTo>
                  <a:pt x="73" y="5"/>
                </a:lnTo>
                <a:lnTo>
                  <a:pt x="73" y="1"/>
                </a:lnTo>
                <a:lnTo>
                  <a:pt x="72" y="0"/>
                </a:lnTo>
                <a:lnTo>
                  <a:pt x="72" y="0"/>
                </a:lnTo>
                <a:lnTo>
                  <a:pt x="69" y="1"/>
                </a:lnTo>
                <a:lnTo>
                  <a:pt x="64" y="7"/>
                </a:lnTo>
                <a:lnTo>
                  <a:pt x="58" y="14"/>
                </a:lnTo>
                <a:lnTo>
                  <a:pt x="54" y="21"/>
                </a:lnTo>
                <a:lnTo>
                  <a:pt x="54" y="21"/>
                </a:lnTo>
                <a:lnTo>
                  <a:pt x="48" y="27"/>
                </a:lnTo>
                <a:lnTo>
                  <a:pt x="41" y="32"/>
                </a:lnTo>
                <a:lnTo>
                  <a:pt x="32" y="35"/>
                </a:lnTo>
                <a:lnTo>
                  <a:pt x="22" y="35"/>
                </a:lnTo>
                <a:lnTo>
                  <a:pt x="22" y="35"/>
                </a:lnTo>
                <a:lnTo>
                  <a:pt x="15" y="35"/>
                </a:lnTo>
                <a:lnTo>
                  <a:pt x="9" y="36"/>
                </a:lnTo>
                <a:lnTo>
                  <a:pt x="4" y="39"/>
                </a:lnTo>
                <a:lnTo>
                  <a:pt x="4" y="39"/>
                </a:lnTo>
                <a:lnTo>
                  <a:pt x="2" y="41"/>
                </a:lnTo>
                <a:lnTo>
                  <a:pt x="0" y="39"/>
                </a:lnTo>
                <a:lnTo>
                  <a:pt x="0" y="39"/>
                </a:lnTo>
                <a:lnTo>
                  <a:pt x="2" y="45"/>
                </a:lnTo>
                <a:lnTo>
                  <a:pt x="7" y="51"/>
                </a:lnTo>
                <a:lnTo>
                  <a:pt x="12" y="56"/>
                </a:lnTo>
                <a:lnTo>
                  <a:pt x="12" y="56"/>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92" name="Freeform 279">
            <a:extLst>
              <a:ext uri="{FF2B5EF4-FFF2-40B4-BE49-F238E27FC236}">
                <a16:creationId xmlns:a16="http://schemas.microsoft.com/office/drawing/2014/main" id="{90896424-3268-EC30-7105-66C0A20D3875}"/>
              </a:ext>
            </a:extLst>
          </p:cNvPr>
          <p:cNvSpPr>
            <a:spLocks noEditPoints="1"/>
          </p:cNvSpPr>
          <p:nvPr userDrawn="1"/>
        </p:nvSpPr>
        <p:spPr bwMode="gray">
          <a:xfrm>
            <a:off x="6412219" y="3209396"/>
            <a:ext cx="403158" cy="123549"/>
          </a:xfrm>
          <a:custGeom>
            <a:avLst/>
            <a:gdLst/>
            <a:ahLst/>
            <a:cxnLst>
              <a:cxn ang="0">
                <a:pos x="55" y="28"/>
              </a:cxn>
              <a:cxn ang="0">
                <a:pos x="44" y="18"/>
              </a:cxn>
              <a:cxn ang="0">
                <a:pos x="37" y="10"/>
              </a:cxn>
              <a:cxn ang="0">
                <a:pos x="32" y="10"/>
              </a:cxn>
              <a:cxn ang="0">
                <a:pos x="30" y="14"/>
              </a:cxn>
              <a:cxn ang="0">
                <a:pos x="17" y="13"/>
              </a:cxn>
              <a:cxn ang="0">
                <a:pos x="10" y="3"/>
              </a:cxn>
              <a:cxn ang="0">
                <a:pos x="3" y="8"/>
              </a:cxn>
              <a:cxn ang="0">
                <a:pos x="5" y="31"/>
              </a:cxn>
              <a:cxn ang="0">
                <a:pos x="21" y="58"/>
              </a:cxn>
              <a:cxn ang="0">
                <a:pos x="37" y="72"/>
              </a:cxn>
              <a:cxn ang="0">
                <a:pos x="67" y="88"/>
              </a:cxn>
              <a:cxn ang="0">
                <a:pos x="65" y="78"/>
              </a:cxn>
              <a:cxn ang="0">
                <a:pos x="55" y="62"/>
              </a:cxn>
              <a:cxn ang="0">
                <a:pos x="57" y="34"/>
              </a:cxn>
              <a:cxn ang="0">
                <a:pos x="286" y="15"/>
              </a:cxn>
              <a:cxn ang="0">
                <a:pos x="283" y="8"/>
              </a:cxn>
              <a:cxn ang="0">
                <a:pos x="270" y="0"/>
              </a:cxn>
              <a:cxn ang="0">
                <a:pos x="257" y="17"/>
              </a:cxn>
              <a:cxn ang="0">
                <a:pos x="249" y="24"/>
              </a:cxn>
              <a:cxn ang="0">
                <a:pos x="247" y="30"/>
              </a:cxn>
              <a:cxn ang="0">
                <a:pos x="246" y="41"/>
              </a:cxn>
              <a:cxn ang="0">
                <a:pos x="240" y="42"/>
              </a:cxn>
              <a:cxn ang="0">
                <a:pos x="233" y="44"/>
              </a:cxn>
              <a:cxn ang="0">
                <a:pos x="226" y="34"/>
              </a:cxn>
              <a:cxn ang="0">
                <a:pos x="215" y="48"/>
              </a:cxn>
              <a:cxn ang="0">
                <a:pos x="209" y="61"/>
              </a:cxn>
              <a:cxn ang="0">
                <a:pos x="185" y="64"/>
              </a:cxn>
              <a:cxn ang="0">
                <a:pos x="179" y="78"/>
              </a:cxn>
              <a:cxn ang="0">
                <a:pos x="175" y="85"/>
              </a:cxn>
              <a:cxn ang="0">
                <a:pos x="153" y="77"/>
              </a:cxn>
              <a:cxn ang="0">
                <a:pos x="159" y="88"/>
              </a:cxn>
              <a:cxn ang="0">
                <a:pos x="170" y="95"/>
              </a:cxn>
              <a:cxn ang="0">
                <a:pos x="182" y="92"/>
              </a:cxn>
              <a:cxn ang="0">
                <a:pos x="196" y="91"/>
              </a:cxn>
              <a:cxn ang="0">
                <a:pos x="209" y="85"/>
              </a:cxn>
              <a:cxn ang="0">
                <a:pos x="225" y="88"/>
              </a:cxn>
              <a:cxn ang="0">
                <a:pos x="239" y="84"/>
              </a:cxn>
              <a:cxn ang="0">
                <a:pos x="242" y="71"/>
              </a:cxn>
              <a:cxn ang="0">
                <a:pos x="243" y="62"/>
              </a:cxn>
              <a:cxn ang="0">
                <a:pos x="253" y="54"/>
              </a:cxn>
              <a:cxn ang="0">
                <a:pos x="256" y="42"/>
              </a:cxn>
              <a:cxn ang="0">
                <a:pos x="277" y="40"/>
              </a:cxn>
              <a:cxn ang="0">
                <a:pos x="293" y="37"/>
              </a:cxn>
              <a:cxn ang="0">
                <a:pos x="296" y="32"/>
              </a:cxn>
              <a:cxn ang="0">
                <a:pos x="306" y="28"/>
              </a:cxn>
              <a:cxn ang="0">
                <a:pos x="310" y="24"/>
              </a:cxn>
              <a:cxn ang="0">
                <a:pos x="298" y="17"/>
              </a:cxn>
            </a:cxnLst>
            <a:rect l="0" t="0" r="r" b="b"/>
            <a:pathLst>
              <a:path w="310" h="95">
                <a:moveTo>
                  <a:pt x="57" y="34"/>
                </a:moveTo>
                <a:lnTo>
                  <a:pt x="57" y="34"/>
                </a:lnTo>
                <a:lnTo>
                  <a:pt x="55" y="31"/>
                </a:lnTo>
                <a:lnTo>
                  <a:pt x="55" y="28"/>
                </a:lnTo>
                <a:lnTo>
                  <a:pt x="51" y="25"/>
                </a:lnTo>
                <a:lnTo>
                  <a:pt x="47" y="22"/>
                </a:lnTo>
                <a:lnTo>
                  <a:pt x="44" y="18"/>
                </a:lnTo>
                <a:lnTo>
                  <a:pt x="44" y="18"/>
                </a:lnTo>
                <a:lnTo>
                  <a:pt x="42" y="14"/>
                </a:lnTo>
                <a:lnTo>
                  <a:pt x="40" y="13"/>
                </a:lnTo>
                <a:lnTo>
                  <a:pt x="38" y="13"/>
                </a:lnTo>
                <a:lnTo>
                  <a:pt x="37" y="10"/>
                </a:lnTo>
                <a:lnTo>
                  <a:pt x="37" y="10"/>
                </a:lnTo>
                <a:lnTo>
                  <a:pt x="35" y="7"/>
                </a:lnTo>
                <a:lnTo>
                  <a:pt x="35" y="7"/>
                </a:lnTo>
                <a:lnTo>
                  <a:pt x="32" y="10"/>
                </a:lnTo>
                <a:lnTo>
                  <a:pt x="31" y="11"/>
                </a:lnTo>
                <a:lnTo>
                  <a:pt x="31" y="13"/>
                </a:lnTo>
                <a:lnTo>
                  <a:pt x="30" y="14"/>
                </a:lnTo>
                <a:lnTo>
                  <a:pt x="30" y="14"/>
                </a:lnTo>
                <a:lnTo>
                  <a:pt x="23" y="14"/>
                </a:lnTo>
                <a:lnTo>
                  <a:pt x="18" y="14"/>
                </a:lnTo>
                <a:lnTo>
                  <a:pt x="17" y="13"/>
                </a:lnTo>
                <a:lnTo>
                  <a:pt x="17" y="13"/>
                </a:lnTo>
                <a:lnTo>
                  <a:pt x="17" y="10"/>
                </a:lnTo>
                <a:lnTo>
                  <a:pt x="15" y="7"/>
                </a:lnTo>
                <a:lnTo>
                  <a:pt x="13" y="4"/>
                </a:lnTo>
                <a:lnTo>
                  <a:pt x="10" y="3"/>
                </a:lnTo>
                <a:lnTo>
                  <a:pt x="10" y="3"/>
                </a:lnTo>
                <a:lnTo>
                  <a:pt x="0" y="3"/>
                </a:lnTo>
                <a:lnTo>
                  <a:pt x="0" y="3"/>
                </a:lnTo>
                <a:lnTo>
                  <a:pt x="3" y="8"/>
                </a:lnTo>
                <a:lnTo>
                  <a:pt x="4" y="15"/>
                </a:lnTo>
                <a:lnTo>
                  <a:pt x="4" y="27"/>
                </a:lnTo>
                <a:lnTo>
                  <a:pt x="4" y="27"/>
                </a:lnTo>
                <a:lnTo>
                  <a:pt x="5" y="31"/>
                </a:lnTo>
                <a:lnTo>
                  <a:pt x="7" y="35"/>
                </a:lnTo>
                <a:lnTo>
                  <a:pt x="13" y="44"/>
                </a:lnTo>
                <a:lnTo>
                  <a:pt x="17" y="51"/>
                </a:lnTo>
                <a:lnTo>
                  <a:pt x="21" y="58"/>
                </a:lnTo>
                <a:lnTo>
                  <a:pt x="21" y="58"/>
                </a:lnTo>
                <a:lnTo>
                  <a:pt x="23" y="62"/>
                </a:lnTo>
                <a:lnTo>
                  <a:pt x="25" y="65"/>
                </a:lnTo>
                <a:lnTo>
                  <a:pt x="37" y="72"/>
                </a:lnTo>
                <a:lnTo>
                  <a:pt x="37" y="72"/>
                </a:lnTo>
                <a:lnTo>
                  <a:pt x="54" y="84"/>
                </a:lnTo>
                <a:lnTo>
                  <a:pt x="62" y="88"/>
                </a:lnTo>
                <a:lnTo>
                  <a:pt x="67" y="88"/>
                </a:lnTo>
                <a:lnTo>
                  <a:pt x="67" y="88"/>
                </a:lnTo>
                <a:lnTo>
                  <a:pt x="68" y="86"/>
                </a:lnTo>
                <a:lnTo>
                  <a:pt x="68" y="85"/>
                </a:lnTo>
                <a:lnTo>
                  <a:pt x="65" y="78"/>
                </a:lnTo>
                <a:lnTo>
                  <a:pt x="61" y="71"/>
                </a:lnTo>
                <a:lnTo>
                  <a:pt x="57" y="65"/>
                </a:lnTo>
                <a:lnTo>
                  <a:pt x="57" y="65"/>
                </a:lnTo>
                <a:lnTo>
                  <a:pt x="55" y="62"/>
                </a:lnTo>
                <a:lnTo>
                  <a:pt x="54" y="59"/>
                </a:lnTo>
                <a:lnTo>
                  <a:pt x="54" y="52"/>
                </a:lnTo>
                <a:lnTo>
                  <a:pt x="57" y="34"/>
                </a:lnTo>
                <a:lnTo>
                  <a:pt x="57" y="34"/>
                </a:lnTo>
                <a:close/>
                <a:moveTo>
                  <a:pt x="298" y="17"/>
                </a:moveTo>
                <a:lnTo>
                  <a:pt x="298" y="17"/>
                </a:lnTo>
                <a:lnTo>
                  <a:pt x="290" y="17"/>
                </a:lnTo>
                <a:lnTo>
                  <a:pt x="286" y="15"/>
                </a:lnTo>
                <a:lnTo>
                  <a:pt x="284" y="14"/>
                </a:lnTo>
                <a:lnTo>
                  <a:pt x="284" y="13"/>
                </a:lnTo>
                <a:lnTo>
                  <a:pt x="284" y="13"/>
                </a:lnTo>
                <a:lnTo>
                  <a:pt x="283" y="8"/>
                </a:lnTo>
                <a:lnTo>
                  <a:pt x="280" y="4"/>
                </a:lnTo>
                <a:lnTo>
                  <a:pt x="274" y="1"/>
                </a:lnTo>
                <a:lnTo>
                  <a:pt x="270" y="0"/>
                </a:lnTo>
                <a:lnTo>
                  <a:pt x="270" y="0"/>
                </a:lnTo>
                <a:lnTo>
                  <a:pt x="266" y="3"/>
                </a:lnTo>
                <a:lnTo>
                  <a:pt x="262" y="7"/>
                </a:lnTo>
                <a:lnTo>
                  <a:pt x="259" y="11"/>
                </a:lnTo>
                <a:lnTo>
                  <a:pt x="257" y="17"/>
                </a:lnTo>
                <a:lnTo>
                  <a:pt x="257" y="17"/>
                </a:lnTo>
                <a:lnTo>
                  <a:pt x="256" y="20"/>
                </a:lnTo>
                <a:lnTo>
                  <a:pt x="252" y="21"/>
                </a:lnTo>
                <a:lnTo>
                  <a:pt x="249" y="24"/>
                </a:lnTo>
                <a:lnTo>
                  <a:pt x="249" y="25"/>
                </a:lnTo>
                <a:lnTo>
                  <a:pt x="249" y="27"/>
                </a:lnTo>
                <a:lnTo>
                  <a:pt x="249" y="27"/>
                </a:lnTo>
                <a:lnTo>
                  <a:pt x="247" y="30"/>
                </a:lnTo>
                <a:lnTo>
                  <a:pt x="244" y="31"/>
                </a:lnTo>
                <a:lnTo>
                  <a:pt x="244" y="31"/>
                </a:lnTo>
                <a:lnTo>
                  <a:pt x="246" y="38"/>
                </a:lnTo>
                <a:lnTo>
                  <a:pt x="246" y="41"/>
                </a:lnTo>
                <a:lnTo>
                  <a:pt x="246" y="41"/>
                </a:lnTo>
                <a:lnTo>
                  <a:pt x="246" y="41"/>
                </a:lnTo>
                <a:lnTo>
                  <a:pt x="243" y="41"/>
                </a:lnTo>
                <a:lnTo>
                  <a:pt x="240" y="42"/>
                </a:lnTo>
                <a:lnTo>
                  <a:pt x="239" y="44"/>
                </a:lnTo>
                <a:lnTo>
                  <a:pt x="234" y="45"/>
                </a:lnTo>
                <a:lnTo>
                  <a:pt x="234" y="45"/>
                </a:lnTo>
                <a:lnTo>
                  <a:pt x="233" y="44"/>
                </a:lnTo>
                <a:lnTo>
                  <a:pt x="232" y="41"/>
                </a:lnTo>
                <a:lnTo>
                  <a:pt x="226" y="34"/>
                </a:lnTo>
                <a:lnTo>
                  <a:pt x="226" y="34"/>
                </a:lnTo>
                <a:lnTo>
                  <a:pt x="226" y="34"/>
                </a:lnTo>
                <a:lnTo>
                  <a:pt x="226" y="34"/>
                </a:lnTo>
                <a:lnTo>
                  <a:pt x="222" y="35"/>
                </a:lnTo>
                <a:lnTo>
                  <a:pt x="217" y="41"/>
                </a:lnTo>
                <a:lnTo>
                  <a:pt x="215" y="48"/>
                </a:lnTo>
                <a:lnTo>
                  <a:pt x="212" y="55"/>
                </a:lnTo>
                <a:lnTo>
                  <a:pt x="212" y="55"/>
                </a:lnTo>
                <a:lnTo>
                  <a:pt x="210" y="58"/>
                </a:lnTo>
                <a:lnTo>
                  <a:pt x="209" y="61"/>
                </a:lnTo>
                <a:lnTo>
                  <a:pt x="205" y="62"/>
                </a:lnTo>
                <a:lnTo>
                  <a:pt x="189" y="62"/>
                </a:lnTo>
                <a:lnTo>
                  <a:pt x="189" y="62"/>
                </a:lnTo>
                <a:lnTo>
                  <a:pt x="185" y="64"/>
                </a:lnTo>
                <a:lnTo>
                  <a:pt x="182" y="65"/>
                </a:lnTo>
                <a:lnTo>
                  <a:pt x="180" y="68"/>
                </a:lnTo>
                <a:lnTo>
                  <a:pt x="179" y="71"/>
                </a:lnTo>
                <a:lnTo>
                  <a:pt x="179" y="78"/>
                </a:lnTo>
                <a:lnTo>
                  <a:pt x="178" y="84"/>
                </a:lnTo>
                <a:lnTo>
                  <a:pt x="178" y="84"/>
                </a:lnTo>
                <a:lnTo>
                  <a:pt x="176" y="85"/>
                </a:lnTo>
                <a:lnTo>
                  <a:pt x="175" y="85"/>
                </a:lnTo>
                <a:lnTo>
                  <a:pt x="168" y="82"/>
                </a:lnTo>
                <a:lnTo>
                  <a:pt x="161" y="79"/>
                </a:lnTo>
                <a:lnTo>
                  <a:pt x="153" y="77"/>
                </a:lnTo>
                <a:lnTo>
                  <a:pt x="153" y="77"/>
                </a:lnTo>
                <a:lnTo>
                  <a:pt x="156" y="84"/>
                </a:lnTo>
                <a:lnTo>
                  <a:pt x="158" y="86"/>
                </a:lnTo>
                <a:lnTo>
                  <a:pt x="159" y="88"/>
                </a:lnTo>
                <a:lnTo>
                  <a:pt x="159" y="88"/>
                </a:lnTo>
                <a:lnTo>
                  <a:pt x="162" y="89"/>
                </a:lnTo>
                <a:lnTo>
                  <a:pt x="166" y="92"/>
                </a:lnTo>
                <a:lnTo>
                  <a:pt x="169" y="94"/>
                </a:lnTo>
                <a:lnTo>
                  <a:pt x="170" y="95"/>
                </a:lnTo>
                <a:lnTo>
                  <a:pt x="172" y="94"/>
                </a:lnTo>
                <a:lnTo>
                  <a:pt x="172" y="94"/>
                </a:lnTo>
                <a:lnTo>
                  <a:pt x="176" y="92"/>
                </a:lnTo>
                <a:lnTo>
                  <a:pt x="182" y="92"/>
                </a:lnTo>
                <a:lnTo>
                  <a:pt x="188" y="92"/>
                </a:lnTo>
                <a:lnTo>
                  <a:pt x="193" y="92"/>
                </a:lnTo>
                <a:lnTo>
                  <a:pt x="193" y="92"/>
                </a:lnTo>
                <a:lnTo>
                  <a:pt x="196" y="91"/>
                </a:lnTo>
                <a:lnTo>
                  <a:pt x="200" y="88"/>
                </a:lnTo>
                <a:lnTo>
                  <a:pt x="203" y="86"/>
                </a:lnTo>
                <a:lnTo>
                  <a:pt x="209" y="85"/>
                </a:lnTo>
                <a:lnTo>
                  <a:pt x="209" y="85"/>
                </a:lnTo>
                <a:lnTo>
                  <a:pt x="215" y="86"/>
                </a:lnTo>
                <a:lnTo>
                  <a:pt x="217" y="89"/>
                </a:lnTo>
                <a:lnTo>
                  <a:pt x="219" y="89"/>
                </a:lnTo>
                <a:lnTo>
                  <a:pt x="225" y="88"/>
                </a:lnTo>
                <a:lnTo>
                  <a:pt x="225" y="88"/>
                </a:lnTo>
                <a:lnTo>
                  <a:pt x="230" y="86"/>
                </a:lnTo>
                <a:lnTo>
                  <a:pt x="236" y="85"/>
                </a:lnTo>
                <a:lnTo>
                  <a:pt x="239" y="84"/>
                </a:lnTo>
                <a:lnTo>
                  <a:pt x="239" y="79"/>
                </a:lnTo>
                <a:lnTo>
                  <a:pt x="239" y="79"/>
                </a:lnTo>
                <a:lnTo>
                  <a:pt x="239" y="74"/>
                </a:lnTo>
                <a:lnTo>
                  <a:pt x="242" y="71"/>
                </a:lnTo>
                <a:lnTo>
                  <a:pt x="243" y="68"/>
                </a:lnTo>
                <a:lnTo>
                  <a:pt x="243" y="64"/>
                </a:lnTo>
                <a:lnTo>
                  <a:pt x="243" y="64"/>
                </a:lnTo>
                <a:lnTo>
                  <a:pt x="243" y="62"/>
                </a:lnTo>
                <a:lnTo>
                  <a:pt x="244" y="61"/>
                </a:lnTo>
                <a:lnTo>
                  <a:pt x="249" y="58"/>
                </a:lnTo>
                <a:lnTo>
                  <a:pt x="252" y="55"/>
                </a:lnTo>
                <a:lnTo>
                  <a:pt x="253" y="54"/>
                </a:lnTo>
                <a:lnTo>
                  <a:pt x="253" y="49"/>
                </a:lnTo>
                <a:lnTo>
                  <a:pt x="253" y="49"/>
                </a:lnTo>
                <a:lnTo>
                  <a:pt x="253" y="45"/>
                </a:lnTo>
                <a:lnTo>
                  <a:pt x="256" y="42"/>
                </a:lnTo>
                <a:lnTo>
                  <a:pt x="259" y="41"/>
                </a:lnTo>
                <a:lnTo>
                  <a:pt x="262" y="40"/>
                </a:lnTo>
                <a:lnTo>
                  <a:pt x="270" y="40"/>
                </a:lnTo>
                <a:lnTo>
                  <a:pt x="277" y="40"/>
                </a:lnTo>
                <a:lnTo>
                  <a:pt x="277" y="40"/>
                </a:lnTo>
                <a:lnTo>
                  <a:pt x="286" y="41"/>
                </a:lnTo>
                <a:lnTo>
                  <a:pt x="286" y="41"/>
                </a:lnTo>
                <a:lnTo>
                  <a:pt x="293" y="37"/>
                </a:lnTo>
                <a:lnTo>
                  <a:pt x="296" y="34"/>
                </a:lnTo>
                <a:lnTo>
                  <a:pt x="296" y="32"/>
                </a:lnTo>
                <a:lnTo>
                  <a:pt x="296" y="32"/>
                </a:lnTo>
                <a:lnTo>
                  <a:pt x="296" y="32"/>
                </a:lnTo>
                <a:lnTo>
                  <a:pt x="294" y="31"/>
                </a:lnTo>
                <a:lnTo>
                  <a:pt x="296" y="30"/>
                </a:lnTo>
                <a:lnTo>
                  <a:pt x="300" y="30"/>
                </a:lnTo>
                <a:lnTo>
                  <a:pt x="306" y="28"/>
                </a:lnTo>
                <a:lnTo>
                  <a:pt x="308" y="27"/>
                </a:lnTo>
                <a:lnTo>
                  <a:pt x="310" y="25"/>
                </a:lnTo>
                <a:lnTo>
                  <a:pt x="310" y="25"/>
                </a:lnTo>
                <a:lnTo>
                  <a:pt x="310" y="24"/>
                </a:lnTo>
                <a:lnTo>
                  <a:pt x="310" y="21"/>
                </a:lnTo>
                <a:lnTo>
                  <a:pt x="307" y="18"/>
                </a:lnTo>
                <a:lnTo>
                  <a:pt x="303" y="17"/>
                </a:lnTo>
                <a:lnTo>
                  <a:pt x="298" y="17"/>
                </a:lnTo>
                <a:lnTo>
                  <a:pt x="298" y="17"/>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93" name="Freeform 280">
            <a:extLst>
              <a:ext uri="{FF2B5EF4-FFF2-40B4-BE49-F238E27FC236}">
                <a16:creationId xmlns:a16="http://schemas.microsoft.com/office/drawing/2014/main" id="{CBFAF91A-291B-E609-6B2F-86A5CDB015BE}"/>
              </a:ext>
            </a:extLst>
          </p:cNvPr>
          <p:cNvSpPr>
            <a:spLocks/>
          </p:cNvSpPr>
          <p:nvPr userDrawn="1"/>
        </p:nvSpPr>
        <p:spPr bwMode="gray">
          <a:xfrm>
            <a:off x="6706134" y="3249711"/>
            <a:ext cx="26011" cy="18207"/>
          </a:xfrm>
          <a:custGeom>
            <a:avLst/>
            <a:gdLst/>
            <a:ahLst/>
            <a:cxnLst>
              <a:cxn ang="0">
                <a:pos x="8" y="14"/>
              </a:cxn>
              <a:cxn ang="0">
                <a:pos x="8" y="14"/>
              </a:cxn>
              <a:cxn ang="0">
                <a:pos x="13" y="13"/>
              </a:cxn>
              <a:cxn ang="0">
                <a:pos x="14" y="11"/>
              </a:cxn>
              <a:cxn ang="0">
                <a:pos x="17" y="10"/>
              </a:cxn>
              <a:cxn ang="0">
                <a:pos x="20" y="10"/>
              </a:cxn>
              <a:cxn ang="0">
                <a:pos x="20" y="10"/>
              </a:cxn>
              <a:cxn ang="0">
                <a:pos x="20" y="10"/>
              </a:cxn>
              <a:cxn ang="0">
                <a:pos x="20" y="7"/>
              </a:cxn>
              <a:cxn ang="0">
                <a:pos x="18" y="0"/>
              </a:cxn>
              <a:cxn ang="0">
                <a:pos x="18" y="0"/>
              </a:cxn>
              <a:cxn ang="0">
                <a:pos x="14" y="1"/>
              </a:cxn>
              <a:cxn ang="0">
                <a:pos x="11" y="3"/>
              </a:cxn>
              <a:cxn ang="0">
                <a:pos x="11" y="4"/>
              </a:cxn>
              <a:cxn ang="0">
                <a:pos x="11" y="4"/>
              </a:cxn>
              <a:cxn ang="0">
                <a:pos x="11" y="6"/>
              </a:cxn>
              <a:cxn ang="0">
                <a:pos x="10" y="6"/>
              </a:cxn>
              <a:cxn ang="0">
                <a:pos x="7" y="4"/>
              </a:cxn>
              <a:cxn ang="0">
                <a:pos x="0" y="3"/>
              </a:cxn>
              <a:cxn ang="0">
                <a:pos x="0" y="3"/>
              </a:cxn>
              <a:cxn ang="0">
                <a:pos x="6" y="10"/>
              </a:cxn>
              <a:cxn ang="0">
                <a:pos x="7" y="13"/>
              </a:cxn>
              <a:cxn ang="0">
                <a:pos x="8" y="14"/>
              </a:cxn>
              <a:cxn ang="0">
                <a:pos x="8" y="14"/>
              </a:cxn>
            </a:cxnLst>
            <a:rect l="0" t="0" r="r" b="b"/>
            <a:pathLst>
              <a:path w="20" h="14">
                <a:moveTo>
                  <a:pt x="8" y="14"/>
                </a:moveTo>
                <a:lnTo>
                  <a:pt x="8" y="14"/>
                </a:lnTo>
                <a:lnTo>
                  <a:pt x="13" y="13"/>
                </a:lnTo>
                <a:lnTo>
                  <a:pt x="14" y="11"/>
                </a:lnTo>
                <a:lnTo>
                  <a:pt x="17" y="10"/>
                </a:lnTo>
                <a:lnTo>
                  <a:pt x="20" y="10"/>
                </a:lnTo>
                <a:lnTo>
                  <a:pt x="20" y="10"/>
                </a:lnTo>
                <a:lnTo>
                  <a:pt x="20" y="10"/>
                </a:lnTo>
                <a:lnTo>
                  <a:pt x="20" y="7"/>
                </a:lnTo>
                <a:lnTo>
                  <a:pt x="18" y="0"/>
                </a:lnTo>
                <a:lnTo>
                  <a:pt x="18" y="0"/>
                </a:lnTo>
                <a:lnTo>
                  <a:pt x="14" y="1"/>
                </a:lnTo>
                <a:lnTo>
                  <a:pt x="11" y="3"/>
                </a:lnTo>
                <a:lnTo>
                  <a:pt x="11" y="4"/>
                </a:lnTo>
                <a:lnTo>
                  <a:pt x="11" y="4"/>
                </a:lnTo>
                <a:lnTo>
                  <a:pt x="11" y="6"/>
                </a:lnTo>
                <a:lnTo>
                  <a:pt x="10" y="6"/>
                </a:lnTo>
                <a:lnTo>
                  <a:pt x="7" y="4"/>
                </a:lnTo>
                <a:lnTo>
                  <a:pt x="0" y="3"/>
                </a:lnTo>
                <a:lnTo>
                  <a:pt x="0" y="3"/>
                </a:lnTo>
                <a:lnTo>
                  <a:pt x="6" y="10"/>
                </a:lnTo>
                <a:lnTo>
                  <a:pt x="7" y="13"/>
                </a:lnTo>
                <a:lnTo>
                  <a:pt x="8" y="14"/>
                </a:lnTo>
                <a:lnTo>
                  <a:pt x="8" y="1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94" name="Freeform 281">
            <a:extLst>
              <a:ext uri="{FF2B5EF4-FFF2-40B4-BE49-F238E27FC236}">
                <a16:creationId xmlns:a16="http://schemas.microsoft.com/office/drawing/2014/main" id="{26772535-0A75-1085-9BAF-AC1EDB3D5BC2}"/>
              </a:ext>
            </a:extLst>
          </p:cNvPr>
          <p:cNvSpPr>
            <a:spLocks/>
          </p:cNvSpPr>
          <p:nvPr userDrawn="1"/>
        </p:nvSpPr>
        <p:spPr bwMode="gray">
          <a:xfrm>
            <a:off x="5153327" y="2521426"/>
            <a:ext cx="204180" cy="197678"/>
          </a:xfrm>
          <a:custGeom>
            <a:avLst/>
            <a:gdLst/>
            <a:ahLst/>
            <a:cxnLst>
              <a:cxn ang="0">
                <a:pos x="134" y="135"/>
              </a:cxn>
              <a:cxn ang="0">
                <a:pos x="140" y="132"/>
              </a:cxn>
              <a:cxn ang="0">
                <a:pos x="150" y="139"/>
              </a:cxn>
              <a:cxn ang="0">
                <a:pos x="157" y="135"/>
              </a:cxn>
              <a:cxn ang="0">
                <a:pos x="148" y="125"/>
              </a:cxn>
              <a:cxn ang="0">
                <a:pos x="147" y="119"/>
              </a:cxn>
              <a:cxn ang="0">
                <a:pos x="143" y="110"/>
              </a:cxn>
              <a:cxn ang="0">
                <a:pos x="144" y="106"/>
              </a:cxn>
              <a:cxn ang="0">
                <a:pos x="143" y="101"/>
              </a:cxn>
              <a:cxn ang="0">
                <a:pos x="136" y="91"/>
              </a:cxn>
              <a:cxn ang="0">
                <a:pos x="126" y="86"/>
              </a:cxn>
              <a:cxn ang="0">
                <a:pos x="118" y="79"/>
              </a:cxn>
              <a:cxn ang="0">
                <a:pos x="116" y="73"/>
              </a:cxn>
              <a:cxn ang="0">
                <a:pos x="109" y="68"/>
              </a:cxn>
              <a:cxn ang="0">
                <a:pos x="109" y="55"/>
              </a:cxn>
              <a:cxn ang="0">
                <a:pos x="111" y="48"/>
              </a:cxn>
              <a:cxn ang="0">
                <a:pos x="114" y="42"/>
              </a:cxn>
              <a:cxn ang="0">
                <a:pos x="117" y="39"/>
              </a:cxn>
              <a:cxn ang="0">
                <a:pos x="117" y="34"/>
              </a:cxn>
              <a:cxn ang="0">
                <a:pos x="110" y="28"/>
              </a:cxn>
              <a:cxn ang="0">
                <a:pos x="104" y="25"/>
              </a:cxn>
              <a:cxn ang="0">
                <a:pos x="101" y="18"/>
              </a:cxn>
              <a:cxn ang="0">
                <a:pos x="97" y="8"/>
              </a:cxn>
              <a:cxn ang="0">
                <a:pos x="94" y="8"/>
              </a:cxn>
              <a:cxn ang="0">
                <a:pos x="83" y="4"/>
              </a:cxn>
              <a:cxn ang="0">
                <a:pos x="79" y="2"/>
              </a:cxn>
              <a:cxn ang="0">
                <a:pos x="70" y="0"/>
              </a:cxn>
              <a:cxn ang="0">
                <a:pos x="62" y="1"/>
              </a:cxn>
              <a:cxn ang="0">
                <a:pos x="57" y="5"/>
              </a:cxn>
              <a:cxn ang="0">
                <a:pos x="44" y="14"/>
              </a:cxn>
              <a:cxn ang="0">
                <a:pos x="39" y="19"/>
              </a:cxn>
              <a:cxn ang="0">
                <a:pos x="40" y="31"/>
              </a:cxn>
              <a:cxn ang="0">
                <a:pos x="39" y="36"/>
              </a:cxn>
              <a:cxn ang="0">
                <a:pos x="39" y="46"/>
              </a:cxn>
              <a:cxn ang="0">
                <a:pos x="35" y="55"/>
              </a:cxn>
              <a:cxn ang="0">
                <a:pos x="0" y="73"/>
              </a:cxn>
              <a:cxn ang="0">
                <a:pos x="5" y="98"/>
              </a:cxn>
              <a:cxn ang="0">
                <a:pos x="17" y="98"/>
              </a:cxn>
              <a:cxn ang="0">
                <a:pos x="33" y="106"/>
              </a:cxn>
              <a:cxn ang="0">
                <a:pos x="69" y="129"/>
              </a:cxn>
              <a:cxn ang="0">
                <a:pos x="93" y="147"/>
              </a:cxn>
              <a:cxn ang="0">
                <a:pos x="107" y="150"/>
              </a:cxn>
              <a:cxn ang="0">
                <a:pos x="128" y="143"/>
              </a:cxn>
            </a:cxnLst>
            <a:rect l="0" t="0" r="r" b="b"/>
            <a:pathLst>
              <a:path w="157" h="152">
                <a:moveTo>
                  <a:pt x="131" y="137"/>
                </a:moveTo>
                <a:lnTo>
                  <a:pt x="131" y="137"/>
                </a:lnTo>
                <a:lnTo>
                  <a:pt x="134" y="135"/>
                </a:lnTo>
                <a:lnTo>
                  <a:pt x="136" y="133"/>
                </a:lnTo>
                <a:lnTo>
                  <a:pt x="140" y="132"/>
                </a:lnTo>
                <a:lnTo>
                  <a:pt x="140" y="132"/>
                </a:lnTo>
                <a:lnTo>
                  <a:pt x="141" y="132"/>
                </a:lnTo>
                <a:lnTo>
                  <a:pt x="144" y="133"/>
                </a:lnTo>
                <a:lnTo>
                  <a:pt x="150" y="139"/>
                </a:lnTo>
                <a:lnTo>
                  <a:pt x="150" y="139"/>
                </a:lnTo>
                <a:lnTo>
                  <a:pt x="153" y="136"/>
                </a:lnTo>
                <a:lnTo>
                  <a:pt x="157" y="135"/>
                </a:lnTo>
                <a:lnTo>
                  <a:pt x="157" y="135"/>
                </a:lnTo>
                <a:lnTo>
                  <a:pt x="151" y="128"/>
                </a:lnTo>
                <a:lnTo>
                  <a:pt x="148" y="125"/>
                </a:lnTo>
                <a:lnTo>
                  <a:pt x="148" y="122"/>
                </a:lnTo>
                <a:lnTo>
                  <a:pt x="148" y="122"/>
                </a:lnTo>
                <a:lnTo>
                  <a:pt x="147" y="119"/>
                </a:lnTo>
                <a:lnTo>
                  <a:pt x="146" y="116"/>
                </a:lnTo>
                <a:lnTo>
                  <a:pt x="143" y="113"/>
                </a:lnTo>
                <a:lnTo>
                  <a:pt x="143" y="110"/>
                </a:lnTo>
                <a:lnTo>
                  <a:pt x="143" y="110"/>
                </a:lnTo>
                <a:lnTo>
                  <a:pt x="143" y="109"/>
                </a:lnTo>
                <a:lnTo>
                  <a:pt x="144" y="106"/>
                </a:lnTo>
                <a:lnTo>
                  <a:pt x="144" y="103"/>
                </a:lnTo>
                <a:lnTo>
                  <a:pt x="143" y="101"/>
                </a:lnTo>
                <a:lnTo>
                  <a:pt x="143" y="101"/>
                </a:lnTo>
                <a:lnTo>
                  <a:pt x="140" y="95"/>
                </a:lnTo>
                <a:lnTo>
                  <a:pt x="138" y="92"/>
                </a:lnTo>
                <a:lnTo>
                  <a:pt x="136" y="91"/>
                </a:lnTo>
                <a:lnTo>
                  <a:pt x="136" y="91"/>
                </a:lnTo>
                <a:lnTo>
                  <a:pt x="131" y="89"/>
                </a:lnTo>
                <a:lnTo>
                  <a:pt x="126" y="86"/>
                </a:lnTo>
                <a:lnTo>
                  <a:pt x="120" y="82"/>
                </a:lnTo>
                <a:lnTo>
                  <a:pt x="118" y="81"/>
                </a:lnTo>
                <a:lnTo>
                  <a:pt x="118" y="79"/>
                </a:lnTo>
                <a:lnTo>
                  <a:pt x="118" y="79"/>
                </a:lnTo>
                <a:lnTo>
                  <a:pt x="117" y="76"/>
                </a:lnTo>
                <a:lnTo>
                  <a:pt x="116" y="73"/>
                </a:lnTo>
                <a:lnTo>
                  <a:pt x="110" y="71"/>
                </a:lnTo>
                <a:lnTo>
                  <a:pt x="110" y="71"/>
                </a:lnTo>
                <a:lnTo>
                  <a:pt x="109" y="68"/>
                </a:lnTo>
                <a:lnTo>
                  <a:pt x="107" y="64"/>
                </a:lnTo>
                <a:lnTo>
                  <a:pt x="107" y="58"/>
                </a:lnTo>
                <a:lnTo>
                  <a:pt x="109" y="55"/>
                </a:lnTo>
                <a:lnTo>
                  <a:pt x="109" y="55"/>
                </a:lnTo>
                <a:lnTo>
                  <a:pt x="110" y="52"/>
                </a:lnTo>
                <a:lnTo>
                  <a:pt x="111" y="48"/>
                </a:lnTo>
                <a:lnTo>
                  <a:pt x="113" y="45"/>
                </a:lnTo>
                <a:lnTo>
                  <a:pt x="114" y="44"/>
                </a:lnTo>
                <a:lnTo>
                  <a:pt x="114" y="42"/>
                </a:lnTo>
                <a:lnTo>
                  <a:pt x="114" y="42"/>
                </a:lnTo>
                <a:lnTo>
                  <a:pt x="117" y="42"/>
                </a:lnTo>
                <a:lnTo>
                  <a:pt x="117" y="39"/>
                </a:lnTo>
                <a:lnTo>
                  <a:pt x="117" y="36"/>
                </a:lnTo>
                <a:lnTo>
                  <a:pt x="117" y="34"/>
                </a:lnTo>
                <a:lnTo>
                  <a:pt x="117" y="34"/>
                </a:lnTo>
                <a:lnTo>
                  <a:pt x="117" y="31"/>
                </a:lnTo>
                <a:lnTo>
                  <a:pt x="116" y="29"/>
                </a:lnTo>
                <a:lnTo>
                  <a:pt x="110" y="28"/>
                </a:lnTo>
                <a:lnTo>
                  <a:pt x="110" y="28"/>
                </a:lnTo>
                <a:lnTo>
                  <a:pt x="107" y="27"/>
                </a:lnTo>
                <a:lnTo>
                  <a:pt x="104" y="25"/>
                </a:lnTo>
                <a:lnTo>
                  <a:pt x="103" y="21"/>
                </a:lnTo>
                <a:lnTo>
                  <a:pt x="101" y="18"/>
                </a:lnTo>
                <a:lnTo>
                  <a:pt x="101" y="18"/>
                </a:lnTo>
                <a:lnTo>
                  <a:pt x="100" y="15"/>
                </a:lnTo>
                <a:lnTo>
                  <a:pt x="99" y="11"/>
                </a:lnTo>
                <a:lnTo>
                  <a:pt x="97" y="8"/>
                </a:lnTo>
                <a:lnTo>
                  <a:pt x="96" y="5"/>
                </a:lnTo>
                <a:lnTo>
                  <a:pt x="96" y="5"/>
                </a:lnTo>
                <a:lnTo>
                  <a:pt x="94" y="8"/>
                </a:lnTo>
                <a:lnTo>
                  <a:pt x="93" y="8"/>
                </a:lnTo>
                <a:lnTo>
                  <a:pt x="89" y="7"/>
                </a:lnTo>
                <a:lnTo>
                  <a:pt x="83" y="4"/>
                </a:lnTo>
                <a:lnTo>
                  <a:pt x="80" y="2"/>
                </a:lnTo>
                <a:lnTo>
                  <a:pt x="79" y="2"/>
                </a:lnTo>
                <a:lnTo>
                  <a:pt x="79" y="2"/>
                </a:lnTo>
                <a:lnTo>
                  <a:pt x="76" y="2"/>
                </a:lnTo>
                <a:lnTo>
                  <a:pt x="73" y="2"/>
                </a:lnTo>
                <a:lnTo>
                  <a:pt x="70" y="0"/>
                </a:lnTo>
                <a:lnTo>
                  <a:pt x="64" y="0"/>
                </a:lnTo>
                <a:lnTo>
                  <a:pt x="64" y="0"/>
                </a:lnTo>
                <a:lnTo>
                  <a:pt x="62" y="1"/>
                </a:lnTo>
                <a:lnTo>
                  <a:pt x="60" y="2"/>
                </a:lnTo>
                <a:lnTo>
                  <a:pt x="57" y="5"/>
                </a:lnTo>
                <a:lnTo>
                  <a:pt x="57" y="5"/>
                </a:lnTo>
                <a:lnTo>
                  <a:pt x="49" y="12"/>
                </a:lnTo>
                <a:lnTo>
                  <a:pt x="49" y="12"/>
                </a:lnTo>
                <a:lnTo>
                  <a:pt x="44" y="14"/>
                </a:lnTo>
                <a:lnTo>
                  <a:pt x="40" y="17"/>
                </a:lnTo>
                <a:lnTo>
                  <a:pt x="39" y="19"/>
                </a:lnTo>
                <a:lnTo>
                  <a:pt x="39" y="19"/>
                </a:lnTo>
                <a:lnTo>
                  <a:pt x="37" y="24"/>
                </a:lnTo>
                <a:lnTo>
                  <a:pt x="39" y="28"/>
                </a:lnTo>
                <a:lnTo>
                  <a:pt x="40" y="31"/>
                </a:lnTo>
                <a:lnTo>
                  <a:pt x="39" y="34"/>
                </a:lnTo>
                <a:lnTo>
                  <a:pt x="39" y="34"/>
                </a:lnTo>
                <a:lnTo>
                  <a:pt x="39" y="36"/>
                </a:lnTo>
                <a:lnTo>
                  <a:pt x="37" y="39"/>
                </a:lnTo>
                <a:lnTo>
                  <a:pt x="39" y="46"/>
                </a:lnTo>
                <a:lnTo>
                  <a:pt x="39" y="46"/>
                </a:lnTo>
                <a:lnTo>
                  <a:pt x="37" y="48"/>
                </a:lnTo>
                <a:lnTo>
                  <a:pt x="36" y="52"/>
                </a:lnTo>
                <a:lnTo>
                  <a:pt x="35" y="55"/>
                </a:lnTo>
                <a:lnTo>
                  <a:pt x="35" y="55"/>
                </a:lnTo>
                <a:lnTo>
                  <a:pt x="0" y="73"/>
                </a:lnTo>
                <a:lnTo>
                  <a:pt x="0" y="73"/>
                </a:lnTo>
                <a:lnTo>
                  <a:pt x="2" y="82"/>
                </a:lnTo>
                <a:lnTo>
                  <a:pt x="2" y="82"/>
                </a:lnTo>
                <a:lnTo>
                  <a:pt x="5" y="98"/>
                </a:lnTo>
                <a:lnTo>
                  <a:pt x="5" y="98"/>
                </a:lnTo>
                <a:lnTo>
                  <a:pt x="12" y="96"/>
                </a:lnTo>
                <a:lnTo>
                  <a:pt x="17" y="98"/>
                </a:lnTo>
                <a:lnTo>
                  <a:pt x="17" y="98"/>
                </a:lnTo>
                <a:lnTo>
                  <a:pt x="25" y="101"/>
                </a:lnTo>
                <a:lnTo>
                  <a:pt x="33" y="106"/>
                </a:lnTo>
                <a:lnTo>
                  <a:pt x="49" y="116"/>
                </a:lnTo>
                <a:lnTo>
                  <a:pt x="49" y="116"/>
                </a:lnTo>
                <a:lnTo>
                  <a:pt x="69" y="129"/>
                </a:lnTo>
                <a:lnTo>
                  <a:pt x="87" y="145"/>
                </a:lnTo>
                <a:lnTo>
                  <a:pt x="87" y="145"/>
                </a:lnTo>
                <a:lnTo>
                  <a:pt x="93" y="147"/>
                </a:lnTo>
                <a:lnTo>
                  <a:pt x="97" y="149"/>
                </a:lnTo>
                <a:lnTo>
                  <a:pt x="107" y="150"/>
                </a:lnTo>
                <a:lnTo>
                  <a:pt x="107" y="150"/>
                </a:lnTo>
                <a:lnTo>
                  <a:pt x="126" y="152"/>
                </a:lnTo>
                <a:lnTo>
                  <a:pt x="126" y="152"/>
                </a:lnTo>
                <a:lnTo>
                  <a:pt x="128" y="143"/>
                </a:lnTo>
                <a:lnTo>
                  <a:pt x="131" y="137"/>
                </a:lnTo>
                <a:lnTo>
                  <a:pt x="131" y="137"/>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95" name="Freeform 282">
            <a:extLst>
              <a:ext uri="{FF2B5EF4-FFF2-40B4-BE49-F238E27FC236}">
                <a16:creationId xmlns:a16="http://schemas.microsoft.com/office/drawing/2014/main" id="{0C894FBE-874A-B742-9731-2CF28611F0CD}"/>
              </a:ext>
            </a:extLst>
          </p:cNvPr>
          <p:cNvSpPr>
            <a:spLocks/>
          </p:cNvSpPr>
          <p:nvPr userDrawn="1"/>
        </p:nvSpPr>
        <p:spPr bwMode="gray">
          <a:xfrm>
            <a:off x="5317191" y="2693094"/>
            <a:ext cx="37715" cy="39015"/>
          </a:xfrm>
          <a:custGeom>
            <a:avLst/>
            <a:gdLst/>
            <a:ahLst/>
            <a:cxnLst>
              <a:cxn ang="0">
                <a:pos x="10" y="21"/>
              </a:cxn>
              <a:cxn ang="0">
                <a:pos x="17" y="28"/>
              </a:cxn>
              <a:cxn ang="0">
                <a:pos x="29" y="30"/>
              </a:cxn>
              <a:cxn ang="0">
                <a:pos x="29" y="30"/>
              </a:cxn>
              <a:cxn ang="0">
                <a:pos x="25" y="17"/>
              </a:cxn>
              <a:cxn ang="0">
                <a:pos x="22" y="8"/>
              </a:cxn>
              <a:cxn ang="0">
                <a:pos x="22" y="8"/>
              </a:cxn>
              <a:cxn ang="0">
                <a:pos x="24" y="7"/>
              </a:cxn>
              <a:cxn ang="0">
                <a:pos x="24" y="7"/>
              </a:cxn>
              <a:cxn ang="0">
                <a:pos x="18" y="1"/>
              </a:cxn>
              <a:cxn ang="0">
                <a:pos x="15" y="0"/>
              </a:cxn>
              <a:cxn ang="0">
                <a:pos x="14" y="0"/>
              </a:cxn>
              <a:cxn ang="0">
                <a:pos x="14" y="0"/>
              </a:cxn>
              <a:cxn ang="0">
                <a:pos x="10" y="1"/>
              </a:cxn>
              <a:cxn ang="0">
                <a:pos x="8" y="3"/>
              </a:cxn>
              <a:cxn ang="0">
                <a:pos x="5" y="5"/>
              </a:cxn>
              <a:cxn ang="0">
                <a:pos x="5" y="5"/>
              </a:cxn>
              <a:cxn ang="0">
                <a:pos x="2" y="11"/>
              </a:cxn>
              <a:cxn ang="0">
                <a:pos x="0" y="20"/>
              </a:cxn>
              <a:cxn ang="0">
                <a:pos x="0" y="20"/>
              </a:cxn>
              <a:cxn ang="0">
                <a:pos x="10" y="21"/>
              </a:cxn>
              <a:cxn ang="0">
                <a:pos x="10" y="21"/>
              </a:cxn>
            </a:cxnLst>
            <a:rect l="0" t="0" r="r" b="b"/>
            <a:pathLst>
              <a:path w="29" h="30">
                <a:moveTo>
                  <a:pt x="10" y="21"/>
                </a:moveTo>
                <a:lnTo>
                  <a:pt x="17" y="28"/>
                </a:lnTo>
                <a:lnTo>
                  <a:pt x="29" y="30"/>
                </a:lnTo>
                <a:lnTo>
                  <a:pt x="29" y="30"/>
                </a:lnTo>
                <a:lnTo>
                  <a:pt x="25" y="17"/>
                </a:lnTo>
                <a:lnTo>
                  <a:pt x="22" y="8"/>
                </a:lnTo>
                <a:lnTo>
                  <a:pt x="22" y="8"/>
                </a:lnTo>
                <a:lnTo>
                  <a:pt x="24" y="7"/>
                </a:lnTo>
                <a:lnTo>
                  <a:pt x="24" y="7"/>
                </a:lnTo>
                <a:lnTo>
                  <a:pt x="18" y="1"/>
                </a:lnTo>
                <a:lnTo>
                  <a:pt x="15" y="0"/>
                </a:lnTo>
                <a:lnTo>
                  <a:pt x="14" y="0"/>
                </a:lnTo>
                <a:lnTo>
                  <a:pt x="14" y="0"/>
                </a:lnTo>
                <a:lnTo>
                  <a:pt x="10" y="1"/>
                </a:lnTo>
                <a:lnTo>
                  <a:pt x="8" y="3"/>
                </a:lnTo>
                <a:lnTo>
                  <a:pt x="5" y="5"/>
                </a:lnTo>
                <a:lnTo>
                  <a:pt x="5" y="5"/>
                </a:lnTo>
                <a:lnTo>
                  <a:pt x="2" y="11"/>
                </a:lnTo>
                <a:lnTo>
                  <a:pt x="0" y="20"/>
                </a:lnTo>
                <a:lnTo>
                  <a:pt x="0" y="20"/>
                </a:lnTo>
                <a:lnTo>
                  <a:pt x="10" y="21"/>
                </a:lnTo>
                <a:lnTo>
                  <a:pt x="10" y="21"/>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96" name="Freeform 283">
            <a:extLst>
              <a:ext uri="{FF2B5EF4-FFF2-40B4-BE49-F238E27FC236}">
                <a16:creationId xmlns:a16="http://schemas.microsoft.com/office/drawing/2014/main" id="{01CB7DBC-2B91-E9D8-D004-F40F8FF692D8}"/>
              </a:ext>
            </a:extLst>
          </p:cNvPr>
          <p:cNvSpPr>
            <a:spLocks noEditPoints="1"/>
          </p:cNvSpPr>
          <p:nvPr userDrawn="1"/>
        </p:nvSpPr>
        <p:spPr bwMode="gray">
          <a:xfrm>
            <a:off x="4254675" y="2167688"/>
            <a:ext cx="299117" cy="253600"/>
          </a:xfrm>
          <a:custGeom>
            <a:avLst/>
            <a:gdLst/>
            <a:ahLst/>
            <a:cxnLst>
              <a:cxn ang="0">
                <a:pos x="195" y="41"/>
              </a:cxn>
              <a:cxn ang="0">
                <a:pos x="181" y="35"/>
              </a:cxn>
              <a:cxn ang="0">
                <a:pos x="164" y="31"/>
              </a:cxn>
              <a:cxn ang="0">
                <a:pos x="157" y="25"/>
              </a:cxn>
              <a:cxn ang="0">
                <a:pos x="148" y="24"/>
              </a:cxn>
              <a:cxn ang="0">
                <a:pos x="144" y="20"/>
              </a:cxn>
              <a:cxn ang="0">
                <a:pos x="128" y="10"/>
              </a:cxn>
              <a:cxn ang="0">
                <a:pos x="122" y="7"/>
              </a:cxn>
              <a:cxn ang="0">
                <a:pos x="117" y="0"/>
              </a:cxn>
              <a:cxn ang="0">
                <a:pos x="104" y="8"/>
              </a:cxn>
              <a:cxn ang="0">
                <a:pos x="100" y="23"/>
              </a:cxn>
              <a:cxn ang="0">
                <a:pos x="80" y="30"/>
              </a:cxn>
              <a:cxn ang="0">
                <a:pos x="65" y="37"/>
              </a:cxn>
              <a:cxn ang="0">
                <a:pos x="54" y="28"/>
              </a:cxn>
              <a:cxn ang="0">
                <a:pos x="47" y="35"/>
              </a:cxn>
              <a:cxn ang="0">
                <a:pos x="50" y="52"/>
              </a:cxn>
              <a:cxn ang="0">
                <a:pos x="36" y="52"/>
              </a:cxn>
              <a:cxn ang="0">
                <a:pos x="26" y="48"/>
              </a:cxn>
              <a:cxn ang="0">
                <a:pos x="10" y="50"/>
              </a:cxn>
              <a:cxn ang="0">
                <a:pos x="0" y="57"/>
              </a:cxn>
              <a:cxn ang="0">
                <a:pos x="3" y="67"/>
              </a:cxn>
              <a:cxn ang="0">
                <a:pos x="24" y="74"/>
              </a:cxn>
              <a:cxn ang="0">
                <a:pos x="37" y="78"/>
              </a:cxn>
              <a:cxn ang="0">
                <a:pos x="44" y="89"/>
              </a:cxn>
              <a:cxn ang="0">
                <a:pos x="58" y="101"/>
              </a:cxn>
              <a:cxn ang="0">
                <a:pos x="60" y="115"/>
              </a:cxn>
              <a:cxn ang="0">
                <a:pos x="57" y="136"/>
              </a:cxn>
              <a:cxn ang="0">
                <a:pos x="48" y="159"/>
              </a:cxn>
              <a:cxn ang="0">
                <a:pos x="74" y="170"/>
              </a:cxn>
              <a:cxn ang="0">
                <a:pos x="85" y="170"/>
              </a:cxn>
              <a:cxn ang="0">
                <a:pos x="94" y="172"/>
              </a:cxn>
              <a:cxn ang="0">
                <a:pos x="121" y="178"/>
              </a:cxn>
              <a:cxn ang="0">
                <a:pos x="128" y="169"/>
              </a:cxn>
              <a:cxn ang="0">
                <a:pos x="141" y="156"/>
              </a:cxn>
              <a:cxn ang="0">
                <a:pos x="171" y="163"/>
              </a:cxn>
              <a:cxn ang="0">
                <a:pos x="189" y="158"/>
              </a:cxn>
              <a:cxn ang="0">
                <a:pos x="201" y="145"/>
              </a:cxn>
              <a:cxn ang="0">
                <a:pos x="191" y="142"/>
              </a:cxn>
              <a:cxn ang="0">
                <a:pos x="191" y="132"/>
              </a:cxn>
              <a:cxn ang="0">
                <a:pos x="185" y="124"/>
              </a:cxn>
              <a:cxn ang="0">
                <a:pos x="192" y="116"/>
              </a:cxn>
              <a:cxn ang="0">
                <a:pos x="191" y="108"/>
              </a:cxn>
              <a:cxn ang="0">
                <a:pos x="188" y="101"/>
              </a:cxn>
              <a:cxn ang="0">
                <a:pos x="181" y="99"/>
              </a:cxn>
              <a:cxn ang="0">
                <a:pos x="178" y="95"/>
              </a:cxn>
              <a:cxn ang="0">
                <a:pos x="188" y="82"/>
              </a:cxn>
              <a:cxn ang="0">
                <a:pos x="196" y="75"/>
              </a:cxn>
              <a:cxn ang="0">
                <a:pos x="202" y="57"/>
              </a:cxn>
              <a:cxn ang="0">
                <a:pos x="208" y="45"/>
              </a:cxn>
              <a:cxn ang="0">
                <a:pos x="229" y="165"/>
              </a:cxn>
              <a:cxn ang="0">
                <a:pos x="219" y="173"/>
              </a:cxn>
              <a:cxn ang="0">
                <a:pos x="223" y="195"/>
              </a:cxn>
              <a:cxn ang="0">
                <a:pos x="230" y="180"/>
              </a:cxn>
            </a:cxnLst>
            <a:rect l="0" t="0" r="r" b="b"/>
            <a:pathLst>
              <a:path w="230" h="195">
                <a:moveTo>
                  <a:pt x="203" y="44"/>
                </a:moveTo>
                <a:lnTo>
                  <a:pt x="203" y="44"/>
                </a:lnTo>
                <a:lnTo>
                  <a:pt x="201" y="44"/>
                </a:lnTo>
                <a:lnTo>
                  <a:pt x="198" y="42"/>
                </a:lnTo>
                <a:lnTo>
                  <a:pt x="195" y="41"/>
                </a:lnTo>
                <a:lnTo>
                  <a:pt x="195" y="41"/>
                </a:lnTo>
                <a:lnTo>
                  <a:pt x="189" y="40"/>
                </a:lnTo>
                <a:lnTo>
                  <a:pt x="185" y="37"/>
                </a:lnTo>
                <a:lnTo>
                  <a:pt x="185" y="37"/>
                </a:lnTo>
                <a:lnTo>
                  <a:pt x="181" y="35"/>
                </a:lnTo>
                <a:lnTo>
                  <a:pt x="176" y="34"/>
                </a:lnTo>
                <a:lnTo>
                  <a:pt x="168" y="34"/>
                </a:lnTo>
                <a:lnTo>
                  <a:pt x="168" y="34"/>
                </a:lnTo>
                <a:lnTo>
                  <a:pt x="165" y="33"/>
                </a:lnTo>
                <a:lnTo>
                  <a:pt x="164" y="31"/>
                </a:lnTo>
                <a:lnTo>
                  <a:pt x="162" y="30"/>
                </a:lnTo>
                <a:lnTo>
                  <a:pt x="159" y="28"/>
                </a:lnTo>
                <a:lnTo>
                  <a:pt x="159" y="28"/>
                </a:lnTo>
                <a:lnTo>
                  <a:pt x="158" y="28"/>
                </a:lnTo>
                <a:lnTo>
                  <a:pt x="157" y="25"/>
                </a:lnTo>
                <a:lnTo>
                  <a:pt x="155" y="21"/>
                </a:lnTo>
                <a:lnTo>
                  <a:pt x="155" y="21"/>
                </a:lnTo>
                <a:lnTo>
                  <a:pt x="154" y="20"/>
                </a:lnTo>
                <a:lnTo>
                  <a:pt x="152" y="21"/>
                </a:lnTo>
                <a:lnTo>
                  <a:pt x="148" y="24"/>
                </a:lnTo>
                <a:lnTo>
                  <a:pt x="148" y="24"/>
                </a:lnTo>
                <a:lnTo>
                  <a:pt x="145" y="24"/>
                </a:lnTo>
                <a:lnTo>
                  <a:pt x="144" y="23"/>
                </a:lnTo>
                <a:lnTo>
                  <a:pt x="144" y="20"/>
                </a:lnTo>
                <a:lnTo>
                  <a:pt x="144" y="20"/>
                </a:lnTo>
                <a:lnTo>
                  <a:pt x="142" y="18"/>
                </a:lnTo>
                <a:lnTo>
                  <a:pt x="139" y="15"/>
                </a:lnTo>
                <a:lnTo>
                  <a:pt x="134" y="13"/>
                </a:lnTo>
                <a:lnTo>
                  <a:pt x="134" y="13"/>
                </a:lnTo>
                <a:lnTo>
                  <a:pt x="128" y="10"/>
                </a:lnTo>
                <a:lnTo>
                  <a:pt x="127" y="8"/>
                </a:lnTo>
                <a:lnTo>
                  <a:pt x="125" y="8"/>
                </a:lnTo>
                <a:lnTo>
                  <a:pt x="125" y="8"/>
                </a:lnTo>
                <a:lnTo>
                  <a:pt x="124" y="8"/>
                </a:lnTo>
                <a:lnTo>
                  <a:pt x="122" y="7"/>
                </a:lnTo>
                <a:lnTo>
                  <a:pt x="120" y="3"/>
                </a:lnTo>
                <a:lnTo>
                  <a:pt x="120" y="3"/>
                </a:lnTo>
                <a:lnTo>
                  <a:pt x="118" y="1"/>
                </a:lnTo>
                <a:lnTo>
                  <a:pt x="117" y="0"/>
                </a:lnTo>
                <a:lnTo>
                  <a:pt x="117" y="0"/>
                </a:lnTo>
                <a:lnTo>
                  <a:pt x="114" y="0"/>
                </a:lnTo>
                <a:lnTo>
                  <a:pt x="114" y="0"/>
                </a:lnTo>
                <a:lnTo>
                  <a:pt x="110" y="1"/>
                </a:lnTo>
                <a:lnTo>
                  <a:pt x="107" y="4"/>
                </a:lnTo>
                <a:lnTo>
                  <a:pt x="104" y="8"/>
                </a:lnTo>
                <a:lnTo>
                  <a:pt x="104" y="14"/>
                </a:lnTo>
                <a:lnTo>
                  <a:pt x="104" y="14"/>
                </a:lnTo>
                <a:lnTo>
                  <a:pt x="104" y="17"/>
                </a:lnTo>
                <a:lnTo>
                  <a:pt x="102" y="20"/>
                </a:lnTo>
                <a:lnTo>
                  <a:pt x="100" y="23"/>
                </a:lnTo>
                <a:lnTo>
                  <a:pt x="94" y="24"/>
                </a:lnTo>
                <a:lnTo>
                  <a:pt x="87" y="25"/>
                </a:lnTo>
                <a:lnTo>
                  <a:pt x="87" y="25"/>
                </a:lnTo>
                <a:lnTo>
                  <a:pt x="83" y="27"/>
                </a:lnTo>
                <a:lnTo>
                  <a:pt x="80" y="30"/>
                </a:lnTo>
                <a:lnTo>
                  <a:pt x="78" y="34"/>
                </a:lnTo>
                <a:lnTo>
                  <a:pt x="77" y="37"/>
                </a:lnTo>
                <a:lnTo>
                  <a:pt x="77" y="37"/>
                </a:lnTo>
                <a:lnTo>
                  <a:pt x="73" y="38"/>
                </a:lnTo>
                <a:lnTo>
                  <a:pt x="65" y="37"/>
                </a:lnTo>
                <a:lnTo>
                  <a:pt x="60" y="34"/>
                </a:lnTo>
                <a:lnTo>
                  <a:pt x="57" y="30"/>
                </a:lnTo>
                <a:lnTo>
                  <a:pt x="57" y="30"/>
                </a:lnTo>
                <a:lnTo>
                  <a:pt x="56" y="28"/>
                </a:lnTo>
                <a:lnTo>
                  <a:pt x="54" y="28"/>
                </a:lnTo>
                <a:lnTo>
                  <a:pt x="50" y="28"/>
                </a:lnTo>
                <a:lnTo>
                  <a:pt x="47" y="31"/>
                </a:lnTo>
                <a:lnTo>
                  <a:pt x="46" y="34"/>
                </a:lnTo>
                <a:lnTo>
                  <a:pt x="47" y="35"/>
                </a:lnTo>
                <a:lnTo>
                  <a:pt x="47" y="35"/>
                </a:lnTo>
                <a:lnTo>
                  <a:pt x="51" y="41"/>
                </a:lnTo>
                <a:lnTo>
                  <a:pt x="51" y="45"/>
                </a:lnTo>
                <a:lnTo>
                  <a:pt x="51" y="50"/>
                </a:lnTo>
                <a:lnTo>
                  <a:pt x="50" y="52"/>
                </a:lnTo>
                <a:lnTo>
                  <a:pt x="50" y="52"/>
                </a:lnTo>
                <a:lnTo>
                  <a:pt x="47" y="54"/>
                </a:lnTo>
                <a:lnTo>
                  <a:pt x="43" y="52"/>
                </a:lnTo>
                <a:lnTo>
                  <a:pt x="40" y="51"/>
                </a:lnTo>
                <a:lnTo>
                  <a:pt x="36" y="52"/>
                </a:lnTo>
                <a:lnTo>
                  <a:pt x="36" y="52"/>
                </a:lnTo>
                <a:lnTo>
                  <a:pt x="33" y="52"/>
                </a:lnTo>
                <a:lnTo>
                  <a:pt x="31" y="52"/>
                </a:lnTo>
                <a:lnTo>
                  <a:pt x="28" y="50"/>
                </a:lnTo>
                <a:lnTo>
                  <a:pt x="26" y="48"/>
                </a:lnTo>
                <a:lnTo>
                  <a:pt x="26" y="48"/>
                </a:lnTo>
                <a:lnTo>
                  <a:pt x="23" y="47"/>
                </a:lnTo>
                <a:lnTo>
                  <a:pt x="19" y="48"/>
                </a:lnTo>
                <a:lnTo>
                  <a:pt x="16" y="50"/>
                </a:lnTo>
                <a:lnTo>
                  <a:pt x="10" y="50"/>
                </a:lnTo>
                <a:lnTo>
                  <a:pt x="10" y="50"/>
                </a:lnTo>
                <a:lnTo>
                  <a:pt x="4" y="50"/>
                </a:lnTo>
                <a:lnTo>
                  <a:pt x="1" y="51"/>
                </a:lnTo>
                <a:lnTo>
                  <a:pt x="0" y="54"/>
                </a:lnTo>
                <a:lnTo>
                  <a:pt x="0" y="57"/>
                </a:lnTo>
                <a:lnTo>
                  <a:pt x="0" y="57"/>
                </a:lnTo>
                <a:lnTo>
                  <a:pt x="1" y="60"/>
                </a:lnTo>
                <a:lnTo>
                  <a:pt x="1" y="62"/>
                </a:lnTo>
                <a:lnTo>
                  <a:pt x="1" y="64"/>
                </a:lnTo>
                <a:lnTo>
                  <a:pt x="3" y="67"/>
                </a:lnTo>
                <a:lnTo>
                  <a:pt x="3" y="67"/>
                </a:lnTo>
                <a:lnTo>
                  <a:pt x="6" y="68"/>
                </a:lnTo>
                <a:lnTo>
                  <a:pt x="11" y="69"/>
                </a:lnTo>
                <a:lnTo>
                  <a:pt x="17" y="71"/>
                </a:lnTo>
                <a:lnTo>
                  <a:pt x="24" y="74"/>
                </a:lnTo>
                <a:lnTo>
                  <a:pt x="24" y="74"/>
                </a:lnTo>
                <a:lnTo>
                  <a:pt x="28" y="75"/>
                </a:lnTo>
                <a:lnTo>
                  <a:pt x="31" y="77"/>
                </a:lnTo>
                <a:lnTo>
                  <a:pt x="34" y="77"/>
                </a:lnTo>
                <a:lnTo>
                  <a:pt x="37" y="78"/>
                </a:lnTo>
                <a:lnTo>
                  <a:pt x="37" y="78"/>
                </a:lnTo>
                <a:lnTo>
                  <a:pt x="41" y="79"/>
                </a:lnTo>
                <a:lnTo>
                  <a:pt x="43" y="81"/>
                </a:lnTo>
                <a:lnTo>
                  <a:pt x="43" y="85"/>
                </a:lnTo>
                <a:lnTo>
                  <a:pt x="43" y="85"/>
                </a:lnTo>
                <a:lnTo>
                  <a:pt x="44" y="89"/>
                </a:lnTo>
                <a:lnTo>
                  <a:pt x="46" y="92"/>
                </a:lnTo>
                <a:lnTo>
                  <a:pt x="50" y="97"/>
                </a:lnTo>
                <a:lnTo>
                  <a:pt x="56" y="98"/>
                </a:lnTo>
                <a:lnTo>
                  <a:pt x="56" y="98"/>
                </a:lnTo>
                <a:lnTo>
                  <a:pt x="58" y="101"/>
                </a:lnTo>
                <a:lnTo>
                  <a:pt x="60" y="104"/>
                </a:lnTo>
                <a:lnTo>
                  <a:pt x="58" y="106"/>
                </a:lnTo>
                <a:lnTo>
                  <a:pt x="60" y="111"/>
                </a:lnTo>
                <a:lnTo>
                  <a:pt x="60" y="111"/>
                </a:lnTo>
                <a:lnTo>
                  <a:pt x="60" y="115"/>
                </a:lnTo>
                <a:lnTo>
                  <a:pt x="58" y="121"/>
                </a:lnTo>
                <a:lnTo>
                  <a:pt x="57" y="125"/>
                </a:lnTo>
                <a:lnTo>
                  <a:pt x="57" y="131"/>
                </a:lnTo>
                <a:lnTo>
                  <a:pt x="57" y="131"/>
                </a:lnTo>
                <a:lnTo>
                  <a:pt x="57" y="136"/>
                </a:lnTo>
                <a:lnTo>
                  <a:pt x="56" y="146"/>
                </a:lnTo>
                <a:lnTo>
                  <a:pt x="53" y="155"/>
                </a:lnTo>
                <a:lnTo>
                  <a:pt x="50" y="159"/>
                </a:lnTo>
                <a:lnTo>
                  <a:pt x="50" y="159"/>
                </a:lnTo>
                <a:lnTo>
                  <a:pt x="48" y="159"/>
                </a:lnTo>
                <a:lnTo>
                  <a:pt x="48" y="159"/>
                </a:lnTo>
                <a:lnTo>
                  <a:pt x="58" y="163"/>
                </a:lnTo>
                <a:lnTo>
                  <a:pt x="58" y="163"/>
                </a:lnTo>
                <a:lnTo>
                  <a:pt x="65" y="168"/>
                </a:lnTo>
                <a:lnTo>
                  <a:pt x="74" y="170"/>
                </a:lnTo>
                <a:lnTo>
                  <a:pt x="74" y="170"/>
                </a:lnTo>
                <a:lnTo>
                  <a:pt x="77" y="173"/>
                </a:lnTo>
                <a:lnTo>
                  <a:pt x="81" y="173"/>
                </a:lnTo>
                <a:lnTo>
                  <a:pt x="85" y="172"/>
                </a:lnTo>
                <a:lnTo>
                  <a:pt x="85" y="170"/>
                </a:lnTo>
                <a:lnTo>
                  <a:pt x="85" y="170"/>
                </a:lnTo>
                <a:lnTo>
                  <a:pt x="87" y="169"/>
                </a:lnTo>
                <a:lnTo>
                  <a:pt x="88" y="169"/>
                </a:lnTo>
                <a:lnTo>
                  <a:pt x="94" y="172"/>
                </a:lnTo>
                <a:lnTo>
                  <a:pt x="94" y="172"/>
                </a:lnTo>
                <a:lnTo>
                  <a:pt x="97" y="173"/>
                </a:lnTo>
                <a:lnTo>
                  <a:pt x="102" y="175"/>
                </a:lnTo>
                <a:lnTo>
                  <a:pt x="112" y="176"/>
                </a:lnTo>
                <a:lnTo>
                  <a:pt x="112" y="176"/>
                </a:lnTo>
                <a:lnTo>
                  <a:pt x="121" y="178"/>
                </a:lnTo>
                <a:lnTo>
                  <a:pt x="129" y="176"/>
                </a:lnTo>
                <a:lnTo>
                  <a:pt x="129" y="176"/>
                </a:lnTo>
                <a:lnTo>
                  <a:pt x="128" y="173"/>
                </a:lnTo>
                <a:lnTo>
                  <a:pt x="128" y="173"/>
                </a:lnTo>
                <a:lnTo>
                  <a:pt x="128" y="169"/>
                </a:lnTo>
                <a:lnTo>
                  <a:pt x="128" y="166"/>
                </a:lnTo>
                <a:lnTo>
                  <a:pt x="131" y="162"/>
                </a:lnTo>
                <a:lnTo>
                  <a:pt x="135" y="159"/>
                </a:lnTo>
                <a:lnTo>
                  <a:pt x="141" y="156"/>
                </a:lnTo>
                <a:lnTo>
                  <a:pt x="141" y="156"/>
                </a:lnTo>
                <a:lnTo>
                  <a:pt x="148" y="156"/>
                </a:lnTo>
                <a:lnTo>
                  <a:pt x="158" y="159"/>
                </a:lnTo>
                <a:lnTo>
                  <a:pt x="165" y="161"/>
                </a:lnTo>
                <a:lnTo>
                  <a:pt x="171" y="163"/>
                </a:lnTo>
                <a:lnTo>
                  <a:pt x="171" y="163"/>
                </a:lnTo>
                <a:lnTo>
                  <a:pt x="175" y="165"/>
                </a:lnTo>
                <a:lnTo>
                  <a:pt x="179" y="165"/>
                </a:lnTo>
                <a:lnTo>
                  <a:pt x="184" y="162"/>
                </a:lnTo>
                <a:lnTo>
                  <a:pt x="189" y="158"/>
                </a:lnTo>
                <a:lnTo>
                  <a:pt x="189" y="158"/>
                </a:lnTo>
                <a:lnTo>
                  <a:pt x="195" y="152"/>
                </a:lnTo>
                <a:lnTo>
                  <a:pt x="199" y="151"/>
                </a:lnTo>
                <a:lnTo>
                  <a:pt x="199" y="151"/>
                </a:lnTo>
                <a:lnTo>
                  <a:pt x="201" y="145"/>
                </a:lnTo>
                <a:lnTo>
                  <a:pt x="201" y="145"/>
                </a:lnTo>
                <a:lnTo>
                  <a:pt x="201" y="143"/>
                </a:lnTo>
                <a:lnTo>
                  <a:pt x="199" y="143"/>
                </a:lnTo>
                <a:lnTo>
                  <a:pt x="193" y="142"/>
                </a:lnTo>
                <a:lnTo>
                  <a:pt x="193" y="142"/>
                </a:lnTo>
                <a:lnTo>
                  <a:pt x="191" y="142"/>
                </a:lnTo>
                <a:lnTo>
                  <a:pt x="189" y="141"/>
                </a:lnTo>
                <a:lnTo>
                  <a:pt x="189" y="138"/>
                </a:lnTo>
                <a:lnTo>
                  <a:pt x="191" y="135"/>
                </a:lnTo>
                <a:lnTo>
                  <a:pt x="191" y="135"/>
                </a:lnTo>
                <a:lnTo>
                  <a:pt x="191" y="132"/>
                </a:lnTo>
                <a:lnTo>
                  <a:pt x="189" y="131"/>
                </a:lnTo>
                <a:lnTo>
                  <a:pt x="185" y="126"/>
                </a:lnTo>
                <a:lnTo>
                  <a:pt x="185" y="126"/>
                </a:lnTo>
                <a:lnTo>
                  <a:pt x="185" y="125"/>
                </a:lnTo>
                <a:lnTo>
                  <a:pt x="185" y="124"/>
                </a:lnTo>
                <a:lnTo>
                  <a:pt x="189" y="122"/>
                </a:lnTo>
                <a:lnTo>
                  <a:pt x="189" y="122"/>
                </a:lnTo>
                <a:lnTo>
                  <a:pt x="192" y="119"/>
                </a:lnTo>
                <a:lnTo>
                  <a:pt x="192" y="118"/>
                </a:lnTo>
                <a:lnTo>
                  <a:pt x="192" y="116"/>
                </a:lnTo>
                <a:lnTo>
                  <a:pt x="192" y="116"/>
                </a:lnTo>
                <a:lnTo>
                  <a:pt x="189" y="114"/>
                </a:lnTo>
                <a:lnTo>
                  <a:pt x="189" y="111"/>
                </a:lnTo>
                <a:lnTo>
                  <a:pt x="191" y="108"/>
                </a:lnTo>
                <a:lnTo>
                  <a:pt x="191" y="108"/>
                </a:lnTo>
                <a:lnTo>
                  <a:pt x="191" y="106"/>
                </a:lnTo>
                <a:lnTo>
                  <a:pt x="189" y="104"/>
                </a:lnTo>
                <a:lnTo>
                  <a:pt x="188" y="102"/>
                </a:lnTo>
                <a:lnTo>
                  <a:pt x="188" y="101"/>
                </a:lnTo>
                <a:lnTo>
                  <a:pt x="188" y="101"/>
                </a:lnTo>
                <a:lnTo>
                  <a:pt x="186" y="98"/>
                </a:lnTo>
                <a:lnTo>
                  <a:pt x="185" y="98"/>
                </a:lnTo>
                <a:lnTo>
                  <a:pt x="182" y="98"/>
                </a:lnTo>
                <a:lnTo>
                  <a:pt x="181" y="99"/>
                </a:lnTo>
                <a:lnTo>
                  <a:pt x="181" y="99"/>
                </a:lnTo>
                <a:lnTo>
                  <a:pt x="178" y="102"/>
                </a:lnTo>
                <a:lnTo>
                  <a:pt x="176" y="101"/>
                </a:lnTo>
                <a:lnTo>
                  <a:pt x="176" y="99"/>
                </a:lnTo>
                <a:lnTo>
                  <a:pt x="178" y="95"/>
                </a:lnTo>
                <a:lnTo>
                  <a:pt x="178" y="95"/>
                </a:lnTo>
                <a:lnTo>
                  <a:pt x="181" y="91"/>
                </a:lnTo>
                <a:lnTo>
                  <a:pt x="184" y="87"/>
                </a:lnTo>
                <a:lnTo>
                  <a:pt x="186" y="84"/>
                </a:lnTo>
                <a:lnTo>
                  <a:pt x="188" y="82"/>
                </a:lnTo>
                <a:lnTo>
                  <a:pt x="188" y="82"/>
                </a:lnTo>
                <a:lnTo>
                  <a:pt x="189" y="79"/>
                </a:lnTo>
                <a:lnTo>
                  <a:pt x="192" y="77"/>
                </a:lnTo>
                <a:lnTo>
                  <a:pt x="193" y="75"/>
                </a:lnTo>
                <a:lnTo>
                  <a:pt x="196" y="75"/>
                </a:lnTo>
                <a:lnTo>
                  <a:pt x="196" y="75"/>
                </a:lnTo>
                <a:lnTo>
                  <a:pt x="198" y="74"/>
                </a:lnTo>
                <a:lnTo>
                  <a:pt x="199" y="71"/>
                </a:lnTo>
                <a:lnTo>
                  <a:pt x="201" y="62"/>
                </a:lnTo>
                <a:lnTo>
                  <a:pt x="201" y="62"/>
                </a:lnTo>
                <a:lnTo>
                  <a:pt x="202" y="57"/>
                </a:lnTo>
                <a:lnTo>
                  <a:pt x="203" y="52"/>
                </a:lnTo>
                <a:lnTo>
                  <a:pt x="206" y="50"/>
                </a:lnTo>
                <a:lnTo>
                  <a:pt x="206" y="50"/>
                </a:lnTo>
                <a:lnTo>
                  <a:pt x="208" y="47"/>
                </a:lnTo>
                <a:lnTo>
                  <a:pt x="208" y="45"/>
                </a:lnTo>
                <a:lnTo>
                  <a:pt x="205" y="45"/>
                </a:lnTo>
                <a:lnTo>
                  <a:pt x="203" y="44"/>
                </a:lnTo>
                <a:lnTo>
                  <a:pt x="203" y="44"/>
                </a:lnTo>
                <a:close/>
                <a:moveTo>
                  <a:pt x="229" y="165"/>
                </a:moveTo>
                <a:lnTo>
                  <a:pt x="229" y="165"/>
                </a:lnTo>
                <a:lnTo>
                  <a:pt x="226" y="166"/>
                </a:lnTo>
                <a:lnTo>
                  <a:pt x="225" y="168"/>
                </a:lnTo>
                <a:lnTo>
                  <a:pt x="222" y="170"/>
                </a:lnTo>
                <a:lnTo>
                  <a:pt x="219" y="173"/>
                </a:lnTo>
                <a:lnTo>
                  <a:pt x="219" y="173"/>
                </a:lnTo>
                <a:lnTo>
                  <a:pt x="216" y="176"/>
                </a:lnTo>
                <a:lnTo>
                  <a:pt x="216" y="179"/>
                </a:lnTo>
                <a:lnTo>
                  <a:pt x="218" y="186"/>
                </a:lnTo>
                <a:lnTo>
                  <a:pt x="221" y="193"/>
                </a:lnTo>
                <a:lnTo>
                  <a:pt x="223" y="195"/>
                </a:lnTo>
                <a:lnTo>
                  <a:pt x="225" y="195"/>
                </a:lnTo>
                <a:lnTo>
                  <a:pt x="225" y="195"/>
                </a:lnTo>
                <a:lnTo>
                  <a:pt x="228" y="193"/>
                </a:lnTo>
                <a:lnTo>
                  <a:pt x="229" y="190"/>
                </a:lnTo>
                <a:lnTo>
                  <a:pt x="230" y="180"/>
                </a:lnTo>
                <a:lnTo>
                  <a:pt x="230" y="170"/>
                </a:lnTo>
                <a:lnTo>
                  <a:pt x="229" y="166"/>
                </a:lnTo>
                <a:lnTo>
                  <a:pt x="229" y="165"/>
                </a:lnTo>
                <a:lnTo>
                  <a:pt x="229" y="165"/>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97" name="Freeform 284">
            <a:extLst>
              <a:ext uri="{FF2B5EF4-FFF2-40B4-BE49-F238E27FC236}">
                <a16:creationId xmlns:a16="http://schemas.microsoft.com/office/drawing/2014/main" id="{5B6EF011-BCC9-2CAC-802A-B645BE159E05}"/>
              </a:ext>
            </a:extLst>
          </p:cNvPr>
          <p:cNvSpPr>
            <a:spLocks/>
          </p:cNvSpPr>
          <p:nvPr userDrawn="1"/>
        </p:nvSpPr>
        <p:spPr bwMode="gray">
          <a:xfrm>
            <a:off x="2459973" y="3042931"/>
            <a:ext cx="48119" cy="27311"/>
          </a:xfrm>
          <a:custGeom>
            <a:avLst/>
            <a:gdLst/>
            <a:ahLst/>
            <a:cxnLst>
              <a:cxn ang="0">
                <a:pos x="36" y="8"/>
              </a:cxn>
              <a:cxn ang="0">
                <a:pos x="36" y="8"/>
              </a:cxn>
              <a:cxn ang="0">
                <a:pos x="33" y="7"/>
              </a:cxn>
              <a:cxn ang="0">
                <a:pos x="29" y="7"/>
              </a:cxn>
              <a:cxn ang="0">
                <a:pos x="24" y="5"/>
              </a:cxn>
              <a:cxn ang="0">
                <a:pos x="19" y="4"/>
              </a:cxn>
              <a:cxn ang="0">
                <a:pos x="19" y="4"/>
              </a:cxn>
              <a:cxn ang="0">
                <a:pos x="12" y="0"/>
              </a:cxn>
              <a:cxn ang="0">
                <a:pos x="12" y="0"/>
              </a:cxn>
              <a:cxn ang="0">
                <a:pos x="12" y="1"/>
              </a:cxn>
              <a:cxn ang="0">
                <a:pos x="12" y="1"/>
              </a:cxn>
              <a:cxn ang="0">
                <a:pos x="7" y="4"/>
              </a:cxn>
              <a:cxn ang="0">
                <a:pos x="0" y="10"/>
              </a:cxn>
              <a:cxn ang="0">
                <a:pos x="0" y="10"/>
              </a:cxn>
              <a:cxn ang="0">
                <a:pos x="6" y="14"/>
              </a:cxn>
              <a:cxn ang="0">
                <a:pos x="16" y="17"/>
              </a:cxn>
              <a:cxn ang="0">
                <a:pos x="24" y="20"/>
              </a:cxn>
              <a:cxn ang="0">
                <a:pos x="31" y="21"/>
              </a:cxn>
              <a:cxn ang="0">
                <a:pos x="31" y="21"/>
              </a:cxn>
              <a:cxn ang="0">
                <a:pos x="34" y="20"/>
              </a:cxn>
              <a:cxn ang="0">
                <a:pos x="36" y="18"/>
              </a:cxn>
              <a:cxn ang="0">
                <a:pos x="36" y="18"/>
              </a:cxn>
              <a:cxn ang="0">
                <a:pos x="37" y="12"/>
              </a:cxn>
              <a:cxn ang="0">
                <a:pos x="36" y="8"/>
              </a:cxn>
              <a:cxn ang="0">
                <a:pos x="36" y="8"/>
              </a:cxn>
            </a:cxnLst>
            <a:rect l="0" t="0" r="r" b="b"/>
            <a:pathLst>
              <a:path w="37" h="21">
                <a:moveTo>
                  <a:pt x="36" y="8"/>
                </a:moveTo>
                <a:lnTo>
                  <a:pt x="36" y="8"/>
                </a:lnTo>
                <a:lnTo>
                  <a:pt x="33" y="7"/>
                </a:lnTo>
                <a:lnTo>
                  <a:pt x="29" y="7"/>
                </a:lnTo>
                <a:lnTo>
                  <a:pt x="24" y="5"/>
                </a:lnTo>
                <a:lnTo>
                  <a:pt x="19" y="4"/>
                </a:lnTo>
                <a:lnTo>
                  <a:pt x="19" y="4"/>
                </a:lnTo>
                <a:lnTo>
                  <a:pt x="12" y="0"/>
                </a:lnTo>
                <a:lnTo>
                  <a:pt x="12" y="0"/>
                </a:lnTo>
                <a:lnTo>
                  <a:pt x="12" y="1"/>
                </a:lnTo>
                <a:lnTo>
                  <a:pt x="12" y="1"/>
                </a:lnTo>
                <a:lnTo>
                  <a:pt x="7" y="4"/>
                </a:lnTo>
                <a:lnTo>
                  <a:pt x="0" y="10"/>
                </a:lnTo>
                <a:lnTo>
                  <a:pt x="0" y="10"/>
                </a:lnTo>
                <a:lnTo>
                  <a:pt x="6" y="14"/>
                </a:lnTo>
                <a:lnTo>
                  <a:pt x="16" y="17"/>
                </a:lnTo>
                <a:lnTo>
                  <a:pt x="24" y="20"/>
                </a:lnTo>
                <a:lnTo>
                  <a:pt x="31" y="21"/>
                </a:lnTo>
                <a:lnTo>
                  <a:pt x="31" y="21"/>
                </a:lnTo>
                <a:lnTo>
                  <a:pt x="34" y="20"/>
                </a:lnTo>
                <a:lnTo>
                  <a:pt x="36" y="18"/>
                </a:lnTo>
                <a:lnTo>
                  <a:pt x="36" y="18"/>
                </a:lnTo>
                <a:lnTo>
                  <a:pt x="37" y="12"/>
                </a:lnTo>
                <a:lnTo>
                  <a:pt x="36" y="8"/>
                </a:lnTo>
                <a:lnTo>
                  <a:pt x="36" y="8"/>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98" name="Freeform 285">
            <a:extLst>
              <a:ext uri="{FF2B5EF4-FFF2-40B4-BE49-F238E27FC236}">
                <a16:creationId xmlns:a16="http://schemas.microsoft.com/office/drawing/2014/main" id="{F3019794-D174-D572-72E3-C3495D8965B8}"/>
              </a:ext>
            </a:extLst>
          </p:cNvPr>
          <p:cNvSpPr>
            <a:spLocks/>
          </p:cNvSpPr>
          <p:nvPr userDrawn="1"/>
        </p:nvSpPr>
        <p:spPr bwMode="gray">
          <a:xfrm>
            <a:off x="2475579" y="3007817"/>
            <a:ext cx="127450" cy="66327"/>
          </a:xfrm>
          <a:custGeom>
            <a:avLst/>
            <a:gdLst/>
            <a:ahLst/>
            <a:cxnLst>
              <a:cxn ang="0">
                <a:pos x="41" y="45"/>
              </a:cxn>
              <a:cxn ang="0">
                <a:pos x="42" y="37"/>
              </a:cxn>
              <a:cxn ang="0">
                <a:pos x="46" y="35"/>
              </a:cxn>
              <a:cxn ang="0">
                <a:pos x="52" y="35"/>
              </a:cxn>
              <a:cxn ang="0">
                <a:pos x="62" y="31"/>
              </a:cxn>
              <a:cxn ang="0">
                <a:pos x="64" y="28"/>
              </a:cxn>
              <a:cxn ang="0">
                <a:pos x="66" y="25"/>
              </a:cxn>
              <a:cxn ang="0">
                <a:pos x="79" y="25"/>
              </a:cxn>
              <a:cxn ang="0">
                <a:pos x="86" y="21"/>
              </a:cxn>
              <a:cxn ang="0">
                <a:pos x="98" y="17"/>
              </a:cxn>
              <a:cxn ang="0">
                <a:pos x="98" y="15"/>
              </a:cxn>
              <a:cxn ang="0">
                <a:pos x="92" y="11"/>
              </a:cxn>
              <a:cxn ang="0">
                <a:pos x="81" y="4"/>
              </a:cxn>
              <a:cxn ang="0">
                <a:pos x="76" y="2"/>
              </a:cxn>
              <a:cxn ang="0">
                <a:pos x="64" y="0"/>
              </a:cxn>
              <a:cxn ang="0">
                <a:pos x="46" y="4"/>
              </a:cxn>
              <a:cxn ang="0">
                <a:pos x="39" y="5"/>
              </a:cxn>
              <a:cxn ang="0">
                <a:pos x="24" y="4"/>
              </a:cxn>
              <a:cxn ang="0">
                <a:pos x="17" y="5"/>
              </a:cxn>
              <a:cxn ang="0">
                <a:pos x="15" y="5"/>
              </a:cxn>
              <a:cxn ang="0">
                <a:pos x="7" y="15"/>
              </a:cxn>
              <a:cxn ang="0">
                <a:pos x="4" y="18"/>
              </a:cxn>
              <a:cxn ang="0">
                <a:pos x="1" y="25"/>
              </a:cxn>
              <a:cxn ang="0">
                <a:pos x="0" y="27"/>
              </a:cxn>
              <a:cxn ang="0">
                <a:pos x="7" y="31"/>
              </a:cxn>
              <a:cxn ang="0">
                <a:pos x="17" y="34"/>
              </a:cxn>
              <a:cxn ang="0">
                <a:pos x="24" y="35"/>
              </a:cxn>
              <a:cxn ang="0">
                <a:pos x="25" y="39"/>
              </a:cxn>
              <a:cxn ang="0">
                <a:pos x="24" y="45"/>
              </a:cxn>
              <a:cxn ang="0">
                <a:pos x="29" y="45"/>
              </a:cxn>
              <a:cxn ang="0">
                <a:pos x="31" y="48"/>
              </a:cxn>
              <a:cxn ang="0">
                <a:pos x="36" y="49"/>
              </a:cxn>
              <a:cxn ang="0">
                <a:pos x="41" y="45"/>
              </a:cxn>
            </a:cxnLst>
            <a:rect l="0" t="0" r="r" b="b"/>
            <a:pathLst>
              <a:path w="98" h="51">
                <a:moveTo>
                  <a:pt x="41" y="45"/>
                </a:moveTo>
                <a:lnTo>
                  <a:pt x="41" y="45"/>
                </a:lnTo>
                <a:lnTo>
                  <a:pt x="41" y="41"/>
                </a:lnTo>
                <a:lnTo>
                  <a:pt x="42" y="37"/>
                </a:lnTo>
                <a:lnTo>
                  <a:pt x="44" y="37"/>
                </a:lnTo>
                <a:lnTo>
                  <a:pt x="46" y="35"/>
                </a:lnTo>
                <a:lnTo>
                  <a:pt x="46" y="35"/>
                </a:lnTo>
                <a:lnTo>
                  <a:pt x="52" y="35"/>
                </a:lnTo>
                <a:lnTo>
                  <a:pt x="58" y="34"/>
                </a:lnTo>
                <a:lnTo>
                  <a:pt x="62" y="31"/>
                </a:lnTo>
                <a:lnTo>
                  <a:pt x="64" y="28"/>
                </a:lnTo>
                <a:lnTo>
                  <a:pt x="64" y="28"/>
                </a:lnTo>
                <a:lnTo>
                  <a:pt x="65" y="27"/>
                </a:lnTo>
                <a:lnTo>
                  <a:pt x="66" y="25"/>
                </a:lnTo>
                <a:lnTo>
                  <a:pt x="71" y="24"/>
                </a:lnTo>
                <a:lnTo>
                  <a:pt x="79" y="25"/>
                </a:lnTo>
                <a:lnTo>
                  <a:pt x="79" y="25"/>
                </a:lnTo>
                <a:lnTo>
                  <a:pt x="86" y="21"/>
                </a:lnTo>
                <a:lnTo>
                  <a:pt x="92" y="18"/>
                </a:lnTo>
                <a:lnTo>
                  <a:pt x="98" y="17"/>
                </a:lnTo>
                <a:lnTo>
                  <a:pt x="98" y="17"/>
                </a:lnTo>
                <a:lnTo>
                  <a:pt x="98" y="15"/>
                </a:lnTo>
                <a:lnTo>
                  <a:pt x="96" y="12"/>
                </a:lnTo>
                <a:lnTo>
                  <a:pt x="92" y="11"/>
                </a:lnTo>
                <a:lnTo>
                  <a:pt x="86" y="8"/>
                </a:lnTo>
                <a:lnTo>
                  <a:pt x="81" y="4"/>
                </a:lnTo>
                <a:lnTo>
                  <a:pt x="81" y="4"/>
                </a:lnTo>
                <a:lnTo>
                  <a:pt x="76" y="2"/>
                </a:lnTo>
                <a:lnTo>
                  <a:pt x="72" y="1"/>
                </a:lnTo>
                <a:lnTo>
                  <a:pt x="64" y="0"/>
                </a:lnTo>
                <a:lnTo>
                  <a:pt x="54" y="1"/>
                </a:lnTo>
                <a:lnTo>
                  <a:pt x="46" y="4"/>
                </a:lnTo>
                <a:lnTo>
                  <a:pt x="46" y="4"/>
                </a:lnTo>
                <a:lnTo>
                  <a:pt x="39" y="5"/>
                </a:lnTo>
                <a:lnTo>
                  <a:pt x="31" y="4"/>
                </a:lnTo>
                <a:lnTo>
                  <a:pt x="24" y="4"/>
                </a:lnTo>
                <a:lnTo>
                  <a:pt x="19" y="4"/>
                </a:lnTo>
                <a:lnTo>
                  <a:pt x="17" y="5"/>
                </a:lnTo>
                <a:lnTo>
                  <a:pt x="17" y="5"/>
                </a:lnTo>
                <a:lnTo>
                  <a:pt x="15" y="5"/>
                </a:lnTo>
                <a:lnTo>
                  <a:pt x="15" y="5"/>
                </a:lnTo>
                <a:lnTo>
                  <a:pt x="7" y="15"/>
                </a:lnTo>
                <a:lnTo>
                  <a:pt x="7" y="15"/>
                </a:lnTo>
                <a:lnTo>
                  <a:pt x="4" y="18"/>
                </a:lnTo>
                <a:lnTo>
                  <a:pt x="2" y="22"/>
                </a:lnTo>
                <a:lnTo>
                  <a:pt x="1" y="25"/>
                </a:lnTo>
                <a:lnTo>
                  <a:pt x="0" y="27"/>
                </a:lnTo>
                <a:lnTo>
                  <a:pt x="0" y="27"/>
                </a:lnTo>
                <a:lnTo>
                  <a:pt x="7" y="31"/>
                </a:lnTo>
                <a:lnTo>
                  <a:pt x="7" y="31"/>
                </a:lnTo>
                <a:lnTo>
                  <a:pt x="12" y="32"/>
                </a:lnTo>
                <a:lnTo>
                  <a:pt x="17" y="34"/>
                </a:lnTo>
                <a:lnTo>
                  <a:pt x="21" y="34"/>
                </a:lnTo>
                <a:lnTo>
                  <a:pt x="24" y="35"/>
                </a:lnTo>
                <a:lnTo>
                  <a:pt x="24" y="35"/>
                </a:lnTo>
                <a:lnTo>
                  <a:pt x="25" y="39"/>
                </a:lnTo>
                <a:lnTo>
                  <a:pt x="24" y="45"/>
                </a:lnTo>
                <a:lnTo>
                  <a:pt x="24" y="45"/>
                </a:lnTo>
                <a:lnTo>
                  <a:pt x="27" y="44"/>
                </a:lnTo>
                <a:lnTo>
                  <a:pt x="29" y="45"/>
                </a:lnTo>
                <a:lnTo>
                  <a:pt x="29" y="45"/>
                </a:lnTo>
                <a:lnTo>
                  <a:pt x="31" y="48"/>
                </a:lnTo>
                <a:lnTo>
                  <a:pt x="31" y="51"/>
                </a:lnTo>
                <a:lnTo>
                  <a:pt x="36" y="49"/>
                </a:lnTo>
                <a:lnTo>
                  <a:pt x="36" y="49"/>
                </a:lnTo>
                <a:lnTo>
                  <a:pt x="41" y="45"/>
                </a:lnTo>
                <a:lnTo>
                  <a:pt x="41" y="45"/>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99" name="Freeform 286">
            <a:extLst>
              <a:ext uri="{FF2B5EF4-FFF2-40B4-BE49-F238E27FC236}">
                <a16:creationId xmlns:a16="http://schemas.microsoft.com/office/drawing/2014/main" id="{5379221E-E180-1954-1E2A-5D5951CED500}"/>
              </a:ext>
            </a:extLst>
          </p:cNvPr>
          <p:cNvSpPr>
            <a:spLocks/>
          </p:cNvSpPr>
          <p:nvPr userDrawn="1"/>
        </p:nvSpPr>
        <p:spPr bwMode="gray">
          <a:xfrm>
            <a:off x="1895552" y="2635872"/>
            <a:ext cx="633348" cy="395355"/>
          </a:xfrm>
          <a:custGeom>
            <a:avLst/>
            <a:gdLst/>
            <a:ahLst/>
            <a:cxnLst>
              <a:cxn ang="0">
                <a:pos x="427" y="284"/>
              </a:cxn>
              <a:cxn ang="0">
                <a:pos x="417" y="266"/>
              </a:cxn>
              <a:cxn ang="0">
                <a:pos x="450" y="256"/>
              </a:cxn>
              <a:cxn ang="0">
                <a:pos x="468" y="251"/>
              </a:cxn>
              <a:cxn ang="0">
                <a:pos x="478" y="212"/>
              </a:cxn>
              <a:cxn ang="0">
                <a:pos x="485" y="195"/>
              </a:cxn>
              <a:cxn ang="0">
                <a:pos x="448" y="196"/>
              </a:cxn>
              <a:cxn ang="0">
                <a:pos x="427" y="219"/>
              </a:cxn>
              <a:cxn ang="0">
                <a:pos x="417" y="237"/>
              </a:cxn>
              <a:cxn ang="0">
                <a:pos x="407" y="244"/>
              </a:cxn>
              <a:cxn ang="0">
                <a:pos x="359" y="249"/>
              </a:cxn>
              <a:cxn ang="0">
                <a:pos x="337" y="236"/>
              </a:cxn>
              <a:cxn ang="0">
                <a:pos x="317" y="203"/>
              </a:cxn>
              <a:cxn ang="0">
                <a:pos x="313" y="141"/>
              </a:cxn>
              <a:cxn ang="0">
                <a:pos x="312" y="118"/>
              </a:cxn>
              <a:cxn ang="0">
                <a:pos x="285" y="101"/>
              </a:cxn>
              <a:cxn ang="0">
                <a:pos x="273" y="81"/>
              </a:cxn>
              <a:cxn ang="0">
                <a:pos x="244" y="52"/>
              </a:cxn>
              <a:cxn ang="0">
                <a:pos x="225" y="65"/>
              </a:cxn>
              <a:cxn ang="0">
                <a:pos x="202" y="51"/>
              </a:cxn>
              <a:cxn ang="0">
                <a:pos x="179" y="24"/>
              </a:cxn>
              <a:cxn ang="0">
                <a:pos x="54" y="10"/>
              </a:cxn>
              <a:cxn ang="0">
                <a:pos x="3" y="11"/>
              </a:cxn>
              <a:cxn ang="0">
                <a:pos x="22" y="49"/>
              </a:cxn>
              <a:cxn ang="0">
                <a:pos x="49" y="77"/>
              </a:cxn>
              <a:cxn ang="0">
                <a:pos x="39" y="86"/>
              </a:cxn>
              <a:cxn ang="0">
                <a:pos x="57" y="102"/>
              </a:cxn>
              <a:cxn ang="0">
                <a:pos x="81" y="125"/>
              </a:cxn>
              <a:cxn ang="0">
                <a:pos x="97" y="149"/>
              </a:cxn>
              <a:cxn ang="0">
                <a:pos x="115" y="172"/>
              </a:cxn>
              <a:cxn ang="0">
                <a:pos x="120" y="156"/>
              </a:cxn>
              <a:cxn ang="0">
                <a:pos x="106" y="146"/>
              </a:cxn>
              <a:cxn ang="0">
                <a:pos x="98" y="128"/>
              </a:cxn>
              <a:cxn ang="0">
                <a:pos x="73" y="85"/>
              </a:cxn>
              <a:cxn ang="0">
                <a:pos x="63" y="62"/>
              </a:cxn>
              <a:cxn ang="0">
                <a:pos x="46" y="52"/>
              </a:cxn>
              <a:cxn ang="0">
                <a:pos x="36" y="18"/>
              </a:cxn>
              <a:cxn ang="0">
                <a:pos x="44" y="20"/>
              </a:cxn>
              <a:cxn ang="0">
                <a:pos x="56" y="22"/>
              </a:cxn>
              <a:cxn ang="0">
                <a:pos x="66" y="27"/>
              </a:cxn>
              <a:cxn ang="0">
                <a:pos x="74" y="57"/>
              </a:cxn>
              <a:cxn ang="0">
                <a:pos x="77" y="69"/>
              </a:cxn>
              <a:cxn ang="0">
                <a:pos x="94" y="81"/>
              </a:cxn>
              <a:cxn ang="0">
                <a:pos x="108" y="95"/>
              </a:cxn>
              <a:cxn ang="0">
                <a:pos x="123" y="105"/>
              </a:cxn>
              <a:cxn ang="0">
                <a:pos x="125" y="121"/>
              </a:cxn>
              <a:cxn ang="0">
                <a:pos x="148" y="139"/>
              </a:cxn>
              <a:cxn ang="0">
                <a:pos x="191" y="195"/>
              </a:cxn>
              <a:cxn ang="0">
                <a:pos x="188" y="210"/>
              </a:cxn>
              <a:cxn ang="0">
                <a:pos x="195" y="232"/>
              </a:cxn>
              <a:cxn ang="0">
                <a:pos x="226" y="251"/>
              </a:cxn>
              <a:cxn ang="0">
                <a:pos x="269" y="269"/>
              </a:cxn>
              <a:cxn ang="0">
                <a:pos x="329" y="291"/>
              </a:cxn>
              <a:cxn ang="0">
                <a:pos x="370" y="287"/>
              </a:cxn>
              <a:cxn ang="0">
                <a:pos x="406" y="286"/>
              </a:cxn>
            </a:cxnLst>
            <a:rect l="0" t="0" r="r" b="b"/>
            <a:pathLst>
              <a:path w="487" h="304">
                <a:moveTo>
                  <a:pt x="406" y="286"/>
                </a:moveTo>
                <a:lnTo>
                  <a:pt x="406" y="286"/>
                </a:lnTo>
                <a:lnTo>
                  <a:pt x="417" y="287"/>
                </a:lnTo>
                <a:lnTo>
                  <a:pt x="424" y="286"/>
                </a:lnTo>
                <a:lnTo>
                  <a:pt x="426" y="286"/>
                </a:lnTo>
                <a:lnTo>
                  <a:pt x="427" y="284"/>
                </a:lnTo>
                <a:lnTo>
                  <a:pt x="427" y="284"/>
                </a:lnTo>
                <a:lnTo>
                  <a:pt x="427" y="281"/>
                </a:lnTo>
                <a:lnTo>
                  <a:pt x="426" y="280"/>
                </a:lnTo>
                <a:lnTo>
                  <a:pt x="421" y="274"/>
                </a:lnTo>
                <a:lnTo>
                  <a:pt x="417" y="270"/>
                </a:lnTo>
                <a:lnTo>
                  <a:pt x="416" y="269"/>
                </a:lnTo>
                <a:lnTo>
                  <a:pt x="416" y="269"/>
                </a:lnTo>
                <a:lnTo>
                  <a:pt x="417" y="266"/>
                </a:lnTo>
                <a:lnTo>
                  <a:pt x="418" y="261"/>
                </a:lnTo>
                <a:lnTo>
                  <a:pt x="420" y="259"/>
                </a:lnTo>
                <a:lnTo>
                  <a:pt x="421" y="256"/>
                </a:lnTo>
                <a:lnTo>
                  <a:pt x="421" y="256"/>
                </a:lnTo>
                <a:lnTo>
                  <a:pt x="436" y="257"/>
                </a:lnTo>
                <a:lnTo>
                  <a:pt x="450" y="256"/>
                </a:lnTo>
                <a:lnTo>
                  <a:pt x="450" y="256"/>
                </a:lnTo>
                <a:lnTo>
                  <a:pt x="454" y="251"/>
                </a:lnTo>
                <a:lnTo>
                  <a:pt x="457" y="249"/>
                </a:lnTo>
                <a:lnTo>
                  <a:pt x="461" y="246"/>
                </a:lnTo>
                <a:lnTo>
                  <a:pt x="461" y="246"/>
                </a:lnTo>
                <a:lnTo>
                  <a:pt x="464" y="247"/>
                </a:lnTo>
                <a:lnTo>
                  <a:pt x="468" y="251"/>
                </a:lnTo>
                <a:lnTo>
                  <a:pt x="468" y="251"/>
                </a:lnTo>
                <a:lnTo>
                  <a:pt x="471" y="247"/>
                </a:lnTo>
                <a:lnTo>
                  <a:pt x="473" y="242"/>
                </a:lnTo>
                <a:lnTo>
                  <a:pt x="475" y="229"/>
                </a:lnTo>
                <a:lnTo>
                  <a:pt x="475" y="229"/>
                </a:lnTo>
                <a:lnTo>
                  <a:pt x="475" y="219"/>
                </a:lnTo>
                <a:lnTo>
                  <a:pt x="475" y="215"/>
                </a:lnTo>
                <a:lnTo>
                  <a:pt x="478" y="212"/>
                </a:lnTo>
                <a:lnTo>
                  <a:pt x="478" y="212"/>
                </a:lnTo>
                <a:lnTo>
                  <a:pt x="485" y="206"/>
                </a:lnTo>
                <a:lnTo>
                  <a:pt x="487" y="203"/>
                </a:lnTo>
                <a:lnTo>
                  <a:pt x="487" y="197"/>
                </a:lnTo>
                <a:lnTo>
                  <a:pt x="487" y="197"/>
                </a:lnTo>
                <a:lnTo>
                  <a:pt x="487" y="196"/>
                </a:lnTo>
                <a:lnTo>
                  <a:pt x="485" y="195"/>
                </a:lnTo>
                <a:lnTo>
                  <a:pt x="481" y="195"/>
                </a:lnTo>
                <a:lnTo>
                  <a:pt x="477" y="196"/>
                </a:lnTo>
                <a:lnTo>
                  <a:pt x="473" y="195"/>
                </a:lnTo>
                <a:lnTo>
                  <a:pt x="473" y="195"/>
                </a:lnTo>
                <a:lnTo>
                  <a:pt x="468" y="193"/>
                </a:lnTo>
                <a:lnTo>
                  <a:pt x="464" y="193"/>
                </a:lnTo>
                <a:lnTo>
                  <a:pt x="448" y="196"/>
                </a:lnTo>
                <a:lnTo>
                  <a:pt x="448" y="196"/>
                </a:lnTo>
                <a:lnTo>
                  <a:pt x="438" y="197"/>
                </a:lnTo>
                <a:lnTo>
                  <a:pt x="431" y="202"/>
                </a:lnTo>
                <a:lnTo>
                  <a:pt x="428" y="207"/>
                </a:lnTo>
                <a:lnTo>
                  <a:pt x="427" y="215"/>
                </a:lnTo>
                <a:lnTo>
                  <a:pt x="427" y="215"/>
                </a:lnTo>
                <a:lnTo>
                  <a:pt x="427" y="219"/>
                </a:lnTo>
                <a:lnTo>
                  <a:pt x="426" y="222"/>
                </a:lnTo>
                <a:lnTo>
                  <a:pt x="423" y="224"/>
                </a:lnTo>
                <a:lnTo>
                  <a:pt x="423" y="229"/>
                </a:lnTo>
                <a:lnTo>
                  <a:pt x="423" y="229"/>
                </a:lnTo>
                <a:lnTo>
                  <a:pt x="423" y="232"/>
                </a:lnTo>
                <a:lnTo>
                  <a:pt x="421" y="234"/>
                </a:lnTo>
                <a:lnTo>
                  <a:pt x="417" y="237"/>
                </a:lnTo>
                <a:lnTo>
                  <a:pt x="413" y="240"/>
                </a:lnTo>
                <a:lnTo>
                  <a:pt x="413" y="242"/>
                </a:lnTo>
                <a:lnTo>
                  <a:pt x="411" y="243"/>
                </a:lnTo>
                <a:lnTo>
                  <a:pt x="411" y="243"/>
                </a:lnTo>
                <a:lnTo>
                  <a:pt x="411" y="244"/>
                </a:lnTo>
                <a:lnTo>
                  <a:pt x="411" y="246"/>
                </a:lnTo>
                <a:lnTo>
                  <a:pt x="407" y="244"/>
                </a:lnTo>
                <a:lnTo>
                  <a:pt x="400" y="242"/>
                </a:lnTo>
                <a:lnTo>
                  <a:pt x="400" y="242"/>
                </a:lnTo>
                <a:lnTo>
                  <a:pt x="393" y="242"/>
                </a:lnTo>
                <a:lnTo>
                  <a:pt x="381" y="244"/>
                </a:lnTo>
                <a:lnTo>
                  <a:pt x="362" y="250"/>
                </a:lnTo>
                <a:lnTo>
                  <a:pt x="362" y="250"/>
                </a:lnTo>
                <a:lnTo>
                  <a:pt x="359" y="249"/>
                </a:lnTo>
                <a:lnTo>
                  <a:pt x="353" y="246"/>
                </a:lnTo>
                <a:lnTo>
                  <a:pt x="349" y="243"/>
                </a:lnTo>
                <a:lnTo>
                  <a:pt x="345" y="242"/>
                </a:lnTo>
                <a:lnTo>
                  <a:pt x="345" y="242"/>
                </a:lnTo>
                <a:lnTo>
                  <a:pt x="342" y="240"/>
                </a:lnTo>
                <a:lnTo>
                  <a:pt x="340" y="240"/>
                </a:lnTo>
                <a:lnTo>
                  <a:pt x="337" y="236"/>
                </a:lnTo>
                <a:lnTo>
                  <a:pt x="336" y="230"/>
                </a:lnTo>
                <a:lnTo>
                  <a:pt x="335" y="224"/>
                </a:lnTo>
                <a:lnTo>
                  <a:pt x="335" y="224"/>
                </a:lnTo>
                <a:lnTo>
                  <a:pt x="333" y="219"/>
                </a:lnTo>
                <a:lnTo>
                  <a:pt x="327" y="215"/>
                </a:lnTo>
                <a:lnTo>
                  <a:pt x="322" y="209"/>
                </a:lnTo>
                <a:lnTo>
                  <a:pt x="317" y="203"/>
                </a:lnTo>
                <a:lnTo>
                  <a:pt x="317" y="203"/>
                </a:lnTo>
                <a:lnTo>
                  <a:pt x="315" y="197"/>
                </a:lnTo>
                <a:lnTo>
                  <a:pt x="313" y="189"/>
                </a:lnTo>
                <a:lnTo>
                  <a:pt x="312" y="172"/>
                </a:lnTo>
                <a:lnTo>
                  <a:pt x="312" y="172"/>
                </a:lnTo>
                <a:lnTo>
                  <a:pt x="312" y="153"/>
                </a:lnTo>
                <a:lnTo>
                  <a:pt x="313" y="141"/>
                </a:lnTo>
                <a:lnTo>
                  <a:pt x="317" y="128"/>
                </a:lnTo>
                <a:lnTo>
                  <a:pt x="317" y="128"/>
                </a:lnTo>
                <a:lnTo>
                  <a:pt x="319" y="121"/>
                </a:lnTo>
                <a:lnTo>
                  <a:pt x="319" y="121"/>
                </a:lnTo>
                <a:lnTo>
                  <a:pt x="315" y="119"/>
                </a:lnTo>
                <a:lnTo>
                  <a:pt x="312" y="118"/>
                </a:lnTo>
                <a:lnTo>
                  <a:pt x="312" y="118"/>
                </a:lnTo>
                <a:lnTo>
                  <a:pt x="306" y="118"/>
                </a:lnTo>
                <a:lnTo>
                  <a:pt x="299" y="115"/>
                </a:lnTo>
                <a:lnTo>
                  <a:pt x="289" y="111"/>
                </a:lnTo>
                <a:lnTo>
                  <a:pt x="289" y="111"/>
                </a:lnTo>
                <a:lnTo>
                  <a:pt x="288" y="109"/>
                </a:lnTo>
                <a:lnTo>
                  <a:pt x="286" y="106"/>
                </a:lnTo>
                <a:lnTo>
                  <a:pt x="285" y="101"/>
                </a:lnTo>
                <a:lnTo>
                  <a:pt x="285" y="101"/>
                </a:lnTo>
                <a:lnTo>
                  <a:pt x="283" y="98"/>
                </a:lnTo>
                <a:lnTo>
                  <a:pt x="283" y="94"/>
                </a:lnTo>
                <a:lnTo>
                  <a:pt x="282" y="91"/>
                </a:lnTo>
                <a:lnTo>
                  <a:pt x="280" y="88"/>
                </a:lnTo>
                <a:lnTo>
                  <a:pt x="280" y="88"/>
                </a:lnTo>
                <a:lnTo>
                  <a:pt x="273" y="81"/>
                </a:lnTo>
                <a:lnTo>
                  <a:pt x="269" y="74"/>
                </a:lnTo>
                <a:lnTo>
                  <a:pt x="266" y="67"/>
                </a:lnTo>
                <a:lnTo>
                  <a:pt x="266" y="67"/>
                </a:lnTo>
                <a:lnTo>
                  <a:pt x="263" y="64"/>
                </a:lnTo>
                <a:lnTo>
                  <a:pt x="261" y="59"/>
                </a:lnTo>
                <a:lnTo>
                  <a:pt x="253" y="55"/>
                </a:lnTo>
                <a:lnTo>
                  <a:pt x="244" y="52"/>
                </a:lnTo>
                <a:lnTo>
                  <a:pt x="238" y="51"/>
                </a:lnTo>
                <a:lnTo>
                  <a:pt x="238" y="51"/>
                </a:lnTo>
                <a:lnTo>
                  <a:pt x="235" y="51"/>
                </a:lnTo>
                <a:lnTo>
                  <a:pt x="232" y="52"/>
                </a:lnTo>
                <a:lnTo>
                  <a:pt x="229" y="58"/>
                </a:lnTo>
                <a:lnTo>
                  <a:pt x="226" y="62"/>
                </a:lnTo>
                <a:lnTo>
                  <a:pt x="225" y="65"/>
                </a:lnTo>
                <a:lnTo>
                  <a:pt x="225" y="65"/>
                </a:lnTo>
                <a:lnTo>
                  <a:pt x="222" y="64"/>
                </a:lnTo>
                <a:lnTo>
                  <a:pt x="216" y="61"/>
                </a:lnTo>
                <a:lnTo>
                  <a:pt x="207" y="55"/>
                </a:lnTo>
                <a:lnTo>
                  <a:pt x="207" y="55"/>
                </a:lnTo>
                <a:lnTo>
                  <a:pt x="204" y="54"/>
                </a:lnTo>
                <a:lnTo>
                  <a:pt x="202" y="51"/>
                </a:lnTo>
                <a:lnTo>
                  <a:pt x="201" y="45"/>
                </a:lnTo>
                <a:lnTo>
                  <a:pt x="201" y="45"/>
                </a:lnTo>
                <a:lnTo>
                  <a:pt x="199" y="42"/>
                </a:lnTo>
                <a:lnTo>
                  <a:pt x="197" y="38"/>
                </a:lnTo>
                <a:lnTo>
                  <a:pt x="189" y="32"/>
                </a:lnTo>
                <a:lnTo>
                  <a:pt x="189" y="32"/>
                </a:lnTo>
                <a:lnTo>
                  <a:pt x="179" y="24"/>
                </a:lnTo>
                <a:lnTo>
                  <a:pt x="172" y="17"/>
                </a:lnTo>
                <a:lnTo>
                  <a:pt x="147" y="17"/>
                </a:lnTo>
                <a:lnTo>
                  <a:pt x="141" y="24"/>
                </a:lnTo>
                <a:lnTo>
                  <a:pt x="96" y="24"/>
                </a:lnTo>
                <a:lnTo>
                  <a:pt x="96" y="24"/>
                </a:lnTo>
                <a:lnTo>
                  <a:pt x="77" y="17"/>
                </a:lnTo>
                <a:lnTo>
                  <a:pt x="54" y="10"/>
                </a:lnTo>
                <a:lnTo>
                  <a:pt x="54" y="10"/>
                </a:lnTo>
                <a:lnTo>
                  <a:pt x="49" y="7"/>
                </a:lnTo>
                <a:lnTo>
                  <a:pt x="43" y="4"/>
                </a:lnTo>
                <a:lnTo>
                  <a:pt x="37" y="0"/>
                </a:lnTo>
                <a:lnTo>
                  <a:pt x="0" y="5"/>
                </a:lnTo>
                <a:lnTo>
                  <a:pt x="0" y="5"/>
                </a:lnTo>
                <a:lnTo>
                  <a:pt x="3" y="11"/>
                </a:lnTo>
                <a:lnTo>
                  <a:pt x="9" y="18"/>
                </a:lnTo>
                <a:lnTo>
                  <a:pt x="9" y="18"/>
                </a:lnTo>
                <a:lnTo>
                  <a:pt x="13" y="27"/>
                </a:lnTo>
                <a:lnTo>
                  <a:pt x="17" y="35"/>
                </a:lnTo>
                <a:lnTo>
                  <a:pt x="20" y="44"/>
                </a:lnTo>
                <a:lnTo>
                  <a:pt x="22" y="49"/>
                </a:lnTo>
                <a:lnTo>
                  <a:pt x="22" y="49"/>
                </a:lnTo>
                <a:lnTo>
                  <a:pt x="24" y="54"/>
                </a:lnTo>
                <a:lnTo>
                  <a:pt x="29" y="58"/>
                </a:lnTo>
                <a:lnTo>
                  <a:pt x="42" y="65"/>
                </a:lnTo>
                <a:lnTo>
                  <a:pt x="42" y="65"/>
                </a:lnTo>
                <a:lnTo>
                  <a:pt x="44" y="68"/>
                </a:lnTo>
                <a:lnTo>
                  <a:pt x="47" y="71"/>
                </a:lnTo>
                <a:lnTo>
                  <a:pt x="49" y="77"/>
                </a:lnTo>
                <a:lnTo>
                  <a:pt x="50" y="82"/>
                </a:lnTo>
                <a:lnTo>
                  <a:pt x="50" y="86"/>
                </a:lnTo>
                <a:lnTo>
                  <a:pt x="50" y="86"/>
                </a:lnTo>
                <a:lnTo>
                  <a:pt x="49" y="88"/>
                </a:lnTo>
                <a:lnTo>
                  <a:pt x="47" y="88"/>
                </a:lnTo>
                <a:lnTo>
                  <a:pt x="43" y="88"/>
                </a:lnTo>
                <a:lnTo>
                  <a:pt x="39" y="86"/>
                </a:lnTo>
                <a:lnTo>
                  <a:pt x="37" y="86"/>
                </a:lnTo>
                <a:lnTo>
                  <a:pt x="37" y="88"/>
                </a:lnTo>
                <a:lnTo>
                  <a:pt x="37" y="88"/>
                </a:lnTo>
                <a:lnTo>
                  <a:pt x="39" y="92"/>
                </a:lnTo>
                <a:lnTo>
                  <a:pt x="44" y="96"/>
                </a:lnTo>
                <a:lnTo>
                  <a:pt x="51" y="101"/>
                </a:lnTo>
                <a:lnTo>
                  <a:pt x="57" y="102"/>
                </a:lnTo>
                <a:lnTo>
                  <a:pt x="57" y="102"/>
                </a:lnTo>
                <a:lnTo>
                  <a:pt x="60" y="104"/>
                </a:lnTo>
                <a:lnTo>
                  <a:pt x="64" y="105"/>
                </a:lnTo>
                <a:lnTo>
                  <a:pt x="74" y="114"/>
                </a:lnTo>
                <a:lnTo>
                  <a:pt x="74" y="114"/>
                </a:lnTo>
                <a:lnTo>
                  <a:pt x="78" y="119"/>
                </a:lnTo>
                <a:lnTo>
                  <a:pt x="81" y="125"/>
                </a:lnTo>
                <a:lnTo>
                  <a:pt x="81" y="131"/>
                </a:lnTo>
                <a:lnTo>
                  <a:pt x="78" y="133"/>
                </a:lnTo>
                <a:lnTo>
                  <a:pt x="78" y="133"/>
                </a:lnTo>
                <a:lnTo>
                  <a:pt x="78" y="135"/>
                </a:lnTo>
                <a:lnTo>
                  <a:pt x="78" y="136"/>
                </a:lnTo>
                <a:lnTo>
                  <a:pt x="83" y="139"/>
                </a:lnTo>
                <a:lnTo>
                  <a:pt x="97" y="149"/>
                </a:lnTo>
                <a:lnTo>
                  <a:pt x="97" y="149"/>
                </a:lnTo>
                <a:lnTo>
                  <a:pt x="104" y="156"/>
                </a:lnTo>
                <a:lnTo>
                  <a:pt x="110" y="162"/>
                </a:lnTo>
                <a:lnTo>
                  <a:pt x="113" y="166"/>
                </a:lnTo>
                <a:lnTo>
                  <a:pt x="114" y="170"/>
                </a:lnTo>
                <a:lnTo>
                  <a:pt x="114" y="170"/>
                </a:lnTo>
                <a:lnTo>
                  <a:pt x="115" y="172"/>
                </a:lnTo>
                <a:lnTo>
                  <a:pt x="118" y="172"/>
                </a:lnTo>
                <a:lnTo>
                  <a:pt x="120" y="169"/>
                </a:lnTo>
                <a:lnTo>
                  <a:pt x="123" y="165"/>
                </a:lnTo>
                <a:lnTo>
                  <a:pt x="123" y="165"/>
                </a:lnTo>
                <a:lnTo>
                  <a:pt x="123" y="162"/>
                </a:lnTo>
                <a:lnTo>
                  <a:pt x="121" y="159"/>
                </a:lnTo>
                <a:lnTo>
                  <a:pt x="120" y="156"/>
                </a:lnTo>
                <a:lnTo>
                  <a:pt x="118" y="152"/>
                </a:lnTo>
                <a:lnTo>
                  <a:pt x="118" y="152"/>
                </a:lnTo>
                <a:lnTo>
                  <a:pt x="118" y="150"/>
                </a:lnTo>
                <a:lnTo>
                  <a:pt x="117" y="149"/>
                </a:lnTo>
                <a:lnTo>
                  <a:pt x="113" y="148"/>
                </a:lnTo>
                <a:lnTo>
                  <a:pt x="106" y="146"/>
                </a:lnTo>
                <a:lnTo>
                  <a:pt x="106" y="146"/>
                </a:lnTo>
                <a:lnTo>
                  <a:pt x="104" y="146"/>
                </a:lnTo>
                <a:lnTo>
                  <a:pt x="103" y="145"/>
                </a:lnTo>
                <a:lnTo>
                  <a:pt x="103" y="141"/>
                </a:lnTo>
                <a:lnTo>
                  <a:pt x="103" y="136"/>
                </a:lnTo>
                <a:lnTo>
                  <a:pt x="101" y="132"/>
                </a:lnTo>
                <a:lnTo>
                  <a:pt x="101" y="132"/>
                </a:lnTo>
                <a:lnTo>
                  <a:pt x="98" y="128"/>
                </a:lnTo>
                <a:lnTo>
                  <a:pt x="96" y="122"/>
                </a:lnTo>
                <a:lnTo>
                  <a:pt x="91" y="109"/>
                </a:lnTo>
                <a:lnTo>
                  <a:pt x="91" y="109"/>
                </a:lnTo>
                <a:lnTo>
                  <a:pt x="87" y="104"/>
                </a:lnTo>
                <a:lnTo>
                  <a:pt x="83" y="98"/>
                </a:lnTo>
                <a:lnTo>
                  <a:pt x="77" y="92"/>
                </a:lnTo>
                <a:lnTo>
                  <a:pt x="73" y="85"/>
                </a:lnTo>
                <a:lnTo>
                  <a:pt x="73" y="85"/>
                </a:lnTo>
                <a:lnTo>
                  <a:pt x="66" y="75"/>
                </a:lnTo>
                <a:lnTo>
                  <a:pt x="60" y="68"/>
                </a:lnTo>
                <a:lnTo>
                  <a:pt x="60" y="68"/>
                </a:lnTo>
                <a:lnTo>
                  <a:pt x="60" y="67"/>
                </a:lnTo>
                <a:lnTo>
                  <a:pt x="61" y="64"/>
                </a:lnTo>
                <a:lnTo>
                  <a:pt x="63" y="62"/>
                </a:lnTo>
                <a:lnTo>
                  <a:pt x="61" y="59"/>
                </a:lnTo>
                <a:lnTo>
                  <a:pt x="61" y="59"/>
                </a:lnTo>
                <a:lnTo>
                  <a:pt x="60" y="58"/>
                </a:lnTo>
                <a:lnTo>
                  <a:pt x="57" y="57"/>
                </a:lnTo>
                <a:lnTo>
                  <a:pt x="50" y="54"/>
                </a:lnTo>
                <a:lnTo>
                  <a:pt x="50" y="54"/>
                </a:lnTo>
                <a:lnTo>
                  <a:pt x="46" y="52"/>
                </a:lnTo>
                <a:lnTo>
                  <a:pt x="43" y="49"/>
                </a:lnTo>
                <a:lnTo>
                  <a:pt x="42" y="45"/>
                </a:lnTo>
                <a:lnTo>
                  <a:pt x="40" y="42"/>
                </a:lnTo>
                <a:lnTo>
                  <a:pt x="40" y="42"/>
                </a:lnTo>
                <a:lnTo>
                  <a:pt x="39" y="30"/>
                </a:lnTo>
                <a:lnTo>
                  <a:pt x="36" y="18"/>
                </a:lnTo>
                <a:lnTo>
                  <a:pt x="36" y="18"/>
                </a:lnTo>
                <a:lnTo>
                  <a:pt x="36" y="15"/>
                </a:lnTo>
                <a:lnTo>
                  <a:pt x="37" y="15"/>
                </a:lnTo>
                <a:lnTo>
                  <a:pt x="39" y="15"/>
                </a:lnTo>
                <a:lnTo>
                  <a:pt x="42" y="17"/>
                </a:lnTo>
                <a:lnTo>
                  <a:pt x="42" y="17"/>
                </a:lnTo>
                <a:lnTo>
                  <a:pt x="43" y="20"/>
                </a:lnTo>
                <a:lnTo>
                  <a:pt x="44" y="20"/>
                </a:lnTo>
                <a:lnTo>
                  <a:pt x="47" y="20"/>
                </a:lnTo>
                <a:lnTo>
                  <a:pt x="47" y="20"/>
                </a:lnTo>
                <a:lnTo>
                  <a:pt x="49" y="18"/>
                </a:lnTo>
                <a:lnTo>
                  <a:pt x="51" y="20"/>
                </a:lnTo>
                <a:lnTo>
                  <a:pt x="53" y="20"/>
                </a:lnTo>
                <a:lnTo>
                  <a:pt x="56" y="22"/>
                </a:lnTo>
                <a:lnTo>
                  <a:pt x="56" y="22"/>
                </a:lnTo>
                <a:lnTo>
                  <a:pt x="57" y="24"/>
                </a:lnTo>
                <a:lnTo>
                  <a:pt x="60" y="24"/>
                </a:lnTo>
                <a:lnTo>
                  <a:pt x="63" y="24"/>
                </a:lnTo>
                <a:lnTo>
                  <a:pt x="66" y="25"/>
                </a:lnTo>
                <a:lnTo>
                  <a:pt x="66" y="25"/>
                </a:lnTo>
                <a:lnTo>
                  <a:pt x="66" y="25"/>
                </a:lnTo>
                <a:lnTo>
                  <a:pt x="66" y="27"/>
                </a:lnTo>
                <a:lnTo>
                  <a:pt x="64" y="30"/>
                </a:lnTo>
                <a:lnTo>
                  <a:pt x="64" y="35"/>
                </a:lnTo>
                <a:lnTo>
                  <a:pt x="66" y="40"/>
                </a:lnTo>
                <a:lnTo>
                  <a:pt x="69" y="45"/>
                </a:lnTo>
                <a:lnTo>
                  <a:pt x="69" y="45"/>
                </a:lnTo>
                <a:lnTo>
                  <a:pt x="73" y="54"/>
                </a:lnTo>
                <a:lnTo>
                  <a:pt x="74" y="57"/>
                </a:lnTo>
                <a:lnTo>
                  <a:pt x="73" y="58"/>
                </a:lnTo>
                <a:lnTo>
                  <a:pt x="71" y="64"/>
                </a:lnTo>
                <a:lnTo>
                  <a:pt x="71" y="64"/>
                </a:lnTo>
                <a:lnTo>
                  <a:pt x="73" y="69"/>
                </a:lnTo>
                <a:lnTo>
                  <a:pt x="73" y="69"/>
                </a:lnTo>
                <a:lnTo>
                  <a:pt x="74" y="71"/>
                </a:lnTo>
                <a:lnTo>
                  <a:pt x="77" y="69"/>
                </a:lnTo>
                <a:lnTo>
                  <a:pt x="78" y="68"/>
                </a:lnTo>
                <a:lnTo>
                  <a:pt x="78" y="68"/>
                </a:lnTo>
                <a:lnTo>
                  <a:pt x="81" y="68"/>
                </a:lnTo>
                <a:lnTo>
                  <a:pt x="84" y="69"/>
                </a:lnTo>
                <a:lnTo>
                  <a:pt x="90" y="77"/>
                </a:lnTo>
                <a:lnTo>
                  <a:pt x="90" y="77"/>
                </a:lnTo>
                <a:lnTo>
                  <a:pt x="94" y="81"/>
                </a:lnTo>
                <a:lnTo>
                  <a:pt x="98" y="82"/>
                </a:lnTo>
                <a:lnTo>
                  <a:pt x="103" y="84"/>
                </a:lnTo>
                <a:lnTo>
                  <a:pt x="104" y="86"/>
                </a:lnTo>
                <a:lnTo>
                  <a:pt x="104" y="86"/>
                </a:lnTo>
                <a:lnTo>
                  <a:pt x="104" y="89"/>
                </a:lnTo>
                <a:lnTo>
                  <a:pt x="106" y="92"/>
                </a:lnTo>
                <a:lnTo>
                  <a:pt x="108" y="95"/>
                </a:lnTo>
                <a:lnTo>
                  <a:pt x="111" y="96"/>
                </a:lnTo>
                <a:lnTo>
                  <a:pt x="111" y="96"/>
                </a:lnTo>
                <a:lnTo>
                  <a:pt x="115" y="98"/>
                </a:lnTo>
                <a:lnTo>
                  <a:pt x="118" y="101"/>
                </a:lnTo>
                <a:lnTo>
                  <a:pt x="120" y="104"/>
                </a:lnTo>
                <a:lnTo>
                  <a:pt x="123" y="105"/>
                </a:lnTo>
                <a:lnTo>
                  <a:pt x="123" y="105"/>
                </a:lnTo>
                <a:lnTo>
                  <a:pt x="125" y="106"/>
                </a:lnTo>
                <a:lnTo>
                  <a:pt x="127" y="109"/>
                </a:lnTo>
                <a:lnTo>
                  <a:pt x="127" y="112"/>
                </a:lnTo>
                <a:lnTo>
                  <a:pt x="125" y="115"/>
                </a:lnTo>
                <a:lnTo>
                  <a:pt x="125" y="115"/>
                </a:lnTo>
                <a:lnTo>
                  <a:pt x="124" y="118"/>
                </a:lnTo>
                <a:lnTo>
                  <a:pt x="125" y="121"/>
                </a:lnTo>
                <a:lnTo>
                  <a:pt x="130" y="125"/>
                </a:lnTo>
                <a:lnTo>
                  <a:pt x="135" y="128"/>
                </a:lnTo>
                <a:lnTo>
                  <a:pt x="135" y="128"/>
                </a:lnTo>
                <a:lnTo>
                  <a:pt x="140" y="129"/>
                </a:lnTo>
                <a:lnTo>
                  <a:pt x="143" y="132"/>
                </a:lnTo>
                <a:lnTo>
                  <a:pt x="144" y="135"/>
                </a:lnTo>
                <a:lnTo>
                  <a:pt x="148" y="139"/>
                </a:lnTo>
                <a:lnTo>
                  <a:pt x="148" y="139"/>
                </a:lnTo>
                <a:lnTo>
                  <a:pt x="167" y="159"/>
                </a:lnTo>
                <a:lnTo>
                  <a:pt x="182" y="178"/>
                </a:lnTo>
                <a:lnTo>
                  <a:pt x="182" y="178"/>
                </a:lnTo>
                <a:lnTo>
                  <a:pt x="188" y="187"/>
                </a:lnTo>
                <a:lnTo>
                  <a:pt x="191" y="195"/>
                </a:lnTo>
                <a:lnTo>
                  <a:pt x="191" y="195"/>
                </a:lnTo>
                <a:lnTo>
                  <a:pt x="191" y="199"/>
                </a:lnTo>
                <a:lnTo>
                  <a:pt x="189" y="202"/>
                </a:lnTo>
                <a:lnTo>
                  <a:pt x="189" y="205"/>
                </a:lnTo>
                <a:lnTo>
                  <a:pt x="189" y="207"/>
                </a:lnTo>
                <a:lnTo>
                  <a:pt x="189" y="207"/>
                </a:lnTo>
                <a:lnTo>
                  <a:pt x="191" y="209"/>
                </a:lnTo>
                <a:lnTo>
                  <a:pt x="188" y="210"/>
                </a:lnTo>
                <a:lnTo>
                  <a:pt x="187" y="212"/>
                </a:lnTo>
                <a:lnTo>
                  <a:pt x="185" y="213"/>
                </a:lnTo>
                <a:lnTo>
                  <a:pt x="185" y="213"/>
                </a:lnTo>
                <a:lnTo>
                  <a:pt x="187" y="217"/>
                </a:lnTo>
                <a:lnTo>
                  <a:pt x="188" y="223"/>
                </a:lnTo>
                <a:lnTo>
                  <a:pt x="192" y="230"/>
                </a:lnTo>
                <a:lnTo>
                  <a:pt x="195" y="232"/>
                </a:lnTo>
                <a:lnTo>
                  <a:pt x="198" y="233"/>
                </a:lnTo>
                <a:lnTo>
                  <a:pt x="198" y="233"/>
                </a:lnTo>
                <a:lnTo>
                  <a:pt x="204" y="234"/>
                </a:lnTo>
                <a:lnTo>
                  <a:pt x="209" y="239"/>
                </a:lnTo>
                <a:lnTo>
                  <a:pt x="221" y="249"/>
                </a:lnTo>
                <a:lnTo>
                  <a:pt x="221" y="249"/>
                </a:lnTo>
                <a:lnTo>
                  <a:pt x="226" y="251"/>
                </a:lnTo>
                <a:lnTo>
                  <a:pt x="232" y="253"/>
                </a:lnTo>
                <a:lnTo>
                  <a:pt x="239" y="254"/>
                </a:lnTo>
                <a:lnTo>
                  <a:pt x="246" y="256"/>
                </a:lnTo>
                <a:lnTo>
                  <a:pt x="246" y="256"/>
                </a:lnTo>
                <a:lnTo>
                  <a:pt x="253" y="260"/>
                </a:lnTo>
                <a:lnTo>
                  <a:pt x="261" y="264"/>
                </a:lnTo>
                <a:lnTo>
                  <a:pt x="269" y="269"/>
                </a:lnTo>
                <a:lnTo>
                  <a:pt x="278" y="271"/>
                </a:lnTo>
                <a:lnTo>
                  <a:pt x="278" y="271"/>
                </a:lnTo>
                <a:lnTo>
                  <a:pt x="298" y="279"/>
                </a:lnTo>
                <a:lnTo>
                  <a:pt x="315" y="287"/>
                </a:lnTo>
                <a:lnTo>
                  <a:pt x="315" y="287"/>
                </a:lnTo>
                <a:lnTo>
                  <a:pt x="322" y="290"/>
                </a:lnTo>
                <a:lnTo>
                  <a:pt x="329" y="291"/>
                </a:lnTo>
                <a:lnTo>
                  <a:pt x="337" y="288"/>
                </a:lnTo>
                <a:lnTo>
                  <a:pt x="347" y="286"/>
                </a:lnTo>
                <a:lnTo>
                  <a:pt x="347" y="286"/>
                </a:lnTo>
                <a:lnTo>
                  <a:pt x="352" y="284"/>
                </a:lnTo>
                <a:lnTo>
                  <a:pt x="356" y="284"/>
                </a:lnTo>
                <a:lnTo>
                  <a:pt x="363" y="286"/>
                </a:lnTo>
                <a:lnTo>
                  <a:pt x="370" y="287"/>
                </a:lnTo>
                <a:lnTo>
                  <a:pt x="376" y="290"/>
                </a:lnTo>
                <a:lnTo>
                  <a:pt x="376" y="290"/>
                </a:lnTo>
                <a:lnTo>
                  <a:pt x="383" y="296"/>
                </a:lnTo>
                <a:lnTo>
                  <a:pt x="393" y="304"/>
                </a:lnTo>
                <a:lnTo>
                  <a:pt x="393" y="304"/>
                </a:lnTo>
                <a:lnTo>
                  <a:pt x="406" y="286"/>
                </a:lnTo>
                <a:lnTo>
                  <a:pt x="406" y="286"/>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00" name="Freeform 287">
            <a:extLst>
              <a:ext uri="{FF2B5EF4-FFF2-40B4-BE49-F238E27FC236}">
                <a16:creationId xmlns:a16="http://schemas.microsoft.com/office/drawing/2014/main" id="{78052B96-EBE6-77E9-B882-6260BA40A162}"/>
              </a:ext>
            </a:extLst>
          </p:cNvPr>
          <p:cNvSpPr>
            <a:spLocks/>
          </p:cNvSpPr>
          <p:nvPr userDrawn="1"/>
        </p:nvSpPr>
        <p:spPr bwMode="gray">
          <a:xfrm>
            <a:off x="2406652" y="2968802"/>
            <a:ext cx="88435" cy="87135"/>
          </a:xfrm>
          <a:custGeom>
            <a:avLst/>
            <a:gdLst/>
            <a:ahLst/>
            <a:cxnLst>
              <a:cxn ang="0">
                <a:pos x="60" y="45"/>
              </a:cxn>
              <a:cxn ang="0">
                <a:pos x="60" y="45"/>
              </a:cxn>
              <a:cxn ang="0">
                <a:pos x="68" y="35"/>
              </a:cxn>
              <a:cxn ang="0">
                <a:pos x="68" y="35"/>
              </a:cxn>
              <a:cxn ang="0">
                <a:pos x="65" y="37"/>
              </a:cxn>
              <a:cxn ang="0">
                <a:pos x="62" y="37"/>
              </a:cxn>
              <a:cxn ang="0">
                <a:pos x="62" y="35"/>
              </a:cxn>
              <a:cxn ang="0">
                <a:pos x="62" y="32"/>
              </a:cxn>
              <a:cxn ang="0">
                <a:pos x="54" y="32"/>
              </a:cxn>
              <a:cxn ang="0">
                <a:pos x="55" y="1"/>
              </a:cxn>
              <a:cxn ang="0">
                <a:pos x="55" y="1"/>
              </a:cxn>
              <a:cxn ang="0">
                <a:pos x="28" y="0"/>
              </a:cxn>
              <a:cxn ang="0">
                <a:pos x="28" y="0"/>
              </a:cxn>
              <a:cxn ang="0">
                <a:pos x="27" y="3"/>
              </a:cxn>
              <a:cxn ang="0">
                <a:pos x="25" y="5"/>
              </a:cxn>
              <a:cxn ang="0">
                <a:pos x="24" y="10"/>
              </a:cxn>
              <a:cxn ang="0">
                <a:pos x="23" y="13"/>
              </a:cxn>
              <a:cxn ang="0">
                <a:pos x="23" y="13"/>
              </a:cxn>
              <a:cxn ang="0">
                <a:pos x="24" y="14"/>
              </a:cxn>
              <a:cxn ang="0">
                <a:pos x="28" y="18"/>
              </a:cxn>
              <a:cxn ang="0">
                <a:pos x="33" y="24"/>
              </a:cxn>
              <a:cxn ang="0">
                <a:pos x="34" y="25"/>
              </a:cxn>
              <a:cxn ang="0">
                <a:pos x="34" y="28"/>
              </a:cxn>
              <a:cxn ang="0">
                <a:pos x="34" y="28"/>
              </a:cxn>
              <a:cxn ang="0">
                <a:pos x="33" y="30"/>
              </a:cxn>
              <a:cxn ang="0">
                <a:pos x="31" y="30"/>
              </a:cxn>
              <a:cxn ang="0">
                <a:pos x="24" y="31"/>
              </a:cxn>
              <a:cxn ang="0">
                <a:pos x="13" y="30"/>
              </a:cxn>
              <a:cxn ang="0">
                <a:pos x="13" y="30"/>
              </a:cxn>
              <a:cxn ang="0">
                <a:pos x="0" y="48"/>
              </a:cxn>
              <a:cxn ang="0">
                <a:pos x="0" y="48"/>
              </a:cxn>
              <a:cxn ang="0">
                <a:pos x="10" y="57"/>
              </a:cxn>
              <a:cxn ang="0">
                <a:pos x="18" y="62"/>
              </a:cxn>
              <a:cxn ang="0">
                <a:pos x="18" y="62"/>
              </a:cxn>
              <a:cxn ang="0">
                <a:pos x="24" y="64"/>
              </a:cxn>
              <a:cxn ang="0">
                <a:pos x="30" y="65"/>
              </a:cxn>
              <a:cxn ang="0">
                <a:pos x="35" y="65"/>
              </a:cxn>
              <a:cxn ang="0">
                <a:pos x="40" y="67"/>
              </a:cxn>
              <a:cxn ang="0">
                <a:pos x="40" y="67"/>
              </a:cxn>
              <a:cxn ang="0">
                <a:pos x="41" y="67"/>
              </a:cxn>
              <a:cxn ang="0">
                <a:pos x="41" y="67"/>
              </a:cxn>
              <a:cxn ang="0">
                <a:pos x="48" y="61"/>
              </a:cxn>
              <a:cxn ang="0">
                <a:pos x="53" y="58"/>
              </a:cxn>
              <a:cxn ang="0">
                <a:pos x="53" y="58"/>
              </a:cxn>
              <a:cxn ang="0">
                <a:pos x="54" y="55"/>
              </a:cxn>
              <a:cxn ang="0">
                <a:pos x="55" y="52"/>
              </a:cxn>
              <a:cxn ang="0">
                <a:pos x="57" y="50"/>
              </a:cxn>
              <a:cxn ang="0">
                <a:pos x="60" y="45"/>
              </a:cxn>
              <a:cxn ang="0">
                <a:pos x="60" y="45"/>
              </a:cxn>
            </a:cxnLst>
            <a:rect l="0" t="0" r="r" b="b"/>
            <a:pathLst>
              <a:path w="68" h="67">
                <a:moveTo>
                  <a:pt x="60" y="45"/>
                </a:moveTo>
                <a:lnTo>
                  <a:pt x="60" y="45"/>
                </a:lnTo>
                <a:lnTo>
                  <a:pt x="68" y="35"/>
                </a:lnTo>
                <a:lnTo>
                  <a:pt x="68" y="35"/>
                </a:lnTo>
                <a:lnTo>
                  <a:pt x="65" y="37"/>
                </a:lnTo>
                <a:lnTo>
                  <a:pt x="62" y="37"/>
                </a:lnTo>
                <a:lnTo>
                  <a:pt x="62" y="35"/>
                </a:lnTo>
                <a:lnTo>
                  <a:pt x="62" y="32"/>
                </a:lnTo>
                <a:lnTo>
                  <a:pt x="54" y="32"/>
                </a:lnTo>
                <a:lnTo>
                  <a:pt x="55" y="1"/>
                </a:lnTo>
                <a:lnTo>
                  <a:pt x="55" y="1"/>
                </a:lnTo>
                <a:lnTo>
                  <a:pt x="28" y="0"/>
                </a:lnTo>
                <a:lnTo>
                  <a:pt x="28" y="0"/>
                </a:lnTo>
                <a:lnTo>
                  <a:pt x="27" y="3"/>
                </a:lnTo>
                <a:lnTo>
                  <a:pt x="25" y="5"/>
                </a:lnTo>
                <a:lnTo>
                  <a:pt x="24" y="10"/>
                </a:lnTo>
                <a:lnTo>
                  <a:pt x="23" y="13"/>
                </a:lnTo>
                <a:lnTo>
                  <a:pt x="23" y="13"/>
                </a:lnTo>
                <a:lnTo>
                  <a:pt x="24" y="14"/>
                </a:lnTo>
                <a:lnTo>
                  <a:pt x="28" y="18"/>
                </a:lnTo>
                <a:lnTo>
                  <a:pt x="33" y="24"/>
                </a:lnTo>
                <a:lnTo>
                  <a:pt x="34" y="25"/>
                </a:lnTo>
                <a:lnTo>
                  <a:pt x="34" y="28"/>
                </a:lnTo>
                <a:lnTo>
                  <a:pt x="34" y="28"/>
                </a:lnTo>
                <a:lnTo>
                  <a:pt x="33" y="30"/>
                </a:lnTo>
                <a:lnTo>
                  <a:pt x="31" y="30"/>
                </a:lnTo>
                <a:lnTo>
                  <a:pt x="24" y="31"/>
                </a:lnTo>
                <a:lnTo>
                  <a:pt x="13" y="30"/>
                </a:lnTo>
                <a:lnTo>
                  <a:pt x="13" y="30"/>
                </a:lnTo>
                <a:lnTo>
                  <a:pt x="0" y="48"/>
                </a:lnTo>
                <a:lnTo>
                  <a:pt x="0" y="48"/>
                </a:lnTo>
                <a:lnTo>
                  <a:pt x="10" y="57"/>
                </a:lnTo>
                <a:lnTo>
                  <a:pt x="18" y="62"/>
                </a:lnTo>
                <a:lnTo>
                  <a:pt x="18" y="62"/>
                </a:lnTo>
                <a:lnTo>
                  <a:pt x="24" y="64"/>
                </a:lnTo>
                <a:lnTo>
                  <a:pt x="30" y="65"/>
                </a:lnTo>
                <a:lnTo>
                  <a:pt x="35" y="65"/>
                </a:lnTo>
                <a:lnTo>
                  <a:pt x="40" y="67"/>
                </a:lnTo>
                <a:lnTo>
                  <a:pt x="40" y="67"/>
                </a:lnTo>
                <a:lnTo>
                  <a:pt x="41" y="67"/>
                </a:lnTo>
                <a:lnTo>
                  <a:pt x="41" y="67"/>
                </a:lnTo>
                <a:lnTo>
                  <a:pt x="48" y="61"/>
                </a:lnTo>
                <a:lnTo>
                  <a:pt x="53" y="58"/>
                </a:lnTo>
                <a:lnTo>
                  <a:pt x="53" y="58"/>
                </a:lnTo>
                <a:lnTo>
                  <a:pt x="54" y="55"/>
                </a:lnTo>
                <a:lnTo>
                  <a:pt x="55" y="52"/>
                </a:lnTo>
                <a:lnTo>
                  <a:pt x="57" y="50"/>
                </a:lnTo>
                <a:lnTo>
                  <a:pt x="60" y="45"/>
                </a:lnTo>
                <a:lnTo>
                  <a:pt x="60" y="45"/>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01" name="Freeform 288">
            <a:extLst>
              <a:ext uri="{FF2B5EF4-FFF2-40B4-BE49-F238E27FC236}">
                <a16:creationId xmlns:a16="http://schemas.microsoft.com/office/drawing/2014/main" id="{BA1E4E92-30D5-B187-F201-8AFE91F6CF6C}"/>
              </a:ext>
            </a:extLst>
          </p:cNvPr>
          <p:cNvSpPr>
            <a:spLocks/>
          </p:cNvSpPr>
          <p:nvPr userDrawn="1"/>
        </p:nvSpPr>
        <p:spPr bwMode="gray">
          <a:xfrm>
            <a:off x="2476880" y="2955796"/>
            <a:ext cx="27311" cy="54621"/>
          </a:xfrm>
          <a:custGeom>
            <a:avLst/>
            <a:gdLst/>
            <a:ahLst/>
            <a:cxnLst>
              <a:cxn ang="0">
                <a:pos x="3" y="10"/>
              </a:cxn>
              <a:cxn ang="0">
                <a:pos x="3" y="10"/>
              </a:cxn>
              <a:cxn ang="0">
                <a:pos x="1" y="11"/>
              </a:cxn>
              <a:cxn ang="0">
                <a:pos x="0" y="42"/>
              </a:cxn>
              <a:cxn ang="0">
                <a:pos x="8" y="42"/>
              </a:cxn>
              <a:cxn ang="0">
                <a:pos x="8" y="42"/>
              </a:cxn>
              <a:cxn ang="0">
                <a:pos x="10" y="38"/>
              </a:cxn>
              <a:cxn ang="0">
                <a:pos x="13" y="34"/>
              </a:cxn>
              <a:cxn ang="0">
                <a:pos x="13" y="34"/>
              </a:cxn>
              <a:cxn ang="0">
                <a:pos x="16" y="31"/>
              </a:cxn>
              <a:cxn ang="0">
                <a:pos x="16" y="28"/>
              </a:cxn>
              <a:cxn ang="0">
                <a:pos x="16" y="20"/>
              </a:cxn>
              <a:cxn ang="0">
                <a:pos x="14" y="11"/>
              </a:cxn>
              <a:cxn ang="0">
                <a:pos x="16" y="8"/>
              </a:cxn>
              <a:cxn ang="0">
                <a:pos x="17" y="7"/>
              </a:cxn>
              <a:cxn ang="0">
                <a:pos x="17" y="7"/>
              </a:cxn>
              <a:cxn ang="0">
                <a:pos x="21" y="5"/>
              </a:cxn>
              <a:cxn ang="0">
                <a:pos x="21" y="5"/>
              </a:cxn>
              <a:cxn ang="0">
                <a:pos x="17" y="1"/>
              </a:cxn>
              <a:cxn ang="0">
                <a:pos x="14" y="0"/>
              </a:cxn>
              <a:cxn ang="0">
                <a:pos x="14" y="0"/>
              </a:cxn>
              <a:cxn ang="0">
                <a:pos x="10" y="3"/>
              </a:cxn>
              <a:cxn ang="0">
                <a:pos x="7" y="5"/>
              </a:cxn>
              <a:cxn ang="0">
                <a:pos x="3" y="10"/>
              </a:cxn>
              <a:cxn ang="0">
                <a:pos x="3" y="10"/>
              </a:cxn>
            </a:cxnLst>
            <a:rect l="0" t="0" r="r" b="b"/>
            <a:pathLst>
              <a:path w="21" h="42">
                <a:moveTo>
                  <a:pt x="3" y="10"/>
                </a:moveTo>
                <a:lnTo>
                  <a:pt x="3" y="10"/>
                </a:lnTo>
                <a:lnTo>
                  <a:pt x="1" y="11"/>
                </a:lnTo>
                <a:lnTo>
                  <a:pt x="0" y="42"/>
                </a:lnTo>
                <a:lnTo>
                  <a:pt x="8" y="42"/>
                </a:lnTo>
                <a:lnTo>
                  <a:pt x="8" y="42"/>
                </a:lnTo>
                <a:lnTo>
                  <a:pt x="10" y="38"/>
                </a:lnTo>
                <a:lnTo>
                  <a:pt x="13" y="34"/>
                </a:lnTo>
                <a:lnTo>
                  <a:pt x="13" y="34"/>
                </a:lnTo>
                <a:lnTo>
                  <a:pt x="16" y="31"/>
                </a:lnTo>
                <a:lnTo>
                  <a:pt x="16" y="28"/>
                </a:lnTo>
                <a:lnTo>
                  <a:pt x="16" y="20"/>
                </a:lnTo>
                <a:lnTo>
                  <a:pt x="14" y="11"/>
                </a:lnTo>
                <a:lnTo>
                  <a:pt x="16" y="8"/>
                </a:lnTo>
                <a:lnTo>
                  <a:pt x="17" y="7"/>
                </a:lnTo>
                <a:lnTo>
                  <a:pt x="17" y="7"/>
                </a:lnTo>
                <a:lnTo>
                  <a:pt x="21" y="5"/>
                </a:lnTo>
                <a:lnTo>
                  <a:pt x="21" y="5"/>
                </a:lnTo>
                <a:lnTo>
                  <a:pt x="17" y="1"/>
                </a:lnTo>
                <a:lnTo>
                  <a:pt x="14" y="0"/>
                </a:lnTo>
                <a:lnTo>
                  <a:pt x="14" y="0"/>
                </a:lnTo>
                <a:lnTo>
                  <a:pt x="10" y="3"/>
                </a:lnTo>
                <a:lnTo>
                  <a:pt x="7" y="5"/>
                </a:lnTo>
                <a:lnTo>
                  <a:pt x="3" y="10"/>
                </a:lnTo>
                <a:lnTo>
                  <a:pt x="3" y="1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02" name="Freeform 289">
            <a:extLst>
              <a:ext uri="{FF2B5EF4-FFF2-40B4-BE49-F238E27FC236}">
                <a16:creationId xmlns:a16="http://schemas.microsoft.com/office/drawing/2014/main" id="{E2F37D82-5528-661B-3870-A848E436D803}"/>
              </a:ext>
            </a:extLst>
          </p:cNvPr>
          <p:cNvSpPr>
            <a:spLocks/>
          </p:cNvSpPr>
          <p:nvPr userDrawn="1"/>
        </p:nvSpPr>
        <p:spPr bwMode="gray">
          <a:xfrm>
            <a:off x="2786401" y="2920684"/>
            <a:ext cx="58524" cy="45518"/>
          </a:xfrm>
          <a:custGeom>
            <a:avLst/>
            <a:gdLst/>
            <a:ahLst/>
            <a:cxnLst>
              <a:cxn ang="0">
                <a:pos x="19" y="0"/>
              </a:cxn>
              <a:cxn ang="0">
                <a:pos x="19" y="0"/>
              </a:cxn>
              <a:cxn ang="0">
                <a:pos x="18" y="3"/>
              </a:cxn>
              <a:cxn ang="0">
                <a:pos x="18" y="5"/>
              </a:cxn>
              <a:cxn ang="0">
                <a:pos x="22" y="11"/>
              </a:cxn>
              <a:cxn ang="0">
                <a:pos x="28" y="17"/>
              </a:cxn>
              <a:cxn ang="0">
                <a:pos x="29" y="20"/>
              </a:cxn>
              <a:cxn ang="0">
                <a:pos x="31" y="23"/>
              </a:cxn>
              <a:cxn ang="0">
                <a:pos x="31" y="23"/>
              </a:cxn>
              <a:cxn ang="0">
                <a:pos x="29" y="24"/>
              </a:cxn>
              <a:cxn ang="0">
                <a:pos x="27" y="25"/>
              </a:cxn>
              <a:cxn ang="0">
                <a:pos x="17" y="25"/>
              </a:cxn>
              <a:cxn ang="0">
                <a:pos x="5" y="25"/>
              </a:cxn>
              <a:cxn ang="0">
                <a:pos x="1" y="27"/>
              </a:cxn>
              <a:cxn ang="0">
                <a:pos x="0" y="28"/>
              </a:cxn>
              <a:cxn ang="0">
                <a:pos x="0" y="28"/>
              </a:cxn>
              <a:cxn ang="0">
                <a:pos x="0" y="30"/>
              </a:cxn>
              <a:cxn ang="0">
                <a:pos x="1" y="31"/>
              </a:cxn>
              <a:cxn ang="0">
                <a:pos x="5" y="34"/>
              </a:cxn>
              <a:cxn ang="0">
                <a:pos x="12" y="34"/>
              </a:cxn>
              <a:cxn ang="0">
                <a:pos x="19" y="32"/>
              </a:cxn>
              <a:cxn ang="0">
                <a:pos x="19" y="32"/>
              </a:cxn>
              <a:cxn ang="0">
                <a:pos x="27" y="31"/>
              </a:cxn>
              <a:cxn ang="0">
                <a:pos x="32" y="32"/>
              </a:cxn>
              <a:cxn ang="0">
                <a:pos x="38" y="34"/>
              </a:cxn>
              <a:cxn ang="0">
                <a:pos x="42" y="35"/>
              </a:cxn>
              <a:cxn ang="0">
                <a:pos x="42" y="35"/>
              </a:cxn>
              <a:cxn ang="0">
                <a:pos x="45" y="5"/>
              </a:cxn>
              <a:cxn ang="0">
                <a:pos x="45" y="5"/>
              </a:cxn>
              <a:cxn ang="0">
                <a:pos x="31" y="0"/>
              </a:cxn>
              <a:cxn ang="0">
                <a:pos x="25" y="0"/>
              </a:cxn>
              <a:cxn ang="0">
                <a:pos x="22" y="0"/>
              </a:cxn>
              <a:cxn ang="0">
                <a:pos x="19" y="0"/>
              </a:cxn>
              <a:cxn ang="0">
                <a:pos x="19" y="0"/>
              </a:cxn>
            </a:cxnLst>
            <a:rect l="0" t="0" r="r" b="b"/>
            <a:pathLst>
              <a:path w="45" h="35">
                <a:moveTo>
                  <a:pt x="19" y="0"/>
                </a:moveTo>
                <a:lnTo>
                  <a:pt x="19" y="0"/>
                </a:lnTo>
                <a:lnTo>
                  <a:pt x="18" y="3"/>
                </a:lnTo>
                <a:lnTo>
                  <a:pt x="18" y="5"/>
                </a:lnTo>
                <a:lnTo>
                  <a:pt x="22" y="11"/>
                </a:lnTo>
                <a:lnTo>
                  <a:pt x="28" y="17"/>
                </a:lnTo>
                <a:lnTo>
                  <a:pt x="29" y="20"/>
                </a:lnTo>
                <a:lnTo>
                  <a:pt x="31" y="23"/>
                </a:lnTo>
                <a:lnTo>
                  <a:pt x="31" y="23"/>
                </a:lnTo>
                <a:lnTo>
                  <a:pt x="29" y="24"/>
                </a:lnTo>
                <a:lnTo>
                  <a:pt x="27" y="25"/>
                </a:lnTo>
                <a:lnTo>
                  <a:pt x="17" y="25"/>
                </a:lnTo>
                <a:lnTo>
                  <a:pt x="5" y="25"/>
                </a:lnTo>
                <a:lnTo>
                  <a:pt x="1" y="27"/>
                </a:lnTo>
                <a:lnTo>
                  <a:pt x="0" y="28"/>
                </a:lnTo>
                <a:lnTo>
                  <a:pt x="0" y="28"/>
                </a:lnTo>
                <a:lnTo>
                  <a:pt x="0" y="30"/>
                </a:lnTo>
                <a:lnTo>
                  <a:pt x="1" y="31"/>
                </a:lnTo>
                <a:lnTo>
                  <a:pt x="5" y="34"/>
                </a:lnTo>
                <a:lnTo>
                  <a:pt x="12" y="34"/>
                </a:lnTo>
                <a:lnTo>
                  <a:pt x="19" y="32"/>
                </a:lnTo>
                <a:lnTo>
                  <a:pt x="19" y="32"/>
                </a:lnTo>
                <a:lnTo>
                  <a:pt x="27" y="31"/>
                </a:lnTo>
                <a:lnTo>
                  <a:pt x="32" y="32"/>
                </a:lnTo>
                <a:lnTo>
                  <a:pt x="38" y="34"/>
                </a:lnTo>
                <a:lnTo>
                  <a:pt x="42" y="35"/>
                </a:lnTo>
                <a:lnTo>
                  <a:pt x="42" y="35"/>
                </a:lnTo>
                <a:lnTo>
                  <a:pt x="45" y="5"/>
                </a:lnTo>
                <a:lnTo>
                  <a:pt x="45" y="5"/>
                </a:lnTo>
                <a:lnTo>
                  <a:pt x="31" y="0"/>
                </a:lnTo>
                <a:lnTo>
                  <a:pt x="25" y="0"/>
                </a:lnTo>
                <a:lnTo>
                  <a:pt x="22" y="0"/>
                </a:lnTo>
                <a:lnTo>
                  <a:pt x="19" y="0"/>
                </a:lnTo>
                <a:lnTo>
                  <a:pt x="19" y="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03" name="Freeform 290">
            <a:extLst>
              <a:ext uri="{FF2B5EF4-FFF2-40B4-BE49-F238E27FC236}">
                <a16:creationId xmlns:a16="http://schemas.microsoft.com/office/drawing/2014/main" id="{2F3CE348-358B-0256-73F3-0ABAF059DCEC}"/>
              </a:ext>
            </a:extLst>
          </p:cNvPr>
          <p:cNvSpPr>
            <a:spLocks/>
          </p:cNvSpPr>
          <p:nvPr userDrawn="1"/>
        </p:nvSpPr>
        <p:spPr bwMode="gray">
          <a:xfrm>
            <a:off x="2841023" y="2927185"/>
            <a:ext cx="70228" cy="41616"/>
          </a:xfrm>
          <a:custGeom>
            <a:avLst/>
            <a:gdLst/>
            <a:ahLst/>
            <a:cxnLst>
              <a:cxn ang="0">
                <a:pos x="22" y="25"/>
              </a:cxn>
              <a:cxn ang="0">
                <a:pos x="22" y="25"/>
              </a:cxn>
              <a:cxn ang="0">
                <a:pos x="26" y="23"/>
              </a:cxn>
              <a:cxn ang="0">
                <a:pos x="31" y="23"/>
              </a:cxn>
              <a:cxn ang="0">
                <a:pos x="43" y="23"/>
              </a:cxn>
              <a:cxn ang="0">
                <a:pos x="51" y="23"/>
              </a:cxn>
              <a:cxn ang="0">
                <a:pos x="54" y="22"/>
              </a:cxn>
              <a:cxn ang="0">
                <a:pos x="54" y="18"/>
              </a:cxn>
              <a:cxn ang="0">
                <a:pos x="54" y="18"/>
              </a:cxn>
              <a:cxn ang="0">
                <a:pos x="53" y="15"/>
              </a:cxn>
              <a:cxn ang="0">
                <a:pos x="50" y="10"/>
              </a:cxn>
              <a:cxn ang="0">
                <a:pos x="43" y="8"/>
              </a:cxn>
              <a:cxn ang="0">
                <a:pos x="37" y="5"/>
              </a:cxn>
              <a:cxn ang="0">
                <a:pos x="23" y="0"/>
              </a:cxn>
              <a:cxn ang="0">
                <a:pos x="16" y="0"/>
              </a:cxn>
              <a:cxn ang="0">
                <a:pos x="12" y="0"/>
              </a:cxn>
              <a:cxn ang="0">
                <a:pos x="12" y="0"/>
              </a:cxn>
              <a:cxn ang="0">
                <a:pos x="9" y="0"/>
              </a:cxn>
              <a:cxn ang="0">
                <a:pos x="3" y="0"/>
              </a:cxn>
              <a:cxn ang="0">
                <a:pos x="3" y="0"/>
              </a:cxn>
              <a:cxn ang="0">
                <a:pos x="0" y="30"/>
              </a:cxn>
              <a:cxn ang="0">
                <a:pos x="0" y="30"/>
              </a:cxn>
              <a:cxn ang="0">
                <a:pos x="2" y="32"/>
              </a:cxn>
              <a:cxn ang="0">
                <a:pos x="2" y="32"/>
              </a:cxn>
              <a:cxn ang="0">
                <a:pos x="4" y="32"/>
              </a:cxn>
              <a:cxn ang="0">
                <a:pos x="9" y="30"/>
              </a:cxn>
              <a:cxn ang="0">
                <a:pos x="13" y="27"/>
              </a:cxn>
              <a:cxn ang="0">
                <a:pos x="22" y="25"/>
              </a:cxn>
              <a:cxn ang="0">
                <a:pos x="22" y="25"/>
              </a:cxn>
            </a:cxnLst>
            <a:rect l="0" t="0" r="r" b="b"/>
            <a:pathLst>
              <a:path w="54" h="32">
                <a:moveTo>
                  <a:pt x="22" y="25"/>
                </a:moveTo>
                <a:lnTo>
                  <a:pt x="22" y="25"/>
                </a:lnTo>
                <a:lnTo>
                  <a:pt x="26" y="23"/>
                </a:lnTo>
                <a:lnTo>
                  <a:pt x="31" y="23"/>
                </a:lnTo>
                <a:lnTo>
                  <a:pt x="43" y="23"/>
                </a:lnTo>
                <a:lnTo>
                  <a:pt x="51" y="23"/>
                </a:lnTo>
                <a:lnTo>
                  <a:pt x="54" y="22"/>
                </a:lnTo>
                <a:lnTo>
                  <a:pt x="54" y="18"/>
                </a:lnTo>
                <a:lnTo>
                  <a:pt x="54" y="18"/>
                </a:lnTo>
                <a:lnTo>
                  <a:pt x="53" y="15"/>
                </a:lnTo>
                <a:lnTo>
                  <a:pt x="50" y="10"/>
                </a:lnTo>
                <a:lnTo>
                  <a:pt x="43" y="8"/>
                </a:lnTo>
                <a:lnTo>
                  <a:pt x="37" y="5"/>
                </a:lnTo>
                <a:lnTo>
                  <a:pt x="23" y="0"/>
                </a:lnTo>
                <a:lnTo>
                  <a:pt x="16" y="0"/>
                </a:lnTo>
                <a:lnTo>
                  <a:pt x="12" y="0"/>
                </a:lnTo>
                <a:lnTo>
                  <a:pt x="12" y="0"/>
                </a:lnTo>
                <a:lnTo>
                  <a:pt x="9" y="0"/>
                </a:lnTo>
                <a:lnTo>
                  <a:pt x="3" y="0"/>
                </a:lnTo>
                <a:lnTo>
                  <a:pt x="3" y="0"/>
                </a:lnTo>
                <a:lnTo>
                  <a:pt x="0" y="30"/>
                </a:lnTo>
                <a:lnTo>
                  <a:pt x="0" y="30"/>
                </a:lnTo>
                <a:lnTo>
                  <a:pt x="2" y="32"/>
                </a:lnTo>
                <a:lnTo>
                  <a:pt x="2" y="32"/>
                </a:lnTo>
                <a:lnTo>
                  <a:pt x="4" y="32"/>
                </a:lnTo>
                <a:lnTo>
                  <a:pt x="9" y="30"/>
                </a:lnTo>
                <a:lnTo>
                  <a:pt x="13" y="27"/>
                </a:lnTo>
                <a:lnTo>
                  <a:pt x="22" y="25"/>
                </a:lnTo>
                <a:lnTo>
                  <a:pt x="22" y="25"/>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04" name="Freeform 291">
            <a:extLst>
              <a:ext uri="{FF2B5EF4-FFF2-40B4-BE49-F238E27FC236}">
                <a16:creationId xmlns:a16="http://schemas.microsoft.com/office/drawing/2014/main" id="{082F4245-A4F1-6410-11BC-E403A082CD5E}"/>
              </a:ext>
            </a:extLst>
          </p:cNvPr>
          <p:cNvSpPr>
            <a:spLocks/>
          </p:cNvSpPr>
          <p:nvPr userDrawn="1"/>
        </p:nvSpPr>
        <p:spPr bwMode="gray">
          <a:xfrm>
            <a:off x="2515895" y="3029926"/>
            <a:ext cx="87135" cy="89736"/>
          </a:xfrm>
          <a:custGeom>
            <a:avLst/>
            <a:gdLst/>
            <a:ahLst/>
            <a:cxnLst>
              <a:cxn ang="0">
                <a:pos x="35" y="67"/>
              </a:cxn>
              <a:cxn ang="0">
                <a:pos x="44" y="68"/>
              </a:cxn>
              <a:cxn ang="0">
                <a:pos x="51" y="69"/>
              </a:cxn>
              <a:cxn ang="0">
                <a:pos x="55" y="69"/>
              </a:cxn>
              <a:cxn ang="0">
                <a:pos x="60" y="69"/>
              </a:cxn>
              <a:cxn ang="0">
                <a:pos x="57" y="67"/>
              </a:cxn>
              <a:cxn ang="0">
                <a:pos x="58" y="57"/>
              </a:cxn>
              <a:cxn ang="0">
                <a:pos x="61" y="45"/>
              </a:cxn>
              <a:cxn ang="0">
                <a:pos x="61" y="31"/>
              </a:cxn>
              <a:cxn ang="0">
                <a:pos x="62" y="21"/>
              </a:cxn>
              <a:cxn ang="0">
                <a:pos x="64" y="18"/>
              </a:cxn>
              <a:cxn ang="0">
                <a:pos x="65" y="13"/>
              </a:cxn>
              <a:cxn ang="0">
                <a:pos x="67" y="1"/>
              </a:cxn>
              <a:cxn ang="0">
                <a:pos x="67" y="0"/>
              </a:cxn>
              <a:cxn ang="0">
                <a:pos x="55" y="4"/>
              </a:cxn>
              <a:cxn ang="0">
                <a:pos x="48" y="8"/>
              </a:cxn>
              <a:cxn ang="0">
                <a:pos x="35" y="8"/>
              </a:cxn>
              <a:cxn ang="0">
                <a:pos x="33" y="11"/>
              </a:cxn>
              <a:cxn ang="0">
                <a:pos x="31" y="14"/>
              </a:cxn>
              <a:cxn ang="0">
                <a:pos x="21" y="18"/>
              </a:cxn>
              <a:cxn ang="0">
                <a:pos x="15" y="18"/>
              </a:cxn>
              <a:cxn ang="0">
                <a:pos x="11" y="20"/>
              </a:cxn>
              <a:cxn ang="0">
                <a:pos x="10" y="28"/>
              </a:cxn>
              <a:cxn ang="0">
                <a:pos x="5" y="32"/>
              </a:cxn>
              <a:cxn ang="0">
                <a:pos x="0" y="34"/>
              </a:cxn>
              <a:cxn ang="0">
                <a:pos x="1" y="41"/>
              </a:cxn>
              <a:cxn ang="0">
                <a:pos x="7" y="44"/>
              </a:cxn>
              <a:cxn ang="0">
                <a:pos x="17" y="55"/>
              </a:cxn>
              <a:cxn ang="0">
                <a:pos x="21" y="59"/>
              </a:cxn>
              <a:cxn ang="0">
                <a:pos x="27" y="65"/>
              </a:cxn>
              <a:cxn ang="0">
                <a:pos x="31" y="65"/>
              </a:cxn>
              <a:cxn ang="0">
                <a:pos x="35" y="67"/>
              </a:cxn>
            </a:cxnLst>
            <a:rect l="0" t="0" r="r" b="b"/>
            <a:pathLst>
              <a:path w="67" h="69">
                <a:moveTo>
                  <a:pt x="35" y="67"/>
                </a:moveTo>
                <a:lnTo>
                  <a:pt x="35" y="67"/>
                </a:lnTo>
                <a:lnTo>
                  <a:pt x="40" y="67"/>
                </a:lnTo>
                <a:lnTo>
                  <a:pt x="44" y="68"/>
                </a:lnTo>
                <a:lnTo>
                  <a:pt x="48" y="68"/>
                </a:lnTo>
                <a:lnTo>
                  <a:pt x="51" y="69"/>
                </a:lnTo>
                <a:lnTo>
                  <a:pt x="51" y="69"/>
                </a:lnTo>
                <a:lnTo>
                  <a:pt x="55" y="69"/>
                </a:lnTo>
                <a:lnTo>
                  <a:pt x="60" y="69"/>
                </a:lnTo>
                <a:lnTo>
                  <a:pt x="60" y="69"/>
                </a:lnTo>
                <a:lnTo>
                  <a:pt x="57" y="67"/>
                </a:lnTo>
                <a:lnTo>
                  <a:pt x="57" y="67"/>
                </a:lnTo>
                <a:lnTo>
                  <a:pt x="57" y="62"/>
                </a:lnTo>
                <a:lnTo>
                  <a:pt x="58" y="57"/>
                </a:lnTo>
                <a:lnTo>
                  <a:pt x="61" y="45"/>
                </a:lnTo>
                <a:lnTo>
                  <a:pt x="61" y="45"/>
                </a:lnTo>
                <a:lnTo>
                  <a:pt x="62" y="40"/>
                </a:lnTo>
                <a:lnTo>
                  <a:pt x="61" y="31"/>
                </a:lnTo>
                <a:lnTo>
                  <a:pt x="61" y="24"/>
                </a:lnTo>
                <a:lnTo>
                  <a:pt x="62" y="21"/>
                </a:lnTo>
                <a:lnTo>
                  <a:pt x="64" y="18"/>
                </a:lnTo>
                <a:lnTo>
                  <a:pt x="64" y="18"/>
                </a:lnTo>
                <a:lnTo>
                  <a:pt x="65" y="15"/>
                </a:lnTo>
                <a:lnTo>
                  <a:pt x="65" y="13"/>
                </a:lnTo>
                <a:lnTo>
                  <a:pt x="67" y="1"/>
                </a:lnTo>
                <a:lnTo>
                  <a:pt x="67" y="1"/>
                </a:lnTo>
                <a:lnTo>
                  <a:pt x="67" y="0"/>
                </a:lnTo>
                <a:lnTo>
                  <a:pt x="67" y="0"/>
                </a:lnTo>
                <a:lnTo>
                  <a:pt x="61" y="1"/>
                </a:lnTo>
                <a:lnTo>
                  <a:pt x="55" y="4"/>
                </a:lnTo>
                <a:lnTo>
                  <a:pt x="48" y="8"/>
                </a:lnTo>
                <a:lnTo>
                  <a:pt x="48" y="8"/>
                </a:lnTo>
                <a:lnTo>
                  <a:pt x="40" y="7"/>
                </a:lnTo>
                <a:lnTo>
                  <a:pt x="35" y="8"/>
                </a:lnTo>
                <a:lnTo>
                  <a:pt x="34" y="10"/>
                </a:lnTo>
                <a:lnTo>
                  <a:pt x="33" y="11"/>
                </a:lnTo>
                <a:lnTo>
                  <a:pt x="33" y="11"/>
                </a:lnTo>
                <a:lnTo>
                  <a:pt x="31" y="14"/>
                </a:lnTo>
                <a:lnTo>
                  <a:pt x="27" y="17"/>
                </a:lnTo>
                <a:lnTo>
                  <a:pt x="21" y="18"/>
                </a:lnTo>
                <a:lnTo>
                  <a:pt x="15" y="18"/>
                </a:lnTo>
                <a:lnTo>
                  <a:pt x="15" y="18"/>
                </a:lnTo>
                <a:lnTo>
                  <a:pt x="13" y="20"/>
                </a:lnTo>
                <a:lnTo>
                  <a:pt x="11" y="20"/>
                </a:lnTo>
                <a:lnTo>
                  <a:pt x="10" y="24"/>
                </a:lnTo>
                <a:lnTo>
                  <a:pt x="10" y="28"/>
                </a:lnTo>
                <a:lnTo>
                  <a:pt x="10" y="28"/>
                </a:lnTo>
                <a:lnTo>
                  <a:pt x="5" y="32"/>
                </a:lnTo>
                <a:lnTo>
                  <a:pt x="0" y="34"/>
                </a:lnTo>
                <a:lnTo>
                  <a:pt x="0" y="34"/>
                </a:lnTo>
                <a:lnTo>
                  <a:pt x="0" y="38"/>
                </a:lnTo>
                <a:lnTo>
                  <a:pt x="1" y="41"/>
                </a:lnTo>
                <a:lnTo>
                  <a:pt x="1" y="41"/>
                </a:lnTo>
                <a:lnTo>
                  <a:pt x="7" y="44"/>
                </a:lnTo>
                <a:lnTo>
                  <a:pt x="11" y="49"/>
                </a:lnTo>
                <a:lnTo>
                  <a:pt x="17" y="55"/>
                </a:lnTo>
                <a:lnTo>
                  <a:pt x="21" y="59"/>
                </a:lnTo>
                <a:lnTo>
                  <a:pt x="21" y="59"/>
                </a:lnTo>
                <a:lnTo>
                  <a:pt x="25" y="62"/>
                </a:lnTo>
                <a:lnTo>
                  <a:pt x="27" y="65"/>
                </a:lnTo>
                <a:lnTo>
                  <a:pt x="27" y="65"/>
                </a:lnTo>
                <a:lnTo>
                  <a:pt x="31" y="65"/>
                </a:lnTo>
                <a:lnTo>
                  <a:pt x="35" y="67"/>
                </a:lnTo>
                <a:lnTo>
                  <a:pt x="35" y="67"/>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05" name="Freeform 292">
            <a:extLst>
              <a:ext uri="{FF2B5EF4-FFF2-40B4-BE49-F238E27FC236}">
                <a16:creationId xmlns:a16="http://schemas.microsoft.com/office/drawing/2014/main" id="{509E4696-E607-862E-8677-DF505E2B3D4E}"/>
              </a:ext>
            </a:extLst>
          </p:cNvPr>
          <p:cNvSpPr>
            <a:spLocks/>
          </p:cNvSpPr>
          <p:nvPr userDrawn="1"/>
        </p:nvSpPr>
        <p:spPr bwMode="gray">
          <a:xfrm>
            <a:off x="2798105" y="3240608"/>
            <a:ext cx="824523" cy="846632"/>
          </a:xfrm>
          <a:custGeom>
            <a:avLst/>
            <a:gdLst/>
            <a:ahLst/>
            <a:cxnLst>
              <a:cxn ang="0">
                <a:pos x="358" y="604"/>
              </a:cxn>
              <a:cxn ang="0">
                <a:pos x="373" y="587"/>
              </a:cxn>
              <a:cxn ang="0">
                <a:pos x="389" y="576"/>
              </a:cxn>
              <a:cxn ang="0">
                <a:pos x="409" y="536"/>
              </a:cxn>
              <a:cxn ang="0">
                <a:pos x="423" y="496"/>
              </a:cxn>
              <a:cxn ang="0">
                <a:pos x="464" y="471"/>
              </a:cxn>
              <a:cxn ang="0">
                <a:pos x="517" y="461"/>
              </a:cxn>
              <a:cxn ang="0">
                <a:pos x="534" y="439"/>
              </a:cxn>
              <a:cxn ang="0">
                <a:pos x="548" y="407"/>
              </a:cxn>
              <a:cxn ang="0">
                <a:pos x="564" y="373"/>
              </a:cxn>
              <a:cxn ang="0">
                <a:pos x="565" y="307"/>
              </a:cxn>
              <a:cxn ang="0">
                <a:pos x="571" y="287"/>
              </a:cxn>
              <a:cxn ang="0">
                <a:pos x="601" y="256"/>
              </a:cxn>
              <a:cxn ang="0">
                <a:pos x="631" y="185"/>
              </a:cxn>
              <a:cxn ang="0">
                <a:pos x="575" y="145"/>
              </a:cxn>
              <a:cxn ang="0">
                <a:pos x="520" y="131"/>
              </a:cxn>
              <a:cxn ang="0">
                <a:pos x="474" y="134"/>
              </a:cxn>
              <a:cxn ang="0">
                <a:pos x="441" y="95"/>
              </a:cxn>
              <a:cxn ang="0">
                <a:pos x="410" y="107"/>
              </a:cxn>
              <a:cxn ang="0">
                <a:pos x="399" y="111"/>
              </a:cxn>
              <a:cxn ang="0">
                <a:pos x="380" y="84"/>
              </a:cxn>
              <a:cxn ang="0">
                <a:pos x="367" y="88"/>
              </a:cxn>
              <a:cxn ang="0">
                <a:pos x="387" y="54"/>
              </a:cxn>
              <a:cxn ang="0">
                <a:pos x="355" y="28"/>
              </a:cxn>
              <a:cxn ang="0">
                <a:pos x="316" y="47"/>
              </a:cxn>
              <a:cxn ang="0">
                <a:pos x="289" y="53"/>
              </a:cxn>
              <a:cxn ang="0">
                <a:pos x="262" y="57"/>
              </a:cxn>
              <a:cxn ang="0">
                <a:pos x="234" y="54"/>
              </a:cxn>
              <a:cxn ang="0">
                <a:pos x="229" y="13"/>
              </a:cxn>
              <a:cxn ang="0">
                <a:pos x="214" y="6"/>
              </a:cxn>
              <a:cxn ang="0">
                <a:pos x="181" y="23"/>
              </a:cxn>
              <a:cxn ang="0">
                <a:pos x="161" y="17"/>
              </a:cxn>
              <a:cxn ang="0">
                <a:pos x="157" y="34"/>
              </a:cxn>
              <a:cxn ang="0">
                <a:pos x="170" y="48"/>
              </a:cxn>
              <a:cxn ang="0">
                <a:pos x="147" y="64"/>
              </a:cxn>
              <a:cxn ang="0">
                <a:pos x="124" y="71"/>
              </a:cxn>
              <a:cxn ang="0">
                <a:pos x="76" y="55"/>
              </a:cxn>
              <a:cxn ang="0">
                <a:pos x="76" y="70"/>
              </a:cxn>
              <a:cxn ang="0">
                <a:pos x="72" y="101"/>
              </a:cxn>
              <a:cxn ang="0">
                <a:pos x="63" y="151"/>
              </a:cxn>
              <a:cxn ang="0">
                <a:pos x="25" y="162"/>
              </a:cxn>
              <a:cxn ang="0">
                <a:pos x="9" y="189"/>
              </a:cxn>
              <a:cxn ang="0">
                <a:pos x="6" y="216"/>
              </a:cxn>
              <a:cxn ang="0">
                <a:pos x="22" y="236"/>
              </a:cxn>
              <a:cxn ang="0">
                <a:pos x="47" y="240"/>
              </a:cxn>
              <a:cxn ang="0">
                <a:pos x="67" y="262"/>
              </a:cxn>
              <a:cxn ang="0">
                <a:pos x="106" y="253"/>
              </a:cxn>
              <a:cxn ang="0">
                <a:pos x="138" y="259"/>
              </a:cxn>
              <a:cxn ang="0">
                <a:pos x="170" y="289"/>
              </a:cxn>
              <a:cxn ang="0">
                <a:pos x="195" y="301"/>
              </a:cxn>
              <a:cxn ang="0">
                <a:pos x="218" y="317"/>
              </a:cxn>
              <a:cxn ang="0">
                <a:pos x="222" y="343"/>
              </a:cxn>
              <a:cxn ang="0">
                <a:pos x="255" y="363"/>
              </a:cxn>
              <a:cxn ang="0">
                <a:pos x="259" y="401"/>
              </a:cxn>
              <a:cxn ang="0">
                <a:pos x="261" y="430"/>
              </a:cxn>
              <a:cxn ang="0">
                <a:pos x="282" y="448"/>
              </a:cxn>
              <a:cxn ang="0">
                <a:pos x="301" y="479"/>
              </a:cxn>
              <a:cxn ang="0">
                <a:pos x="319" y="505"/>
              </a:cxn>
              <a:cxn ang="0">
                <a:pos x="306" y="542"/>
              </a:cxn>
              <a:cxn ang="0">
                <a:pos x="272" y="586"/>
              </a:cxn>
              <a:cxn ang="0">
                <a:pos x="294" y="600"/>
              </a:cxn>
              <a:cxn ang="0">
                <a:pos x="328" y="627"/>
              </a:cxn>
            </a:cxnLst>
            <a:rect l="0" t="0" r="r" b="b"/>
            <a:pathLst>
              <a:path w="634" h="651">
                <a:moveTo>
                  <a:pt x="338" y="644"/>
                </a:moveTo>
                <a:lnTo>
                  <a:pt x="338" y="644"/>
                </a:lnTo>
                <a:lnTo>
                  <a:pt x="343" y="639"/>
                </a:lnTo>
                <a:lnTo>
                  <a:pt x="346" y="634"/>
                </a:lnTo>
                <a:lnTo>
                  <a:pt x="348" y="630"/>
                </a:lnTo>
                <a:lnTo>
                  <a:pt x="349" y="624"/>
                </a:lnTo>
                <a:lnTo>
                  <a:pt x="349" y="624"/>
                </a:lnTo>
                <a:lnTo>
                  <a:pt x="352" y="619"/>
                </a:lnTo>
                <a:lnTo>
                  <a:pt x="353" y="614"/>
                </a:lnTo>
                <a:lnTo>
                  <a:pt x="355" y="610"/>
                </a:lnTo>
                <a:lnTo>
                  <a:pt x="358" y="604"/>
                </a:lnTo>
                <a:lnTo>
                  <a:pt x="358" y="604"/>
                </a:lnTo>
                <a:lnTo>
                  <a:pt x="360" y="602"/>
                </a:lnTo>
                <a:lnTo>
                  <a:pt x="362" y="600"/>
                </a:lnTo>
                <a:lnTo>
                  <a:pt x="362" y="595"/>
                </a:lnTo>
                <a:lnTo>
                  <a:pt x="362" y="592"/>
                </a:lnTo>
                <a:lnTo>
                  <a:pt x="363" y="589"/>
                </a:lnTo>
                <a:lnTo>
                  <a:pt x="366" y="587"/>
                </a:lnTo>
                <a:lnTo>
                  <a:pt x="366" y="587"/>
                </a:lnTo>
                <a:lnTo>
                  <a:pt x="370" y="586"/>
                </a:lnTo>
                <a:lnTo>
                  <a:pt x="372" y="586"/>
                </a:lnTo>
                <a:lnTo>
                  <a:pt x="373" y="587"/>
                </a:lnTo>
                <a:lnTo>
                  <a:pt x="373" y="589"/>
                </a:lnTo>
                <a:lnTo>
                  <a:pt x="372" y="595"/>
                </a:lnTo>
                <a:lnTo>
                  <a:pt x="367" y="602"/>
                </a:lnTo>
                <a:lnTo>
                  <a:pt x="367" y="602"/>
                </a:lnTo>
                <a:lnTo>
                  <a:pt x="360" y="612"/>
                </a:lnTo>
                <a:lnTo>
                  <a:pt x="362" y="612"/>
                </a:lnTo>
                <a:lnTo>
                  <a:pt x="367" y="607"/>
                </a:lnTo>
                <a:lnTo>
                  <a:pt x="367" y="607"/>
                </a:lnTo>
                <a:lnTo>
                  <a:pt x="375" y="602"/>
                </a:lnTo>
                <a:lnTo>
                  <a:pt x="380" y="593"/>
                </a:lnTo>
                <a:lnTo>
                  <a:pt x="389" y="576"/>
                </a:lnTo>
                <a:lnTo>
                  <a:pt x="389" y="576"/>
                </a:lnTo>
                <a:lnTo>
                  <a:pt x="393" y="569"/>
                </a:lnTo>
                <a:lnTo>
                  <a:pt x="397" y="563"/>
                </a:lnTo>
                <a:lnTo>
                  <a:pt x="400" y="560"/>
                </a:lnTo>
                <a:lnTo>
                  <a:pt x="404" y="559"/>
                </a:lnTo>
                <a:lnTo>
                  <a:pt x="404" y="559"/>
                </a:lnTo>
                <a:lnTo>
                  <a:pt x="406" y="559"/>
                </a:lnTo>
                <a:lnTo>
                  <a:pt x="407" y="556"/>
                </a:lnTo>
                <a:lnTo>
                  <a:pt x="409" y="550"/>
                </a:lnTo>
                <a:lnTo>
                  <a:pt x="409" y="536"/>
                </a:lnTo>
                <a:lnTo>
                  <a:pt x="409" y="536"/>
                </a:lnTo>
                <a:lnTo>
                  <a:pt x="407" y="523"/>
                </a:lnTo>
                <a:lnTo>
                  <a:pt x="407" y="518"/>
                </a:lnTo>
                <a:lnTo>
                  <a:pt x="410" y="512"/>
                </a:lnTo>
                <a:lnTo>
                  <a:pt x="410" y="512"/>
                </a:lnTo>
                <a:lnTo>
                  <a:pt x="412" y="508"/>
                </a:lnTo>
                <a:lnTo>
                  <a:pt x="412" y="503"/>
                </a:lnTo>
                <a:lnTo>
                  <a:pt x="412" y="502"/>
                </a:lnTo>
                <a:lnTo>
                  <a:pt x="414" y="501"/>
                </a:lnTo>
                <a:lnTo>
                  <a:pt x="414" y="501"/>
                </a:lnTo>
                <a:lnTo>
                  <a:pt x="419" y="499"/>
                </a:lnTo>
                <a:lnTo>
                  <a:pt x="423" y="496"/>
                </a:lnTo>
                <a:lnTo>
                  <a:pt x="434" y="485"/>
                </a:lnTo>
                <a:lnTo>
                  <a:pt x="434" y="485"/>
                </a:lnTo>
                <a:lnTo>
                  <a:pt x="440" y="481"/>
                </a:lnTo>
                <a:lnTo>
                  <a:pt x="446" y="478"/>
                </a:lnTo>
                <a:lnTo>
                  <a:pt x="450" y="476"/>
                </a:lnTo>
                <a:lnTo>
                  <a:pt x="456" y="476"/>
                </a:lnTo>
                <a:lnTo>
                  <a:pt x="456" y="476"/>
                </a:lnTo>
                <a:lnTo>
                  <a:pt x="460" y="475"/>
                </a:lnTo>
                <a:lnTo>
                  <a:pt x="461" y="474"/>
                </a:lnTo>
                <a:lnTo>
                  <a:pt x="463" y="472"/>
                </a:lnTo>
                <a:lnTo>
                  <a:pt x="464" y="471"/>
                </a:lnTo>
                <a:lnTo>
                  <a:pt x="464" y="471"/>
                </a:lnTo>
                <a:lnTo>
                  <a:pt x="468" y="469"/>
                </a:lnTo>
                <a:lnTo>
                  <a:pt x="471" y="466"/>
                </a:lnTo>
                <a:lnTo>
                  <a:pt x="477" y="461"/>
                </a:lnTo>
                <a:lnTo>
                  <a:pt x="477" y="461"/>
                </a:lnTo>
                <a:lnTo>
                  <a:pt x="481" y="461"/>
                </a:lnTo>
                <a:lnTo>
                  <a:pt x="488" y="461"/>
                </a:lnTo>
                <a:lnTo>
                  <a:pt x="504" y="462"/>
                </a:lnTo>
                <a:lnTo>
                  <a:pt x="504" y="462"/>
                </a:lnTo>
                <a:lnTo>
                  <a:pt x="514" y="461"/>
                </a:lnTo>
                <a:lnTo>
                  <a:pt x="517" y="461"/>
                </a:lnTo>
                <a:lnTo>
                  <a:pt x="518" y="457"/>
                </a:lnTo>
                <a:lnTo>
                  <a:pt x="518" y="457"/>
                </a:lnTo>
                <a:lnTo>
                  <a:pt x="518" y="454"/>
                </a:lnTo>
                <a:lnTo>
                  <a:pt x="521" y="451"/>
                </a:lnTo>
                <a:lnTo>
                  <a:pt x="524" y="448"/>
                </a:lnTo>
                <a:lnTo>
                  <a:pt x="527" y="448"/>
                </a:lnTo>
                <a:lnTo>
                  <a:pt x="527" y="448"/>
                </a:lnTo>
                <a:lnTo>
                  <a:pt x="530" y="447"/>
                </a:lnTo>
                <a:lnTo>
                  <a:pt x="533" y="447"/>
                </a:lnTo>
                <a:lnTo>
                  <a:pt x="534" y="444"/>
                </a:lnTo>
                <a:lnTo>
                  <a:pt x="534" y="439"/>
                </a:lnTo>
                <a:lnTo>
                  <a:pt x="534" y="439"/>
                </a:lnTo>
                <a:lnTo>
                  <a:pt x="534" y="434"/>
                </a:lnTo>
                <a:lnTo>
                  <a:pt x="535" y="431"/>
                </a:lnTo>
                <a:lnTo>
                  <a:pt x="538" y="427"/>
                </a:lnTo>
                <a:lnTo>
                  <a:pt x="541" y="424"/>
                </a:lnTo>
                <a:lnTo>
                  <a:pt x="541" y="424"/>
                </a:lnTo>
                <a:lnTo>
                  <a:pt x="542" y="421"/>
                </a:lnTo>
                <a:lnTo>
                  <a:pt x="545" y="418"/>
                </a:lnTo>
                <a:lnTo>
                  <a:pt x="547" y="410"/>
                </a:lnTo>
                <a:lnTo>
                  <a:pt x="547" y="410"/>
                </a:lnTo>
                <a:lnTo>
                  <a:pt x="548" y="407"/>
                </a:lnTo>
                <a:lnTo>
                  <a:pt x="551" y="405"/>
                </a:lnTo>
                <a:lnTo>
                  <a:pt x="552" y="404"/>
                </a:lnTo>
                <a:lnTo>
                  <a:pt x="552" y="401"/>
                </a:lnTo>
                <a:lnTo>
                  <a:pt x="552" y="401"/>
                </a:lnTo>
                <a:lnTo>
                  <a:pt x="554" y="391"/>
                </a:lnTo>
                <a:lnTo>
                  <a:pt x="555" y="381"/>
                </a:lnTo>
                <a:lnTo>
                  <a:pt x="555" y="381"/>
                </a:lnTo>
                <a:lnTo>
                  <a:pt x="557" y="378"/>
                </a:lnTo>
                <a:lnTo>
                  <a:pt x="558" y="377"/>
                </a:lnTo>
                <a:lnTo>
                  <a:pt x="561" y="375"/>
                </a:lnTo>
                <a:lnTo>
                  <a:pt x="564" y="373"/>
                </a:lnTo>
                <a:lnTo>
                  <a:pt x="564" y="373"/>
                </a:lnTo>
                <a:lnTo>
                  <a:pt x="564" y="370"/>
                </a:lnTo>
                <a:lnTo>
                  <a:pt x="564" y="365"/>
                </a:lnTo>
                <a:lnTo>
                  <a:pt x="564" y="360"/>
                </a:lnTo>
                <a:lnTo>
                  <a:pt x="565" y="353"/>
                </a:lnTo>
                <a:lnTo>
                  <a:pt x="565" y="353"/>
                </a:lnTo>
                <a:lnTo>
                  <a:pt x="567" y="344"/>
                </a:lnTo>
                <a:lnTo>
                  <a:pt x="567" y="337"/>
                </a:lnTo>
                <a:lnTo>
                  <a:pt x="565" y="321"/>
                </a:lnTo>
                <a:lnTo>
                  <a:pt x="565" y="321"/>
                </a:lnTo>
                <a:lnTo>
                  <a:pt x="565" y="307"/>
                </a:lnTo>
                <a:lnTo>
                  <a:pt x="567" y="301"/>
                </a:lnTo>
                <a:lnTo>
                  <a:pt x="569" y="299"/>
                </a:lnTo>
                <a:lnTo>
                  <a:pt x="569" y="299"/>
                </a:lnTo>
                <a:lnTo>
                  <a:pt x="571" y="296"/>
                </a:lnTo>
                <a:lnTo>
                  <a:pt x="571" y="294"/>
                </a:lnTo>
                <a:lnTo>
                  <a:pt x="568" y="292"/>
                </a:lnTo>
                <a:lnTo>
                  <a:pt x="568" y="292"/>
                </a:lnTo>
                <a:lnTo>
                  <a:pt x="567" y="290"/>
                </a:lnTo>
                <a:lnTo>
                  <a:pt x="567" y="289"/>
                </a:lnTo>
                <a:lnTo>
                  <a:pt x="569" y="287"/>
                </a:lnTo>
                <a:lnTo>
                  <a:pt x="571" y="287"/>
                </a:lnTo>
                <a:lnTo>
                  <a:pt x="571" y="287"/>
                </a:lnTo>
                <a:lnTo>
                  <a:pt x="575" y="290"/>
                </a:lnTo>
                <a:lnTo>
                  <a:pt x="578" y="292"/>
                </a:lnTo>
                <a:lnTo>
                  <a:pt x="581" y="290"/>
                </a:lnTo>
                <a:lnTo>
                  <a:pt x="581" y="290"/>
                </a:lnTo>
                <a:lnTo>
                  <a:pt x="584" y="287"/>
                </a:lnTo>
                <a:lnTo>
                  <a:pt x="588" y="280"/>
                </a:lnTo>
                <a:lnTo>
                  <a:pt x="594" y="266"/>
                </a:lnTo>
                <a:lnTo>
                  <a:pt x="594" y="266"/>
                </a:lnTo>
                <a:lnTo>
                  <a:pt x="597" y="260"/>
                </a:lnTo>
                <a:lnTo>
                  <a:pt x="601" y="256"/>
                </a:lnTo>
                <a:lnTo>
                  <a:pt x="609" y="253"/>
                </a:lnTo>
                <a:lnTo>
                  <a:pt x="609" y="253"/>
                </a:lnTo>
                <a:lnTo>
                  <a:pt x="614" y="250"/>
                </a:lnTo>
                <a:lnTo>
                  <a:pt x="619" y="243"/>
                </a:lnTo>
                <a:lnTo>
                  <a:pt x="625" y="235"/>
                </a:lnTo>
                <a:lnTo>
                  <a:pt x="631" y="222"/>
                </a:lnTo>
                <a:lnTo>
                  <a:pt x="631" y="222"/>
                </a:lnTo>
                <a:lnTo>
                  <a:pt x="634" y="216"/>
                </a:lnTo>
                <a:lnTo>
                  <a:pt x="634" y="209"/>
                </a:lnTo>
                <a:lnTo>
                  <a:pt x="634" y="196"/>
                </a:lnTo>
                <a:lnTo>
                  <a:pt x="631" y="185"/>
                </a:lnTo>
                <a:lnTo>
                  <a:pt x="628" y="175"/>
                </a:lnTo>
                <a:lnTo>
                  <a:pt x="628" y="175"/>
                </a:lnTo>
                <a:lnTo>
                  <a:pt x="625" y="169"/>
                </a:lnTo>
                <a:lnTo>
                  <a:pt x="622" y="166"/>
                </a:lnTo>
                <a:lnTo>
                  <a:pt x="619" y="166"/>
                </a:lnTo>
                <a:lnTo>
                  <a:pt x="614" y="166"/>
                </a:lnTo>
                <a:lnTo>
                  <a:pt x="614" y="166"/>
                </a:lnTo>
                <a:lnTo>
                  <a:pt x="608" y="166"/>
                </a:lnTo>
                <a:lnTo>
                  <a:pt x="599" y="163"/>
                </a:lnTo>
                <a:lnTo>
                  <a:pt x="588" y="156"/>
                </a:lnTo>
                <a:lnTo>
                  <a:pt x="575" y="145"/>
                </a:lnTo>
                <a:lnTo>
                  <a:pt x="575" y="145"/>
                </a:lnTo>
                <a:lnTo>
                  <a:pt x="569" y="139"/>
                </a:lnTo>
                <a:lnTo>
                  <a:pt x="562" y="135"/>
                </a:lnTo>
                <a:lnTo>
                  <a:pt x="557" y="132"/>
                </a:lnTo>
                <a:lnTo>
                  <a:pt x="550" y="129"/>
                </a:lnTo>
                <a:lnTo>
                  <a:pt x="544" y="129"/>
                </a:lnTo>
                <a:lnTo>
                  <a:pt x="538" y="129"/>
                </a:lnTo>
                <a:lnTo>
                  <a:pt x="528" y="131"/>
                </a:lnTo>
                <a:lnTo>
                  <a:pt x="528" y="131"/>
                </a:lnTo>
                <a:lnTo>
                  <a:pt x="524" y="132"/>
                </a:lnTo>
                <a:lnTo>
                  <a:pt x="520" y="131"/>
                </a:lnTo>
                <a:lnTo>
                  <a:pt x="511" y="129"/>
                </a:lnTo>
                <a:lnTo>
                  <a:pt x="504" y="126"/>
                </a:lnTo>
                <a:lnTo>
                  <a:pt x="497" y="124"/>
                </a:lnTo>
                <a:lnTo>
                  <a:pt x="497" y="124"/>
                </a:lnTo>
                <a:lnTo>
                  <a:pt x="494" y="124"/>
                </a:lnTo>
                <a:lnTo>
                  <a:pt x="491" y="124"/>
                </a:lnTo>
                <a:lnTo>
                  <a:pt x="486" y="128"/>
                </a:lnTo>
                <a:lnTo>
                  <a:pt x="481" y="131"/>
                </a:lnTo>
                <a:lnTo>
                  <a:pt x="476" y="134"/>
                </a:lnTo>
                <a:lnTo>
                  <a:pt x="476" y="134"/>
                </a:lnTo>
                <a:lnTo>
                  <a:pt x="474" y="134"/>
                </a:lnTo>
                <a:lnTo>
                  <a:pt x="474" y="134"/>
                </a:lnTo>
                <a:lnTo>
                  <a:pt x="476" y="129"/>
                </a:lnTo>
                <a:lnTo>
                  <a:pt x="478" y="124"/>
                </a:lnTo>
                <a:lnTo>
                  <a:pt x="480" y="118"/>
                </a:lnTo>
                <a:lnTo>
                  <a:pt x="480" y="118"/>
                </a:lnTo>
                <a:lnTo>
                  <a:pt x="478" y="117"/>
                </a:lnTo>
                <a:lnTo>
                  <a:pt x="476" y="114"/>
                </a:lnTo>
                <a:lnTo>
                  <a:pt x="467" y="107"/>
                </a:lnTo>
                <a:lnTo>
                  <a:pt x="454" y="101"/>
                </a:lnTo>
                <a:lnTo>
                  <a:pt x="441" y="95"/>
                </a:lnTo>
                <a:lnTo>
                  <a:pt x="441" y="95"/>
                </a:lnTo>
                <a:lnTo>
                  <a:pt x="432" y="92"/>
                </a:lnTo>
                <a:lnTo>
                  <a:pt x="427" y="92"/>
                </a:lnTo>
                <a:lnTo>
                  <a:pt x="424" y="94"/>
                </a:lnTo>
                <a:lnTo>
                  <a:pt x="422" y="94"/>
                </a:lnTo>
                <a:lnTo>
                  <a:pt x="420" y="97"/>
                </a:lnTo>
                <a:lnTo>
                  <a:pt x="419" y="102"/>
                </a:lnTo>
                <a:lnTo>
                  <a:pt x="419" y="102"/>
                </a:lnTo>
                <a:lnTo>
                  <a:pt x="417" y="105"/>
                </a:lnTo>
                <a:lnTo>
                  <a:pt x="417" y="107"/>
                </a:lnTo>
                <a:lnTo>
                  <a:pt x="414" y="107"/>
                </a:lnTo>
                <a:lnTo>
                  <a:pt x="410" y="107"/>
                </a:lnTo>
                <a:lnTo>
                  <a:pt x="409" y="108"/>
                </a:lnTo>
                <a:lnTo>
                  <a:pt x="407" y="111"/>
                </a:lnTo>
                <a:lnTo>
                  <a:pt x="407" y="111"/>
                </a:lnTo>
                <a:lnTo>
                  <a:pt x="404" y="114"/>
                </a:lnTo>
                <a:lnTo>
                  <a:pt x="403" y="117"/>
                </a:lnTo>
                <a:lnTo>
                  <a:pt x="400" y="117"/>
                </a:lnTo>
                <a:lnTo>
                  <a:pt x="399" y="117"/>
                </a:lnTo>
                <a:lnTo>
                  <a:pt x="396" y="114"/>
                </a:lnTo>
                <a:lnTo>
                  <a:pt x="397" y="112"/>
                </a:lnTo>
                <a:lnTo>
                  <a:pt x="399" y="111"/>
                </a:lnTo>
                <a:lnTo>
                  <a:pt x="399" y="111"/>
                </a:lnTo>
                <a:lnTo>
                  <a:pt x="403" y="108"/>
                </a:lnTo>
                <a:lnTo>
                  <a:pt x="407" y="104"/>
                </a:lnTo>
                <a:lnTo>
                  <a:pt x="410" y="98"/>
                </a:lnTo>
                <a:lnTo>
                  <a:pt x="413" y="92"/>
                </a:lnTo>
                <a:lnTo>
                  <a:pt x="413" y="92"/>
                </a:lnTo>
                <a:lnTo>
                  <a:pt x="412" y="90"/>
                </a:lnTo>
                <a:lnTo>
                  <a:pt x="410" y="88"/>
                </a:lnTo>
                <a:lnTo>
                  <a:pt x="400" y="84"/>
                </a:lnTo>
                <a:lnTo>
                  <a:pt x="389" y="82"/>
                </a:lnTo>
                <a:lnTo>
                  <a:pt x="385" y="84"/>
                </a:lnTo>
                <a:lnTo>
                  <a:pt x="380" y="84"/>
                </a:lnTo>
                <a:lnTo>
                  <a:pt x="380" y="84"/>
                </a:lnTo>
                <a:lnTo>
                  <a:pt x="377" y="85"/>
                </a:lnTo>
                <a:lnTo>
                  <a:pt x="376" y="88"/>
                </a:lnTo>
                <a:lnTo>
                  <a:pt x="375" y="94"/>
                </a:lnTo>
                <a:lnTo>
                  <a:pt x="373" y="97"/>
                </a:lnTo>
                <a:lnTo>
                  <a:pt x="372" y="97"/>
                </a:lnTo>
                <a:lnTo>
                  <a:pt x="370" y="97"/>
                </a:lnTo>
                <a:lnTo>
                  <a:pt x="370" y="97"/>
                </a:lnTo>
                <a:lnTo>
                  <a:pt x="367" y="95"/>
                </a:lnTo>
                <a:lnTo>
                  <a:pt x="366" y="92"/>
                </a:lnTo>
                <a:lnTo>
                  <a:pt x="367" y="88"/>
                </a:lnTo>
                <a:lnTo>
                  <a:pt x="370" y="85"/>
                </a:lnTo>
                <a:lnTo>
                  <a:pt x="375" y="84"/>
                </a:lnTo>
                <a:lnTo>
                  <a:pt x="375" y="84"/>
                </a:lnTo>
                <a:lnTo>
                  <a:pt x="376" y="82"/>
                </a:lnTo>
                <a:lnTo>
                  <a:pt x="379" y="81"/>
                </a:lnTo>
                <a:lnTo>
                  <a:pt x="383" y="77"/>
                </a:lnTo>
                <a:lnTo>
                  <a:pt x="390" y="64"/>
                </a:lnTo>
                <a:lnTo>
                  <a:pt x="390" y="64"/>
                </a:lnTo>
                <a:lnTo>
                  <a:pt x="390" y="61"/>
                </a:lnTo>
                <a:lnTo>
                  <a:pt x="390" y="58"/>
                </a:lnTo>
                <a:lnTo>
                  <a:pt x="387" y="54"/>
                </a:lnTo>
                <a:lnTo>
                  <a:pt x="382" y="51"/>
                </a:lnTo>
                <a:lnTo>
                  <a:pt x="377" y="47"/>
                </a:lnTo>
                <a:lnTo>
                  <a:pt x="377" y="47"/>
                </a:lnTo>
                <a:lnTo>
                  <a:pt x="375" y="43"/>
                </a:lnTo>
                <a:lnTo>
                  <a:pt x="373" y="40"/>
                </a:lnTo>
                <a:lnTo>
                  <a:pt x="372" y="30"/>
                </a:lnTo>
                <a:lnTo>
                  <a:pt x="369" y="21"/>
                </a:lnTo>
                <a:lnTo>
                  <a:pt x="367" y="17"/>
                </a:lnTo>
                <a:lnTo>
                  <a:pt x="366" y="16"/>
                </a:lnTo>
                <a:lnTo>
                  <a:pt x="366" y="16"/>
                </a:lnTo>
                <a:lnTo>
                  <a:pt x="355" y="28"/>
                </a:lnTo>
                <a:lnTo>
                  <a:pt x="349" y="35"/>
                </a:lnTo>
                <a:lnTo>
                  <a:pt x="346" y="41"/>
                </a:lnTo>
                <a:lnTo>
                  <a:pt x="346" y="41"/>
                </a:lnTo>
                <a:lnTo>
                  <a:pt x="343" y="45"/>
                </a:lnTo>
                <a:lnTo>
                  <a:pt x="340" y="47"/>
                </a:lnTo>
                <a:lnTo>
                  <a:pt x="336" y="47"/>
                </a:lnTo>
                <a:lnTo>
                  <a:pt x="329" y="48"/>
                </a:lnTo>
                <a:lnTo>
                  <a:pt x="329" y="48"/>
                </a:lnTo>
                <a:lnTo>
                  <a:pt x="323" y="50"/>
                </a:lnTo>
                <a:lnTo>
                  <a:pt x="319" y="48"/>
                </a:lnTo>
                <a:lnTo>
                  <a:pt x="316" y="47"/>
                </a:lnTo>
                <a:lnTo>
                  <a:pt x="313" y="44"/>
                </a:lnTo>
                <a:lnTo>
                  <a:pt x="313" y="44"/>
                </a:lnTo>
                <a:lnTo>
                  <a:pt x="311" y="43"/>
                </a:lnTo>
                <a:lnTo>
                  <a:pt x="306" y="43"/>
                </a:lnTo>
                <a:lnTo>
                  <a:pt x="296" y="43"/>
                </a:lnTo>
                <a:lnTo>
                  <a:pt x="296" y="43"/>
                </a:lnTo>
                <a:lnTo>
                  <a:pt x="294" y="43"/>
                </a:lnTo>
                <a:lnTo>
                  <a:pt x="292" y="44"/>
                </a:lnTo>
                <a:lnTo>
                  <a:pt x="292" y="47"/>
                </a:lnTo>
                <a:lnTo>
                  <a:pt x="291" y="51"/>
                </a:lnTo>
                <a:lnTo>
                  <a:pt x="289" y="53"/>
                </a:lnTo>
                <a:lnTo>
                  <a:pt x="289" y="53"/>
                </a:lnTo>
                <a:lnTo>
                  <a:pt x="285" y="54"/>
                </a:lnTo>
                <a:lnTo>
                  <a:pt x="279" y="53"/>
                </a:lnTo>
                <a:lnTo>
                  <a:pt x="274" y="51"/>
                </a:lnTo>
                <a:lnTo>
                  <a:pt x="272" y="51"/>
                </a:lnTo>
                <a:lnTo>
                  <a:pt x="269" y="53"/>
                </a:lnTo>
                <a:lnTo>
                  <a:pt x="269" y="53"/>
                </a:lnTo>
                <a:lnTo>
                  <a:pt x="268" y="54"/>
                </a:lnTo>
                <a:lnTo>
                  <a:pt x="265" y="55"/>
                </a:lnTo>
                <a:lnTo>
                  <a:pt x="264" y="55"/>
                </a:lnTo>
                <a:lnTo>
                  <a:pt x="262" y="57"/>
                </a:lnTo>
                <a:lnTo>
                  <a:pt x="262" y="57"/>
                </a:lnTo>
                <a:lnTo>
                  <a:pt x="259" y="58"/>
                </a:lnTo>
                <a:lnTo>
                  <a:pt x="257" y="60"/>
                </a:lnTo>
                <a:lnTo>
                  <a:pt x="254" y="60"/>
                </a:lnTo>
                <a:lnTo>
                  <a:pt x="251" y="61"/>
                </a:lnTo>
                <a:lnTo>
                  <a:pt x="251" y="61"/>
                </a:lnTo>
                <a:lnTo>
                  <a:pt x="249" y="62"/>
                </a:lnTo>
                <a:lnTo>
                  <a:pt x="245" y="62"/>
                </a:lnTo>
                <a:lnTo>
                  <a:pt x="239" y="60"/>
                </a:lnTo>
                <a:lnTo>
                  <a:pt x="234" y="54"/>
                </a:lnTo>
                <a:lnTo>
                  <a:pt x="234" y="54"/>
                </a:lnTo>
                <a:lnTo>
                  <a:pt x="231" y="51"/>
                </a:lnTo>
                <a:lnTo>
                  <a:pt x="229" y="47"/>
                </a:lnTo>
                <a:lnTo>
                  <a:pt x="228" y="38"/>
                </a:lnTo>
                <a:lnTo>
                  <a:pt x="228" y="31"/>
                </a:lnTo>
                <a:lnTo>
                  <a:pt x="231" y="25"/>
                </a:lnTo>
                <a:lnTo>
                  <a:pt x="231" y="25"/>
                </a:lnTo>
                <a:lnTo>
                  <a:pt x="232" y="23"/>
                </a:lnTo>
                <a:lnTo>
                  <a:pt x="234" y="20"/>
                </a:lnTo>
                <a:lnTo>
                  <a:pt x="232" y="16"/>
                </a:lnTo>
                <a:lnTo>
                  <a:pt x="229" y="13"/>
                </a:lnTo>
                <a:lnTo>
                  <a:pt x="229" y="13"/>
                </a:lnTo>
                <a:lnTo>
                  <a:pt x="228" y="11"/>
                </a:lnTo>
                <a:lnTo>
                  <a:pt x="227" y="10"/>
                </a:lnTo>
                <a:lnTo>
                  <a:pt x="227" y="6"/>
                </a:lnTo>
                <a:lnTo>
                  <a:pt x="225" y="1"/>
                </a:lnTo>
                <a:lnTo>
                  <a:pt x="224" y="0"/>
                </a:lnTo>
                <a:lnTo>
                  <a:pt x="222" y="0"/>
                </a:lnTo>
                <a:lnTo>
                  <a:pt x="222" y="0"/>
                </a:lnTo>
                <a:lnTo>
                  <a:pt x="220" y="0"/>
                </a:lnTo>
                <a:lnTo>
                  <a:pt x="218" y="0"/>
                </a:lnTo>
                <a:lnTo>
                  <a:pt x="217" y="3"/>
                </a:lnTo>
                <a:lnTo>
                  <a:pt x="214" y="6"/>
                </a:lnTo>
                <a:lnTo>
                  <a:pt x="212" y="8"/>
                </a:lnTo>
                <a:lnTo>
                  <a:pt x="212" y="8"/>
                </a:lnTo>
                <a:lnTo>
                  <a:pt x="202" y="13"/>
                </a:lnTo>
                <a:lnTo>
                  <a:pt x="197" y="16"/>
                </a:lnTo>
                <a:lnTo>
                  <a:pt x="193" y="16"/>
                </a:lnTo>
                <a:lnTo>
                  <a:pt x="193" y="16"/>
                </a:lnTo>
                <a:lnTo>
                  <a:pt x="188" y="16"/>
                </a:lnTo>
                <a:lnTo>
                  <a:pt x="185" y="17"/>
                </a:lnTo>
                <a:lnTo>
                  <a:pt x="183" y="18"/>
                </a:lnTo>
                <a:lnTo>
                  <a:pt x="181" y="23"/>
                </a:lnTo>
                <a:lnTo>
                  <a:pt x="181" y="23"/>
                </a:lnTo>
                <a:lnTo>
                  <a:pt x="181" y="25"/>
                </a:lnTo>
                <a:lnTo>
                  <a:pt x="178" y="25"/>
                </a:lnTo>
                <a:lnTo>
                  <a:pt x="177" y="24"/>
                </a:lnTo>
                <a:lnTo>
                  <a:pt x="175" y="21"/>
                </a:lnTo>
                <a:lnTo>
                  <a:pt x="175" y="21"/>
                </a:lnTo>
                <a:lnTo>
                  <a:pt x="174" y="21"/>
                </a:lnTo>
                <a:lnTo>
                  <a:pt x="173" y="20"/>
                </a:lnTo>
                <a:lnTo>
                  <a:pt x="168" y="18"/>
                </a:lnTo>
                <a:lnTo>
                  <a:pt x="164" y="18"/>
                </a:lnTo>
                <a:lnTo>
                  <a:pt x="161" y="17"/>
                </a:lnTo>
                <a:lnTo>
                  <a:pt x="161" y="17"/>
                </a:lnTo>
                <a:lnTo>
                  <a:pt x="157" y="16"/>
                </a:lnTo>
                <a:lnTo>
                  <a:pt x="153" y="16"/>
                </a:lnTo>
                <a:lnTo>
                  <a:pt x="150" y="17"/>
                </a:lnTo>
                <a:lnTo>
                  <a:pt x="150" y="18"/>
                </a:lnTo>
                <a:lnTo>
                  <a:pt x="150" y="18"/>
                </a:lnTo>
                <a:lnTo>
                  <a:pt x="150" y="18"/>
                </a:lnTo>
                <a:lnTo>
                  <a:pt x="154" y="21"/>
                </a:lnTo>
                <a:lnTo>
                  <a:pt x="156" y="24"/>
                </a:lnTo>
                <a:lnTo>
                  <a:pt x="157" y="31"/>
                </a:lnTo>
                <a:lnTo>
                  <a:pt x="157" y="31"/>
                </a:lnTo>
                <a:lnTo>
                  <a:pt x="157" y="34"/>
                </a:lnTo>
                <a:lnTo>
                  <a:pt x="158" y="35"/>
                </a:lnTo>
                <a:lnTo>
                  <a:pt x="160" y="38"/>
                </a:lnTo>
                <a:lnTo>
                  <a:pt x="161" y="41"/>
                </a:lnTo>
                <a:lnTo>
                  <a:pt x="161" y="41"/>
                </a:lnTo>
                <a:lnTo>
                  <a:pt x="161" y="44"/>
                </a:lnTo>
                <a:lnTo>
                  <a:pt x="164" y="44"/>
                </a:lnTo>
                <a:lnTo>
                  <a:pt x="170" y="43"/>
                </a:lnTo>
                <a:lnTo>
                  <a:pt x="170" y="43"/>
                </a:lnTo>
                <a:lnTo>
                  <a:pt x="171" y="44"/>
                </a:lnTo>
                <a:lnTo>
                  <a:pt x="171" y="45"/>
                </a:lnTo>
                <a:lnTo>
                  <a:pt x="170" y="48"/>
                </a:lnTo>
                <a:lnTo>
                  <a:pt x="167" y="50"/>
                </a:lnTo>
                <a:lnTo>
                  <a:pt x="167" y="50"/>
                </a:lnTo>
                <a:lnTo>
                  <a:pt x="164" y="51"/>
                </a:lnTo>
                <a:lnTo>
                  <a:pt x="161" y="53"/>
                </a:lnTo>
                <a:lnTo>
                  <a:pt x="160" y="55"/>
                </a:lnTo>
                <a:lnTo>
                  <a:pt x="158" y="58"/>
                </a:lnTo>
                <a:lnTo>
                  <a:pt x="158" y="58"/>
                </a:lnTo>
                <a:lnTo>
                  <a:pt x="157" y="61"/>
                </a:lnTo>
                <a:lnTo>
                  <a:pt x="154" y="61"/>
                </a:lnTo>
                <a:lnTo>
                  <a:pt x="151" y="62"/>
                </a:lnTo>
                <a:lnTo>
                  <a:pt x="147" y="64"/>
                </a:lnTo>
                <a:lnTo>
                  <a:pt x="147" y="64"/>
                </a:lnTo>
                <a:lnTo>
                  <a:pt x="141" y="68"/>
                </a:lnTo>
                <a:lnTo>
                  <a:pt x="138" y="70"/>
                </a:lnTo>
                <a:lnTo>
                  <a:pt x="137" y="70"/>
                </a:lnTo>
                <a:lnTo>
                  <a:pt x="137" y="70"/>
                </a:lnTo>
                <a:lnTo>
                  <a:pt x="134" y="68"/>
                </a:lnTo>
                <a:lnTo>
                  <a:pt x="133" y="68"/>
                </a:lnTo>
                <a:lnTo>
                  <a:pt x="128" y="71"/>
                </a:lnTo>
                <a:lnTo>
                  <a:pt x="128" y="71"/>
                </a:lnTo>
                <a:lnTo>
                  <a:pt x="126" y="71"/>
                </a:lnTo>
                <a:lnTo>
                  <a:pt x="124" y="71"/>
                </a:lnTo>
                <a:lnTo>
                  <a:pt x="119" y="67"/>
                </a:lnTo>
                <a:lnTo>
                  <a:pt x="119" y="67"/>
                </a:lnTo>
                <a:lnTo>
                  <a:pt x="116" y="64"/>
                </a:lnTo>
                <a:lnTo>
                  <a:pt x="113" y="60"/>
                </a:lnTo>
                <a:lnTo>
                  <a:pt x="110" y="55"/>
                </a:lnTo>
                <a:lnTo>
                  <a:pt x="106" y="51"/>
                </a:lnTo>
                <a:lnTo>
                  <a:pt x="106" y="51"/>
                </a:lnTo>
                <a:lnTo>
                  <a:pt x="99" y="54"/>
                </a:lnTo>
                <a:lnTo>
                  <a:pt x="90" y="55"/>
                </a:lnTo>
                <a:lnTo>
                  <a:pt x="90" y="55"/>
                </a:lnTo>
                <a:lnTo>
                  <a:pt x="76" y="55"/>
                </a:lnTo>
                <a:lnTo>
                  <a:pt x="69" y="55"/>
                </a:lnTo>
                <a:lnTo>
                  <a:pt x="67" y="57"/>
                </a:lnTo>
                <a:lnTo>
                  <a:pt x="66" y="57"/>
                </a:lnTo>
                <a:lnTo>
                  <a:pt x="66" y="57"/>
                </a:lnTo>
                <a:lnTo>
                  <a:pt x="66" y="60"/>
                </a:lnTo>
                <a:lnTo>
                  <a:pt x="67" y="62"/>
                </a:lnTo>
                <a:lnTo>
                  <a:pt x="69" y="65"/>
                </a:lnTo>
                <a:lnTo>
                  <a:pt x="70" y="67"/>
                </a:lnTo>
                <a:lnTo>
                  <a:pt x="70" y="67"/>
                </a:lnTo>
                <a:lnTo>
                  <a:pt x="74" y="68"/>
                </a:lnTo>
                <a:lnTo>
                  <a:pt x="76" y="70"/>
                </a:lnTo>
                <a:lnTo>
                  <a:pt x="73" y="72"/>
                </a:lnTo>
                <a:lnTo>
                  <a:pt x="73" y="72"/>
                </a:lnTo>
                <a:lnTo>
                  <a:pt x="69" y="74"/>
                </a:lnTo>
                <a:lnTo>
                  <a:pt x="66" y="75"/>
                </a:lnTo>
                <a:lnTo>
                  <a:pt x="63" y="77"/>
                </a:lnTo>
                <a:lnTo>
                  <a:pt x="63" y="81"/>
                </a:lnTo>
                <a:lnTo>
                  <a:pt x="63" y="81"/>
                </a:lnTo>
                <a:lnTo>
                  <a:pt x="63" y="85"/>
                </a:lnTo>
                <a:lnTo>
                  <a:pt x="64" y="88"/>
                </a:lnTo>
                <a:lnTo>
                  <a:pt x="69" y="95"/>
                </a:lnTo>
                <a:lnTo>
                  <a:pt x="72" y="101"/>
                </a:lnTo>
                <a:lnTo>
                  <a:pt x="73" y="104"/>
                </a:lnTo>
                <a:lnTo>
                  <a:pt x="73" y="108"/>
                </a:lnTo>
                <a:lnTo>
                  <a:pt x="73" y="108"/>
                </a:lnTo>
                <a:lnTo>
                  <a:pt x="70" y="118"/>
                </a:lnTo>
                <a:lnTo>
                  <a:pt x="70" y="129"/>
                </a:lnTo>
                <a:lnTo>
                  <a:pt x="70" y="129"/>
                </a:lnTo>
                <a:lnTo>
                  <a:pt x="67" y="142"/>
                </a:lnTo>
                <a:lnTo>
                  <a:pt x="66" y="148"/>
                </a:lnTo>
                <a:lnTo>
                  <a:pt x="64" y="151"/>
                </a:lnTo>
                <a:lnTo>
                  <a:pt x="63" y="151"/>
                </a:lnTo>
                <a:lnTo>
                  <a:pt x="63" y="151"/>
                </a:lnTo>
                <a:lnTo>
                  <a:pt x="60" y="151"/>
                </a:lnTo>
                <a:lnTo>
                  <a:pt x="57" y="151"/>
                </a:lnTo>
                <a:lnTo>
                  <a:pt x="53" y="151"/>
                </a:lnTo>
                <a:lnTo>
                  <a:pt x="50" y="152"/>
                </a:lnTo>
                <a:lnTo>
                  <a:pt x="50" y="152"/>
                </a:lnTo>
                <a:lnTo>
                  <a:pt x="45" y="155"/>
                </a:lnTo>
                <a:lnTo>
                  <a:pt x="40" y="155"/>
                </a:lnTo>
                <a:lnTo>
                  <a:pt x="35" y="156"/>
                </a:lnTo>
                <a:lnTo>
                  <a:pt x="30" y="159"/>
                </a:lnTo>
                <a:lnTo>
                  <a:pt x="30" y="159"/>
                </a:lnTo>
                <a:lnTo>
                  <a:pt x="25" y="162"/>
                </a:lnTo>
                <a:lnTo>
                  <a:pt x="20" y="163"/>
                </a:lnTo>
                <a:lnTo>
                  <a:pt x="18" y="165"/>
                </a:lnTo>
                <a:lnTo>
                  <a:pt x="16" y="169"/>
                </a:lnTo>
                <a:lnTo>
                  <a:pt x="16" y="169"/>
                </a:lnTo>
                <a:lnTo>
                  <a:pt x="15" y="173"/>
                </a:lnTo>
                <a:lnTo>
                  <a:pt x="13" y="176"/>
                </a:lnTo>
                <a:lnTo>
                  <a:pt x="10" y="181"/>
                </a:lnTo>
                <a:lnTo>
                  <a:pt x="10" y="183"/>
                </a:lnTo>
                <a:lnTo>
                  <a:pt x="10" y="183"/>
                </a:lnTo>
                <a:lnTo>
                  <a:pt x="10" y="186"/>
                </a:lnTo>
                <a:lnTo>
                  <a:pt x="9" y="189"/>
                </a:lnTo>
                <a:lnTo>
                  <a:pt x="6" y="191"/>
                </a:lnTo>
                <a:lnTo>
                  <a:pt x="3" y="192"/>
                </a:lnTo>
                <a:lnTo>
                  <a:pt x="3" y="192"/>
                </a:lnTo>
                <a:lnTo>
                  <a:pt x="2" y="195"/>
                </a:lnTo>
                <a:lnTo>
                  <a:pt x="2" y="198"/>
                </a:lnTo>
                <a:lnTo>
                  <a:pt x="2" y="200"/>
                </a:lnTo>
                <a:lnTo>
                  <a:pt x="2" y="203"/>
                </a:lnTo>
                <a:lnTo>
                  <a:pt x="2" y="203"/>
                </a:lnTo>
                <a:lnTo>
                  <a:pt x="0" y="206"/>
                </a:lnTo>
                <a:lnTo>
                  <a:pt x="0" y="209"/>
                </a:lnTo>
                <a:lnTo>
                  <a:pt x="6" y="216"/>
                </a:lnTo>
                <a:lnTo>
                  <a:pt x="6" y="216"/>
                </a:lnTo>
                <a:lnTo>
                  <a:pt x="10" y="223"/>
                </a:lnTo>
                <a:lnTo>
                  <a:pt x="12" y="227"/>
                </a:lnTo>
                <a:lnTo>
                  <a:pt x="12" y="230"/>
                </a:lnTo>
                <a:lnTo>
                  <a:pt x="12" y="230"/>
                </a:lnTo>
                <a:lnTo>
                  <a:pt x="12" y="233"/>
                </a:lnTo>
                <a:lnTo>
                  <a:pt x="15" y="235"/>
                </a:lnTo>
                <a:lnTo>
                  <a:pt x="18" y="236"/>
                </a:lnTo>
                <a:lnTo>
                  <a:pt x="20" y="236"/>
                </a:lnTo>
                <a:lnTo>
                  <a:pt x="20" y="236"/>
                </a:lnTo>
                <a:lnTo>
                  <a:pt x="22" y="236"/>
                </a:lnTo>
                <a:lnTo>
                  <a:pt x="22" y="237"/>
                </a:lnTo>
                <a:lnTo>
                  <a:pt x="23" y="240"/>
                </a:lnTo>
                <a:lnTo>
                  <a:pt x="25" y="245"/>
                </a:lnTo>
                <a:lnTo>
                  <a:pt x="26" y="245"/>
                </a:lnTo>
                <a:lnTo>
                  <a:pt x="29" y="246"/>
                </a:lnTo>
                <a:lnTo>
                  <a:pt x="29" y="246"/>
                </a:lnTo>
                <a:lnTo>
                  <a:pt x="39" y="246"/>
                </a:lnTo>
                <a:lnTo>
                  <a:pt x="43" y="245"/>
                </a:lnTo>
                <a:lnTo>
                  <a:pt x="46" y="243"/>
                </a:lnTo>
                <a:lnTo>
                  <a:pt x="46" y="243"/>
                </a:lnTo>
                <a:lnTo>
                  <a:pt x="47" y="240"/>
                </a:lnTo>
                <a:lnTo>
                  <a:pt x="50" y="239"/>
                </a:lnTo>
                <a:lnTo>
                  <a:pt x="52" y="239"/>
                </a:lnTo>
                <a:lnTo>
                  <a:pt x="53" y="242"/>
                </a:lnTo>
                <a:lnTo>
                  <a:pt x="53" y="242"/>
                </a:lnTo>
                <a:lnTo>
                  <a:pt x="53" y="255"/>
                </a:lnTo>
                <a:lnTo>
                  <a:pt x="55" y="260"/>
                </a:lnTo>
                <a:lnTo>
                  <a:pt x="55" y="263"/>
                </a:lnTo>
                <a:lnTo>
                  <a:pt x="57" y="263"/>
                </a:lnTo>
                <a:lnTo>
                  <a:pt x="57" y="263"/>
                </a:lnTo>
                <a:lnTo>
                  <a:pt x="62" y="262"/>
                </a:lnTo>
                <a:lnTo>
                  <a:pt x="67" y="262"/>
                </a:lnTo>
                <a:lnTo>
                  <a:pt x="77" y="263"/>
                </a:lnTo>
                <a:lnTo>
                  <a:pt x="77" y="263"/>
                </a:lnTo>
                <a:lnTo>
                  <a:pt x="82" y="263"/>
                </a:lnTo>
                <a:lnTo>
                  <a:pt x="86" y="263"/>
                </a:lnTo>
                <a:lnTo>
                  <a:pt x="89" y="262"/>
                </a:lnTo>
                <a:lnTo>
                  <a:pt x="92" y="260"/>
                </a:lnTo>
                <a:lnTo>
                  <a:pt x="92" y="260"/>
                </a:lnTo>
                <a:lnTo>
                  <a:pt x="94" y="257"/>
                </a:lnTo>
                <a:lnTo>
                  <a:pt x="97" y="256"/>
                </a:lnTo>
                <a:lnTo>
                  <a:pt x="106" y="253"/>
                </a:lnTo>
                <a:lnTo>
                  <a:pt x="106" y="253"/>
                </a:lnTo>
                <a:lnTo>
                  <a:pt x="114" y="247"/>
                </a:lnTo>
                <a:lnTo>
                  <a:pt x="120" y="245"/>
                </a:lnTo>
                <a:lnTo>
                  <a:pt x="124" y="245"/>
                </a:lnTo>
                <a:lnTo>
                  <a:pt x="124" y="245"/>
                </a:lnTo>
                <a:lnTo>
                  <a:pt x="134" y="243"/>
                </a:lnTo>
                <a:lnTo>
                  <a:pt x="138" y="243"/>
                </a:lnTo>
                <a:lnTo>
                  <a:pt x="140" y="243"/>
                </a:lnTo>
                <a:lnTo>
                  <a:pt x="140" y="245"/>
                </a:lnTo>
                <a:lnTo>
                  <a:pt x="140" y="245"/>
                </a:lnTo>
                <a:lnTo>
                  <a:pt x="138" y="250"/>
                </a:lnTo>
                <a:lnTo>
                  <a:pt x="138" y="259"/>
                </a:lnTo>
                <a:lnTo>
                  <a:pt x="140" y="269"/>
                </a:lnTo>
                <a:lnTo>
                  <a:pt x="141" y="273"/>
                </a:lnTo>
                <a:lnTo>
                  <a:pt x="144" y="276"/>
                </a:lnTo>
                <a:lnTo>
                  <a:pt x="144" y="276"/>
                </a:lnTo>
                <a:lnTo>
                  <a:pt x="150" y="282"/>
                </a:lnTo>
                <a:lnTo>
                  <a:pt x="154" y="286"/>
                </a:lnTo>
                <a:lnTo>
                  <a:pt x="158" y="287"/>
                </a:lnTo>
                <a:lnTo>
                  <a:pt x="164" y="287"/>
                </a:lnTo>
                <a:lnTo>
                  <a:pt x="164" y="287"/>
                </a:lnTo>
                <a:lnTo>
                  <a:pt x="167" y="287"/>
                </a:lnTo>
                <a:lnTo>
                  <a:pt x="170" y="289"/>
                </a:lnTo>
                <a:lnTo>
                  <a:pt x="171" y="290"/>
                </a:lnTo>
                <a:lnTo>
                  <a:pt x="175" y="290"/>
                </a:lnTo>
                <a:lnTo>
                  <a:pt x="175" y="290"/>
                </a:lnTo>
                <a:lnTo>
                  <a:pt x="177" y="290"/>
                </a:lnTo>
                <a:lnTo>
                  <a:pt x="178" y="293"/>
                </a:lnTo>
                <a:lnTo>
                  <a:pt x="180" y="294"/>
                </a:lnTo>
                <a:lnTo>
                  <a:pt x="181" y="296"/>
                </a:lnTo>
                <a:lnTo>
                  <a:pt x="181" y="296"/>
                </a:lnTo>
                <a:lnTo>
                  <a:pt x="190" y="297"/>
                </a:lnTo>
                <a:lnTo>
                  <a:pt x="194" y="299"/>
                </a:lnTo>
                <a:lnTo>
                  <a:pt x="195" y="301"/>
                </a:lnTo>
                <a:lnTo>
                  <a:pt x="195" y="301"/>
                </a:lnTo>
                <a:lnTo>
                  <a:pt x="195" y="303"/>
                </a:lnTo>
                <a:lnTo>
                  <a:pt x="197" y="304"/>
                </a:lnTo>
                <a:lnTo>
                  <a:pt x="202" y="304"/>
                </a:lnTo>
                <a:lnTo>
                  <a:pt x="208" y="304"/>
                </a:lnTo>
                <a:lnTo>
                  <a:pt x="212" y="306"/>
                </a:lnTo>
                <a:lnTo>
                  <a:pt x="212" y="306"/>
                </a:lnTo>
                <a:lnTo>
                  <a:pt x="217" y="310"/>
                </a:lnTo>
                <a:lnTo>
                  <a:pt x="218" y="313"/>
                </a:lnTo>
                <a:lnTo>
                  <a:pt x="218" y="317"/>
                </a:lnTo>
                <a:lnTo>
                  <a:pt x="218" y="317"/>
                </a:lnTo>
                <a:lnTo>
                  <a:pt x="220" y="320"/>
                </a:lnTo>
                <a:lnTo>
                  <a:pt x="221" y="324"/>
                </a:lnTo>
                <a:lnTo>
                  <a:pt x="222" y="327"/>
                </a:lnTo>
                <a:lnTo>
                  <a:pt x="222" y="328"/>
                </a:lnTo>
                <a:lnTo>
                  <a:pt x="221" y="328"/>
                </a:lnTo>
                <a:lnTo>
                  <a:pt x="221" y="328"/>
                </a:lnTo>
                <a:lnTo>
                  <a:pt x="220" y="331"/>
                </a:lnTo>
                <a:lnTo>
                  <a:pt x="220" y="334"/>
                </a:lnTo>
                <a:lnTo>
                  <a:pt x="221" y="338"/>
                </a:lnTo>
                <a:lnTo>
                  <a:pt x="222" y="343"/>
                </a:lnTo>
                <a:lnTo>
                  <a:pt x="222" y="343"/>
                </a:lnTo>
                <a:lnTo>
                  <a:pt x="224" y="346"/>
                </a:lnTo>
                <a:lnTo>
                  <a:pt x="228" y="348"/>
                </a:lnTo>
                <a:lnTo>
                  <a:pt x="234" y="350"/>
                </a:lnTo>
                <a:lnTo>
                  <a:pt x="241" y="350"/>
                </a:lnTo>
                <a:lnTo>
                  <a:pt x="241" y="350"/>
                </a:lnTo>
                <a:lnTo>
                  <a:pt x="247" y="350"/>
                </a:lnTo>
                <a:lnTo>
                  <a:pt x="251" y="351"/>
                </a:lnTo>
                <a:lnTo>
                  <a:pt x="252" y="354"/>
                </a:lnTo>
                <a:lnTo>
                  <a:pt x="254" y="358"/>
                </a:lnTo>
                <a:lnTo>
                  <a:pt x="254" y="358"/>
                </a:lnTo>
                <a:lnTo>
                  <a:pt x="255" y="363"/>
                </a:lnTo>
                <a:lnTo>
                  <a:pt x="258" y="367"/>
                </a:lnTo>
                <a:lnTo>
                  <a:pt x="261" y="370"/>
                </a:lnTo>
                <a:lnTo>
                  <a:pt x="264" y="374"/>
                </a:lnTo>
                <a:lnTo>
                  <a:pt x="264" y="374"/>
                </a:lnTo>
                <a:lnTo>
                  <a:pt x="264" y="380"/>
                </a:lnTo>
                <a:lnTo>
                  <a:pt x="262" y="385"/>
                </a:lnTo>
                <a:lnTo>
                  <a:pt x="261" y="390"/>
                </a:lnTo>
                <a:lnTo>
                  <a:pt x="261" y="395"/>
                </a:lnTo>
                <a:lnTo>
                  <a:pt x="261" y="395"/>
                </a:lnTo>
                <a:lnTo>
                  <a:pt x="261" y="398"/>
                </a:lnTo>
                <a:lnTo>
                  <a:pt x="259" y="401"/>
                </a:lnTo>
                <a:lnTo>
                  <a:pt x="257" y="405"/>
                </a:lnTo>
                <a:lnTo>
                  <a:pt x="257" y="405"/>
                </a:lnTo>
                <a:lnTo>
                  <a:pt x="259" y="411"/>
                </a:lnTo>
                <a:lnTo>
                  <a:pt x="258" y="412"/>
                </a:lnTo>
                <a:lnTo>
                  <a:pt x="257" y="414"/>
                </a:lnTo>
                <a:lnTo>
                  <a:pt x="257" y="414"/>
                </a:lnTo>
                <a:lnTo>
                  <a:pt x="257" y="415"/>
                </a:lnTo>
                <a:lnTo>
                  <a:pt x="257" y="417"/>
                </a:lnTo>
                <a:lnTo>
                  <a:pt x="258" y="421"/>
                </a:lnTo>
                <a:lnTo>
                  <a:pt x="259" y="427"/>
                </a:lnTo>
                <a:lnTo>
                  <a:pt x="261" y="430"/>
                </a:lnTo>
                <a:lnTo>
                  <a:pt x="259" y="434"/>
                </a:lnTo>
                <a:lnTo>
                  <a:pt x="259" y="434"/>
                </a:lnTo>
                <a:lnTo>
                  <a:pt x="258" y="441"/>
                </a:lnTo>
                <a:lnTo>
                  <a:pt x="259" y="444"/>
                </a:lnTo>
                <a:lnTo>
                  <a:pt x="262" y="447"/>
                </a:lnTo>
                <a:lnTo>
                  <a:pt x="268" y="447"/>
                </a:lnTo>
                <a:lnTo>
                  <a:pt x="268" y="447"/>
                </a:lnTo>
                <a:lnTo>
                  <a:pt x="274" y="448"/>
                </a:lnTo>
                <a:lnTo>
                  <a:pt x="278" y="449"/>
                </a:lnTo>
                <a:lnTo>
                  <a:pt x="279" y="449"/>
                </a:lnTo>
                <a:lnTo>
                  <a:pt x="282" y="448"/>
                </a:lnTo>
                <a:lnTo>
                  <a:pt x="282" y="448"/>
                </a:lnTo>
                <a:lnTo>
                  <a:pt x="284" y="448"/>
                </a:lnTo>
                <a:lnTo>
                  <a:pt x="285" y="449"/>
                </a:lnTo>
                <a:lnTo>
                  <a:pt x="288" y="452"/>
                </a:lnTo>
                <a:lnTo>
                  <a:pt x="291" y="457"/>
                </a:lnTo>
                <a:lnTo>
                  <a:pt x="294" y="462"/>
                </a:lnTo>
                <a:lnTo>
                  <a:pt x="294" y="462"/>
                </a:lnTo>
                <a:lnTo>
                  <a:pt x="296" y="472"/>
                </a:lnTo>
                <a:lnTo>
                  <a:pt x="299" y="478"/>
                </a:lnTo>
                <a:lnTo>
                  <a:pt x="301" y="479"/>
                </a:lnTo>
                <a:lnTo>
                  <a:pt x="301" y="479"/>
                </a:lnTo>
                <a:lnTo>
                  <a:pt x="306" y="478"/>
                </a:lnTo>
                <a:lnTo>
                  <a:pt x="311" y="476"/>
                </a:lnTo>
                <a:lnTo>
                  <a:pt x="315" y="476"/>
                </a:lnTo>
                <a:lnTo>
                  <a:pt x="315" y="476"/>
                </a:lnTo>
                <a:lnTo>
                  <a:pt x="316" y="478"/>
                </a:lnTo>
                <a:lnTo>
                  <a:pt x="316" y="481"/>
                </a:lnTo>
                <a:lnTo>
                  <a:pt x="315" y="489"/>
                </a:lnTo>
                <a:lnTo>
                  <a:pt x="313" y="498"/>
                </a:lnTo>
                <a:lnTo>
                  <a:pt x="312" y="505"/>
                </a:lnTo>
                <a:lnTo>
                  <a:pt x="312" y="505"/>
                </a:lnTo>
                <a:lnTo>
                  <a:pt x="319" y="505"/>
                </a:lnTo>
                <a:lnTo>
                  <a:pt x="323" y="506"/>
                </a:lnTo>
                <a:lnTo>
                  <a:pt x="323" y="506"/>
                </a:lnTo>
                <a:lnTo>
                  <a:pt x="325" y="511"/>
                </a:lnTo>
                <a:lnTo>
                  <a:pt x="326" y="518"/>
                </a:lnTo>
                <a:lnTo>
                  <a:pt x="326" y="526"/>
                </a:lnTo>
                <a:lnTo>
                  <a:pt x="326" y="531"/>
                </a:lnTo>
                <a:lnTo>
                  <a:pt x="326" y="531"/>
                </a:lnTo>
                <a:lnTo>
                  <a:pt x="323" y="533"/>
                </a:lnTo>
                <a:lnTo>
                  <a:pt x="318" y="536"/>
                </a:lnTo>
                <a:lnTo>
                  <a:pt x="306" y="542"/>
                </a:lnTo>
                <a:lnTo>
                  <a:pt x="306" y="542"/>
                </a:lnTo>
                <a:lnTo>
                  <a:pt x="301" y="546"/>
                </a:lnTo>
                <a:lnTo>
                  <a:pt x="294" y="553"/>
                </a:lnTo>
                <a:lnTo>
                  <a:pt x="285" y="562"/>
                </a:lnTo>
                <a:lnTo>
                  <a:pt x="279" y="570"/>
                </a:lnTo>
                <a:lnTo>
                  <a:pt x="279" y="570"/>
                </a:lnTo>
                <a:lnTo>
                  <a:pt x="272" y="580"/>
                </a:lnTo>
                <a:lnTo>
                  <a:pt x="265" y="587"/>
                </a:lnTo>
                <a:lnTo>
                  <a:pt x="265" y="587"/>
                </a:lnTo>
                <a:lnTo>
                  <a:pt x="269" y="587"/>
                </a:lnTo>
                <a:lnTo>
                  <a:pt x="269" y="587"/>
                </a:lnTo>
                <a:lnTo>
                  <a:pt x="272" y="586"/>
                </a:lnTo>
                <a:lnTo>
                  <a:pt x="275" y="587"/>
                </a:lnTo>
                <a:lnTo>
                  <a:pt x="279" y="589"/>
                </a:lnTo>
                <a:lnTo>
                  <a:pt x="284" y="592"/>
                </a:lnTo>
                <a:lnTo>
                  <a:pt x="284" y="592"/>
                </a:lnTo>
                <a:lnTo>
                  <a:pt x="286" y="597"/>
                </a:lnTo>
                <a:lnTo>
                  <a:pt x="288" y="600"/>
                </a:lnTo>
                <a:lnTo>
                  <a:pt x="289" y="603"/>
                </a:lnTo>
                <a:lnTo>
                  <a:pt x="291" y="603"/>
                </a:lnTo>
                <a:lnTo>
                  <a:pt x="291" y="603"/>
                </a:lnTo>
                <a:lnTo>
                  <a:pt x="292" y="602"/>
                </a:lnTo>
                <a:lnTo>
                  <a:pt x="294" y="600"/>
                </a:lnTo>
                <a:lnTo>
                  <a:pt x="296" y="599"/>
                </a:lnTo>
                <a:lnTo>
                  <a:pt x="299" y="602"/>
                </a:lnTo>
                <a:lnTo>
                  <a:pt x="299" y="602"/>
                </a:lnTo>
                <a:lnTo>
                  <a:pt x="303" y="606"/>
                </a:lnTo>
                <a:lnTo>
                  <a:pt x="309" y="609"/>
                </a:lnTo>
                <a:lnTo>
                  <a:pt x="318" y="614"/>
                </a:lnTo>
                <a:lnTo>
                  <a:pt x="318" y="614"/>
                </a:lnTo>
                <a:lnTo>
                  <a:pt x="323" y="619"/>
                </a:lnTo>
                <a:lnTo>
                  <a:pt x="326" y="623"/>
                </a:lnTo>
                <a:lnTo>
                  <a:pt x="328" y="627"/>
                </a:lnTo>
                <a:lnTo>
                  <a:pt x="328" y="627"/>
                </a:lnTo>
                <a:lnTo>
                  <a:pt x="328" y="639"/>
                </a:lnTo>
                <a:lnTo>
                  <a:pt x="328" y="644"/>
                </a:lnTo>
                <a:lnTo>
                  <a:pt x="331" y="651"/>
                </a:lnTo>
                <a:lnTo>
                  <a:pt x="331" y="651"/>
                </a:lnTo>
                <a:lnTo>
                  <a:pt x="333" y="647"/>
                </a:lnTo>
                <a:lnTo>
                  <a:pt x="338" y="644"/>
                </a:lnTo>
                <a:lnTo>
                  <a:pt x="338" y="64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06" name="Freeform 293">
            <a:extLst>
              <a:ext uri="{FF2B5EF4-FFF2-40B4-BE49-F238E27FC236}">
                <a16:creationId xmlns:a16="http://schemas.microsoft.com/office/drawing/2014/main" id="{5B05176E-C868-65EF-5575-1C01D95EAE8A}"/>
              </a:ext>
            </a:extLst>
          </p:cNvPr>
          <p:cNvSpPr>
            <a:spLocks/>
          </p:cNvSpPr>
          <p:nvPr userDrawn="1"/>
        </p:nvSpPr>
        <p:spPr bwMode="gray">
          <a:xfrm>
            <a:off x="3121932" y="4002707"/>
            <a:ext cx="106642" cy="110544"/>
          </a:xfrm>
          <a:custGeom>
            <a:avLst/>
            <a:gdLst/>
            <a:ahLst/>
            <a:cxnLst>
              <a:cxn ang="0">
                <a:pos x="79" y="41"/>
              </a:cxn>
              <a:cxn ang="0">
                <a:pos x="74" y="33"/>
              </a:cxn>
              <a:cxn ang="0">
                <a:pos x="69" y="28"/>
              </a:cxn>
              <a:cxn ang="0">
                <a:pos x="54" y="20"/>
              </a:cxn>
              <a:cxn ang="0">
                <a:pos x="50" y="16"/>
              </a:cxn>
              <a:cxn ang="0">
                <a:pos x="45" y="14"/>
              </a:cxn>
              <a:cxn ang="0">
                <a:pos x="42" y="17"/>
              </a:cxn>
              <a:cxn ang="0">
                <a:pos x="40" y="17"/>
              </a:cxn>
              <a:cxn ang="0">
                <a:pos x="37" y="11"/>
              </a:cxn>
              <a:cxn ang="0">
                <a:pos x="35" y="6"/>
              </a:cxn>
              <a:cxn ang="0">
                <a:pos x="26" y="1"/>
              </a:cxn>
              <a:cxn ang="0">
                <a:pos x="20" y="1"/>
              </a:cxn>
              <a:cxn ang="0">
                <a:pos x="16" y="1"/>
              </a:cxn>
              <a:cxn ang="0">
                <a:pos x="12" y="6"/>
              </a:cxn>
              <a:cxn ang="0">
                <a:pos x="10" y="10"/>
              </a:cxn>
              <a:cxn ang="0">
                <a:pos x="8" y="23"/>
              </a:cxn>
              <a:cxn ang="0">
                <a:pos x="5" y="38"/>
              </a:cxn>
              <a:cxn ang="0">
                <a:pos x="5" y="46"/>
              </a:cxn>
              <a:cxn ang="0">
                <a:pos x="2" y="53"/>
              </a:cxn>
              <a:cxn ang="0">
                <a:pos x="0" y="58"/>
              </a:cxn>
              <a:cxn ang="0">
                <a:pos x="3" y="67"/>
              </a:cxn>
              <a:cxn ang="0">
                <a:pos x="6" y="68"/>
              </a:cxn>
              <a:cxn ang="0">
                <a:pos x="5" y="75"/>
              </a:cxn>
              <a:cxn ang="0">
                <a:pos x="8" y="78"/>
              </a:cxn>
              <a:cxn ang="0">
                <a:pos x="10" y="78"/>
              </a:cxn>
              <a:cxn ang="0">
                <a:pos x="20" y="80"/>
              </a:cxn>
              <a:cxn ang="0">
                <a:pos x="32" y="84"/>
              </a:cxn>
              <a:cxn ang="0">
                <a:pos x="37" y="85"/>
              </a:cxn>
              <a:cxn ang="0">
                <a:pos x="45" y="84"/>
              </a:cxn>
              <a:cxn ang="0">
                <a:pos x="56" y="84"/>
              </a:cxn>
              <a:cxn ang="0">
                <a:pos x="69" y="81"/>
              </a:cxn>
              <a:cxn ang="0">
                <a:pos x="72" y="78"/>
              </a:cxn>
              <a:cxn ang="0">
                <a:pos x="82" y="65"/>
              </a:cxn>
              <a:cxn ang="0">
                <a:pos x="79" y="58"/>
              </a:cxn>
              <a:cxn ang="0">
                <a:pos x="79" y="41"/>
              </a:cxn>
            </a:cxnLst>
            <a:rect l="0" t="0" r="r" b="b"/>
            <a:pathLst>
              <a:path w="82" h="85">
                <a:moveTo>
                  <a:pt x="79" y="41"/>
                </a:moveTo>
                <a:lnTo>
                  <a:pt x="79" y="41"/>
                </a:lnTo>
                <a:lnTo>
                  <a:pt x="77" y="37"/>
                </a:lnTo>
                <a:lnTo>
                  <a:pt x="74" y="33"/>
                </a:lnTo>
                <a:lnTo>
                  <a:pt x="69" y="28"/>
                </a:lnTo>
                <a:lnTo>
                  <a:pt x="69" y="28"/>
                </a:lnTo>
                <a:lnTo>
                  <a:pt x="60" y="23"/>
                </a:lnTo>
                <a:lnTo>
                  <a:pt x="54" y="20"/>
                </a:lnTo>
                <a:lnTo>
                  <a:pt x="50" y="16"/>
                </a:lnTo>
                <a:lnTo>
                  <a:pt x="50" y="16"/>
                </a:lnTo>
                <a:lnTo>
                  <a:pt x="47" y="13"/>
                </a:lnTo>
                <a:lnTo>
                  <a:pt x="45" y="14"/>
                </a:lnTo>
                <a:lnTo>
                  <a:pt x="43" y="16"/>
                </a:lnTo>
                <a:lnTo>
                  <a:pt x="42" y="17"/>
                </a:lnTo>
                <a:lnTo>
                  <a:pt x="42" y="17"/>
                </a:lnTo>
                <a:lnTo>
                  <a:pt x="40" y="17"/>
                </a:lnTo>
                <a:lnTo>
                  <a:pt x="39" y="14"/>
                </a:lnTo>
                <a:lnTo>
                  <a:pt x="37" y="11"/>
                </a:lnTo>
                <a:lnTo>
                  <a:pt x="35" y="6"/>
                </a:lnTo>
                <a:lnTo>
                  <a:pt x="35" y="6"/>
                </a:lnTo>
                <a:lnTo>
                  <a:pt x="30" y="3"/>
                </a:lnTo>
                <a:lnTo>
                  <a:pt x="26" y="1"/>
                </a:lnTo>
                <a:lnTo>
                  <a:pt x="23" y="0"/>
                </a:lnTo>
                <a:lnTo>
                  <a:pt x="20" y="1"/>
                </a:lnTo>
                <a:lnTo>
                  <a:pt x="20" y="1"/>
                </a:lnTo>
                <a:lnTo>
                  <a:pt x="16" y="1"/>
                </a:lnTo>
                <a:lnTo>
                  <a:pt x="16" y="1"/>
                </a:lnTo>
                <a:lnTo>
                  <a:pt x="12" y="6"/>
                </a:lnTo>
                <a:lnTo>
                  <a:pt x="10" y="10"/>
                </a:lnTo>
                <a:lnTo>
                  <a:pt x="10" y="10"/>
                </a:lnTo>
                <a:lnTo>
                  <a:pt x="10" y="16"/>
                </a:lnTo>
                <a:lnTo>
                  <a:pt x="8" y="23"/>
                </a:lnTo>
                <a:lnTo>
                  <a:pt x="6" y="30"/>
                </a:lnTo>
                <a:lnTo>
                  <a:pt x="5" y="38"/>
                </a:lnTo>
                <a:lnTo>
                  <a:pt x="5" y="38"/>
                </a:lnTo>
                <a:lnTo>
                  <a:pt x="5" y="46"/>
                </a:lnTo>
                <a:lnTo>
                  <a:pt x="3" y="50"/>
                </a:lnTo>
                <a:lnTo>
                  <a:pt x="2" y="53"/>
                </a:lnTo>
                <a:lnTo>
                  <a:pt x="0" y="58"/>
                </a:lnTo>
                <a:lnTo>
                  <a:pt x="0" y="58"/>
                </a:lnTo>
                <a:lnTo>
                  <a:pt x="2" y="64"/>
                </a:lnTo>
                <a:lnTo>
                  <a:pt x="3" y="67"/>
                </a:lnTo>
                <a:lnTo>
                  <a:pt x="6" y="68"/>
                </a:lnTo>
                <a:lnTo>
                  <a:pt x="6" y="68"/>
                </a:lnTo>
                <a:lnTo>
                  <a:pt x="6" y="71"/>
                </a:lnTo>
                <a:lnTo>
                  <a:pt x="5" y="75"/>
                </a:lnTo>
                <a:lnTo>
                  <a:pt x="5" y="75"/>
                </a:lnTo>
                <a:lnTo>
                  <a:pt x="8" y="78"/>
                </a:lnTo>
                <a:lnTo>
                  <a:pt x="10" y="78"/>
                </a:lnTo>
                <a:lnTo>
                  <a:pt x="10" y="78"/>
                </a:lnTo>
                <a:lnTo>
                  <a:pt x="16" y="78"/>
                </a:lnTo>
                <a:lnTo>
                  <a:pt x="20" y="80"/>
                </a:lnTo>
                <a:lnTo>
                  <a:pt x="32" y="84"/>
                </a:lnTo>
                <a:lnTo>
                  <a:pt x="32" y="84"/>
                </a:lnTo>
                <a:lnTo>
                  <a:pt x="36" y="85"/>
                </a:lnTo>
                <a:lnTo>
                  <a:pt x="37" y="85"/>
                </a:lnTo>
                <a:lnTo>
                  <a:pt x="40" y="84"/>
                </a:lnTo>
                <a:lnTo>
                  <a:pt x="45" y="84"/>
                </a:lnTo>
                <a:lnTo>
                  <a:pt x="45" y="84"/>
                </a:lnTo>
                <a:lnTo>
                  <a:pt x="56" y="84"/>
                </a:lnTo>
                <a:lnTo>
                  <a:pt x="62" y="84"/>
                </a:lnTo>
                <a:lnTo>
                  <a:pt x="69" y="81"/>
                </a:lnTo>
                <a:lnTo>
                  <a:pt x="69" y="81"/>
                </a:lnTo>
                <a:lnTo>
                  <a:pt x="72" y="78"/>
                </a:lnTo>
                <a:lnTo>
                  <a:pt x="74" y="74"/>
                </a:lnTo>
                <a:lnTo>
                  <a:pt x="82" y="65"/>
                </a:lnTo>
                <a:lnTo>
                  <a:pt x="82" y="65"/>
                </a:lnTo>
                <a:lnTo>
                  <a:pt x="79" y="58"/>
                </a:lnTo>
                <a:lnTo>
                  <a:pt x="79" y="53"/>
                </a:lnTo>
                <a:lnTo>
                  <a:pt x="79" y="41"/>
                </a:lnTo>
                <a:lnTo>
                  <a:pt x="79" y="41"/>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07" name="Freeform 294">
            <a:extLst>
              <a:ext uri="{FF2B5EF4-FFF2-40B4-BE49-F238E27FC236}">
                <a16:creationId xmlns:a16="http://schemas.microsoft.com/office/drawing/2014/main" id="{E1E523FB-C0B9-3659-63F3-8219044BE317}"/>
              </a:ext>
            </a:extLst>
          </p:cNvPr>
          <p:cNvSpPr>
            <a:spLocks noEditPoints="1"/>
          </p:cNvSpPr>
          <p:nvPr userDrawn="1"/>
        </p:nvSpPr>
        <p:spPr bwMode="gray">
          <a:xfrm>
            <a:off x="2804608" y="3818035"/>
            <a:ext cx="417463" cy="827124"/>
          </a:xfrm>
          <a:custGeom>
            <a:avLst/>
            <a:gdLst/>
            <a:ahLst/>
            <a:cxnLst>
              <a:cxn ang="0">
                <a:pos x="87" y="597"/>
              </a:cxn>
              <a:cxn ang="0">
                <a:pos x="84" y="587"/>
              </a:cxn>
              <a:cxn ang="0">
                <a:pos x="78" y="633"/>
              </a:cxn>
              <a:cxn ang="0">
                <a:pos x="116" y="633"/>
              </a:cxn>
              <a:cxn ang="0">
                <a:pos x="318" y="62"/>
              </a:cxn>
              <a:cxn ang="0">
                <a:pos x="303" y="84"/>
              </a:cxn>
              <a:cxn ang="0">
                <a:pos x="284" y="94"/>
              </a:cxn>
              <a:cxn ang="0">
                <a:pos x="257" y="95"/>
              </a:cxn>
              <a:cxn ang="0">
                <a:pos x="249" y="81"/>
              </a:cxn>
              <a:cxn ang="0">
                <a:pos x="256" y="55"/>
              </a:cxn>
              <a:cxn ang="0">
                <a:pos x="213" y="35"/>
              </a:cxn>
              <a:cxn ang="0">
                <a:pos x="173" y="1"/>
              </a:cxn>
              <a:cxn ang="0">
                <a:pos x="148" y="11"/>
              </a:cxn>
              <a:cxn ang="0">
                <a:pos x="115" y="4"/>
              </a:cxn>
              <a:cxn ang="0">
                <a:pos x="89" y="40"/>
              </a:cxn>
              <a:cxn ang="0">
                <a:pos x="81" y="61"/>
              </a:cxn>
              <a:cxn ang="0">
                <a:pos x="84" y="84"/>
              </a:cxn>
              <a:cxn ang="0">
                <a:pos x="71" y="105"/>
              </a:cxn>
              <a:cxn ang="0">
                <a:pos x="58" y="125"/>
              </a:cxn>
              <a:cxn ang="0">
                <a:pos x="55" y="148"/>
              </a:cxn>
              <a:cxn ang="0">
                <a:pos x="50" y="176"/>
              </a:cxn>
              <a:cxn ang="0">
                <a:pos x="59" y="206"/>
              </a:cxn>
              <a:cxn ang="0">
                <a:pos x="50" y="232"/>
              </a:cxn>
              <a:cxn ang="0">
                <a:pos x="42" y="256"/>
              </a:cxn>
              <a:cxn ang="0">
                <a:pos x="41" y="294"/>
              </a:cxn>
              <a:cxn ang="0">
                <a:pos x="34" y="311"/>
              </a:cxn>
              <a:cxn ang="0">
                <a:pos x="25" y="333"/>
              </a:cxn>
              <a:cxn ang="0">
                <a:pos x="27" y="358"/>
              </a:cxn>
              <a:cxn ang="0">
                <a:pos x="22" y="382"/>
              </a:cxn>
              <a:cxn ang="0">
                <a:pos x="27" y="401"/>
              </a:cxn>
              <a:cxn ang="0">
                <a:pos x="37" y="415"/>
              </a:cxn>
              <a:cxn ang="0">
                <a:pos x="34" y="425"/>
              </a:cxn>
              <a:cxn ang="0">
                <a:pos x="28" y="448"/>
              </a:cxn>
              <a:cxn ang="0">
                <a:pos x="25" y="466"/>
              </a:cxn>
              <a:cxn ang="0">
                <a:pos x="15" y="481"/>
              </a:cxn>
              <a:cxn ang="0">
                <a:pos x="11" y="500"/>
              </a:cxn>
              <a:cxn ang="0">
                <a:pos x="1" y="526"/>
              </a:cxn>
              <a:cxn ang="0">
                <a:pos x="18" y="539"/>
              </a:cxn>
              <a:cxn ang="0">
                <a:pos x="22" y="562"/>
              </a:cxn>
              <a:cxn ang="0">
                <a:pos x="61" y="569"/>
              </a:cxn>
              <a:cxn ang="0">
                <a:pos x="79" y="570"/>
              </a:cxn>
              <a:cxn ang="0">
                <a:pos x="71" y="535"/>
              </a:cxn>
              <a:cxn ang="0">
                <a:pos x="91" y="519"/>
              </a:cxn>
              <a:cxn ang="0">
                <a:pos x="122" y="482"/>
              </a:cxn>
              <a:cxn ang="0">
                <a:pos x="118" y="462"/>
              </a:cxn>
              <a:cxn ang="0">
                <a:pos x="98" y="435"/>
              </a:cxn>
              <a:cxn ang="0">
                <a:pos x="126" y="414"/>
              </a:cxn>
              <a:cxn ang="0">
                <a:pos x="136" y="385"/>
              </a:cxn>
              <a:cxn ang="0">
                <a:pos x="139" y="377"/>
              </a:cxn>
              <a:cxn ang="0">
                <a:pos x="156" y="377"/>
              </a:cxn>
              <a:cxn ang="0">
                <a:pos x="148" y="368"/>
              </a:cxn>
              <a:cxn ang="0">
                <a:pos x="136" y="355"/>
              </a:cxn>
              <a:cxn ang="0">
                <a:pos x="146" y="340"/>
              </a:cxn>
              <a:cxn ang="0">
                <a:pos x="178" y="327"/>
              </a:cxn>
              <a:cxn ang="0">
                <a:pos x="180" y="308"/>
              </a:cxn>
              <a:cxn ang="0">
                <a:pos x="227" y="300"/>
              </a:cxn>
              <a:cxn ang="0">
                <a:pos x="273" y="263"/>
              </a:cxn>
              <a:cxn ang="0">
                <a:pos x="263" y="239"/>
              </a:cxn>
              <a:cxn ang="0">
                <a:pos x="242" y="222"/>
              </a:cxn>
              <a:cxn ang="0">
                <a:pos x="250" y="210"/>
              </a:cxn>
              <a:cxn ang="0">
                <a:pos x="249" y="180"/>
              </a:cxn>
              <a:cxn ang="0">
                <a:pos x="269" y="135"/>
              </a:cxn>
              <a:cxn ang="0">
                <a:pos x="318" y="89"/>
              </a:cxn>
            </a:cxnLst>
            <a:rect l="0" t="0" r="r" b="b"/>
            <a:pathLst>
              <a:path w="321" h="636">
                <a:moveTo>
                  <a:pt x="121" y="624"/>
                </a:moveTo>
                <a:lnTo>
                  <a:pt x="121" y="624"/>
                </a:lnTo>
                <a:lnTo>
                  <a:pt x="118" y="623"/>
                </a:lnTo>
                <a:lnTo>
                  <a:pt x="114" y="621"/>
                </a:lnTo>
                <a:lnTo>
                  <a:pt x="104" y="614"/>
                </a:lnTo>
                <a:lnTo>
                  <a:pt x="89" y="603"/>
                </a:lnTo>
                <a:lnTo>
                  <a:pt x="89" y="603"/>
                </a:lnTo>
                <a:lnTo>
                  <a:pt x="87" y="600"/>
                </a:lnTo>
                <a:lnTo>
                  <a:pt x="87" y="597"/>
                </a:lnTo>
                <a:lnTo>
                  <a:pt x="85" y="596"/>
                </a:lnTo>
                <a:lnTo>
                  <a:pt x="82" y="596"/>
                </a:lnTo>
                <a:lnTo>
                  <a:pt x="82" y="596"/>
                </a:lnTo>
                <a:lnTo>
                  <a:pt x="79" y="594"/>
                </a:lnTo>
                <a:lnTo>
                  <a:pt x="78" y="593"/>
                </a:lnTo>
                <a:lnTo>
                  <a:pt x="81" y="590"/>
                </a:lnTo>
                <a:lnTo>
                  <a:pt x="84" y="589"/>
                </a:lnTo>
                <a:lnTo>
                  <a:pt x="84" y="589"/>
                </a:lnTo>
                <a:lnTo>
                  <a:pt x="84" y="587"/>
                </a:lnTo>
                <a:lnTo>
                  <a:pt x="84" y="584"/>
                </a:lnTo>
                <a:lnTo>
                  <a:pt x="81" y="582"/>
                </a:lnTo>
                <a:lnTo>
                  <a:pt x="78" y="580"/>
                </a:lnTo>
                <a:lnTo>
                  <a:pt x="78" y="580"/>
                </a:lnTo>
                <a:lnTo>
                  <a:pt x="77" y="610"/>
                </a:lnTo>
                <a:lnTo>
                  <a:pt x="77" y="626"/>
                </a:lnTo>
                <a:lnTo>
                  <a:pt x="77" y="631"/>
                </a:lnTo>
                <a:lnTo>
                  <a:pt x="78" y="633"/>
                </a:lnTo>
                <a:lnTo>
                  <a:pt x="78" y="633"/>
                </a:lnTo>
                <a:lnTo>
                  <a:pt x="89" y="633"/>
                </a:lnTo>
                <a:lnTo>
                  <a:pt x="98" y="633"/>
                </a:lnTo>
                <a:lnTo>
                  <a:pt x="105" y="634"/>
                </a:lnTo>
                <a:lnTo>
                  <a:pt x="105" y="634"/>
                </a:lnTo>
                <a:lnTo>
                  <a:pt x="108" y="636"/>
                </a:lnTo>
                <a:lnTo>
                  <a:pt x="111" y="636"/>
                </a:lnTo>
                <a:lnTo>
                  <a:pt x="112" y="634"/>
                </a:lnTo>
                <a:lnTo>
                  <a:pt x="112" y="634"/>
                </a:lnTo>
                <a:lnTo>
                  <a:pt x="116" y="633"/>
                </a:lnTo>
                <a:lnTo>
                  <a:pt x="121" y="631"/>
                </a:lnTo>
                <a:lnTo>
                  <a:pt x="126" y="630"/>
                </a:lnTo>
                <a:lnTo>
                  <a:pt x="132" y="629"/>
                </a:lnTo>
                <a:lnTo>
                  <a:pt x="132" y="629"/>
                </a:lnTo>
                <a:lnTo>
                  <a:pt x="133" y="627"/>
                </a:lnTo>
                <a:lnTo>
                  <a:pt x="132" y="626"/>
                </a:lnTo>
                <a:lnTo>
                  <a:pt x="121" y="624"/>
                </a:lnTo>
                <a:lnTo>
                  <a:pt x="121" y="624"/>
                </a:lnTo>
                <a:close/>
                <a:moveTo>
                  <a:pt x="318" y="62"/>
                </a:moveTo>
                <a:lnTo>
                  <a:pt x="318" y="62"/>
                </a:lnTo>
                <a:lnTo>
                  <a:pt x="314" y="61"/>
                </a:lnTo>
                <a:lnTo>
                  <a:pt x="307" y="61"/>
                </a:lnTo>
                <a:lnTo>
                  <a:pt x="307" y="61"/>
                </a:lnTo>
                <a:lnTo>
                  <a:pt x="307" y="64"/>
                </a:lnTo>
                <a:lnTo>
                  <a:pt x="307" y="64"/>
                </a:lnTo>
                <a:lnTo>
                  <a:pt x="307" y="69"/>
                </a:lnTo>
                <a:lnTo>
                  <a:pt x="306" y="78"/>
                </a:lnTo>
                <a:lnTo>
                  <a:pt x="303" y="84"/>
                </a:lnTo>
                <a:lnTo>
                  <a:pt x="301" y="87"/>
                </a:lnTo>
                <a:lnTo>
                  <a:pt x="300" y="87"/>
                </a:lnTo>
                <a:lnTo>
                  <a:pt x="300" y="87"/>
                </a:lnTo>
                <a:lnTo>
                  <a:pt x="296" y="88"/>
                </a:lnTo>
                <a:lnTo>
                  <a:pt x="293" y="89"/>
                </a:lnTo>
                <a:lnTo>
                  <a:pt x="290" y="92"/>
                </a:lnTo>
                <a:lnTo>
                  <a:pt x="287" y="94"/>
                </a:lnTo>
                <a:lnTo>
                  <a:pt x="287" y="94"/>
                </a:lnTo>
                <a:lnTo>
                  <a:pt x="284" y="94"/>
                </a:lnTo>
                <a:lnTo>
                  <a:pt x="280" y="95"/>
                </a:lnTo>
                <a:lnTo>
                  <a:pt x="277" y="96"/>
                </a:lnTo>
                <a:lnTo>
                  <a:pt x="273" y="96"/>
                </a:lnTo>
                <a:lnTo>
                  <a:pt x="273" y="96"/>
                </a:lnTo>
                <a:lnTo>
                  <a:pt x="269" y="95"/>
                </a:lnTo>
                <a:lnTo>
                  <a:pt x="264" y="95"/>
                </a:lnTo>
                <a:lnTo>
                  <a:pt x="261" y="95"/>
                </a:lnTo>
                <a:lnTo>
                  <a:pt x="257" y="95"/>
                </a:lnTo>
                <a:lnTo>
                  <a:pt x="257" y="95"/>
                </a:lnTo>
                <a:lnTo>
                  <a:pt x="254" y="94"/>
                </a:lnTo>
                <a:lnTo>
                  <a:pt x="249" y="94"/>
                </a:lnTo>
                <a:lnTo>
                  <a:pt x="244" y="92"/>
                </a:lnTo>
                <a:lnTo>
                  <a:pt x="243" y="91"/>
                </a:lnTo>
                <a:lnTo>
                  <a:pt x="243" y="91"/>
                </a:lnTo>
                <a:lnTo>
                  <a:pt x="243" y="89"/>
                </a:lnTo>
                <a:lnTo>
                  <a:pt x="246" y="88"/>
                </a:lnTo>
                <a:lnTo>
                  <a:pt x="247" y="85"/>
                </a:lnTo>
                <a:lnTo>
                  <a:pt x="249" y="81"/>
                </a:lnTo>
                <a:lnTo>
                  <a:pt x="249" y="81"/>
                </a:lnTo>
                <a:lnTo>
                  <a:pt x="249" y="77"/>
                </a:lnTo>
                <a:lnTo>
                  <a:pt x="250" y="74"/>
                </a:lnTo>
                <a:lnTo>
                  <a:pt x="254" y="68"/>
                </a:lnTo>
                <a:lnTo>
                  <a:pt x="260" y="62"/>
                </a:lnTo>
                <a:lnTo>
                  <a:pt x="260" y="61"/>
                </a:lnTo>
                <a:lnTo>
                  <a:pt x="260" y="59"/>
                </a:lnTo>
                <a:lnTo>
                  <a:pt x="260" y="59"/>
                </a:lnTo>
                <a:lnTo>
                  <a:pt x="256" y="55"/>
                </a:lnTo>
                <a:lnTo>
                  <a:pt x="246" y="52"/>
                </a:lnTo>
                <a:lnTo>
                  <a:pt x="236" y="48"/>
                </a:lnTo>
                <a:lnTo>
                  <a:pt x="230" y="44"/>
                </a:lnTo>
                <a:lnTo>
                  <a:pt x="230" y="44"/>
                </a:lnTo>
                <a:lnTo>
                  <a:pt x="227" y="41"/>
                </a:lnTo>
                <a:lnTo>
                  <a:pt x="224" y="38"/>
                </a:lnTo>
                <a:lnTo>
                  <a:pt x="219" y="35"/>
                </a:lnTo>
                <a:lnTo>
                  <a:pt x="213" y="35"/>
                </a:lnTo>
                <a:lnTo>
                  <a:pt x="213" y="35"/>
                </a:lnTo>
                <a:lnTo>
                  <a:pt x="207" y="34"/>
                </a:lnTo>
                <a:lnTo>
                  <a:pt x="203" y="31"/>
                </a:lnTo>
                <a:lnTo>
                  <a:pt x="200" y="28"/>
                </a:lnTo>
                <a:lnTo>
                  <a:pt x="195" y="24"/>
                </a:lnTo>
                <a:lnTo>
                  <a:pt x="195" y="24"/>
                </a:lnTo>
                <a:lnTo>
                  <a:pt x="189" y="20"/>
                </a:lnTo>
                <a:lnTo>
                  <a:pt x="183" y="13"/>
                </a:lnTo>
                <a:lnTo>
                  <a:pt x="178" y="7"/>
                </a:lnTo>
                <a:lnTo>
                  <a:pt x="173" y="1"/>
                </a:lnTo>
                <a:lnTo>
                  <a:pt x="173" y="1"/>
                </a:lnTo>
                <a:lnTo>
                  <a:pt x="163" y="0"/>
                </a:lnTo>
                <a:lnTo>
                  <a:pt x="159" y="0"/>
                </a:lnTo>
                <a:lnTo>
                  <a:pt x="158" y="1"/>
                </a:lnTo>
                <a:lnTo>
                  <a:pt x="158" y="1"/>
                </a:lnTo>
                <a:lnTo>
                  <a:pt x="152" y="10"/>
                </a:lnTo>
                <a:lnTo>
                  <a:pt x="151" y="13"/>
                </a:lnTo>
                <a:lnTo>
                  <a:pt x="149" y="13"/>
                </a:lnTo>
                <a:lnTo>
                  <a:pt x="148" y="11"/>
                </a:lnTo>
                <a:lnTo>
                  <a:pt x="148" y="11"/>
                </a:lnTo>
                <a:lnTo>
                  <a:pt x="145" y="7"/>
                </a:lnTo>
                <a:lnTo>
                  <a:pt x="139" y="4"/>
                </a:lnTo>
                <a:lnTo>
                  <a:pt x="129" y="3"/>
                </a:lnTo>
                <a:lnTo>
                  <a:pt x="129" y="3"/>
                </a:lnTo>
                <a:lnTo>
                  <a:pt x="125" y="1"/>
                </a:lnTo>
                <a:lnTo>
                  <a:pt x="122" y="0"/>
                </a:lnTo>
                <a:lnTo>
                  <a:pt x="119" y="0"/>
                </a:lnTo>
                <a:lnTo>
                  <a:pt x="115" y="4"/>
                </a:lnTo>
                <a:lnTo>
                  <a:pt x="115" y="4"/>
                </a:lnTo>
                <a:lnTo>
                  <a:pt x="109" y="8"/>
                </a:lnTo>
                <a:lnTo>
                  <a:pt x="104" y="13"/>
                </a:lnTo>
                <a:lnTo>
                  <a:pt x="104" y="13"/>
                </a:lnTo>
                <a:lnTo>
                  <a:pt x="102" y="24"/>
                </a:lnTo>
                <a:lnTo>
                  <a:pt x="99" y="32"/>
                </a:lnTo>
                <a:lnTo>
                  <a:pt x="99" y="32"/>
                </a:lnTo>
                <a:lnTo>
                  <a:pt x="96" y="35"/>
                </a:lnTo>
                <a:lnTo>
                  <a:pt x="89" y="40"/>
                </a:lnTo>
                <a:lnTo>
                  <a:pt x="84" y="42"/>
                </a:lnTo>
                <a:lnTo>
                  <a:pt x="81" y="47"/>
                </a:lnTo>
                <a:lnTo>
                  <a:pt x="81" y="47"/>
                </a:lnTo>
                <a:lnTo>
                  <a:pt x="82" y="52"/>
                </a:lnTo>
                <a:lnTo>
                  <a:pt x="82" y="55"/>
                </a:lnTo>
                <a:lnTo>
                  <a:pt x="81" y="58"/>
                </a:lnTo>
                <a:lnTo>
                  <a:pt x="81" y="58"/>
                </a:lnTo>
                <a:lnTo>
                  <a:pt x="79" y="59"/>
                </a:lnTo>
                <a:lnTo>
                  <a:pt x="81" y="61"/>
                </a:lnTo>
                <a:lnTo>
                  <a:pt x="82" y="67"/>
                </a:lnTo>
                <a:lnTo>
                  <a:pt x="84" y="72"/>
                </a:lnTo>
                <a:lnTo>
                  <a:pt x="84" y="74"/>
                </a:lnTo>
                <a:lnTo>
                  <a:pt x="82" y="75"/>
                </a:lnTo>
                <a:lnTo>
                  <a:pt x="82" y="75"/>
                </a:lnTo>
                <a:lnTo>
                  <a:pt x="81" y="77"/>
                </a:lnTo>
                <a:lnTo>
                  <a:pt x="81" y="78"/>
                </a:lnTo>
                <a:lnTo>
                  <a:pt x="81" y="81"/>
                </a:lnTo>
                <a:lnTo>
                  <a:pt x="84" y="84"/>
                </a:lnTo>
                <a:lnTo>
                  <a:pt x="84" y="85"/>
                </a:lnTo>
                <a:lnTo>
                  <a:pt x="82" y="85"/>
                </a:lnTo>
                <a:lnTo>
                  <a:pt x="82" y="85"/>
                </a:lnTo>
                <a:lnTo>
                  <a:pt x="77" y="89"/>
                </a:lnTo>
                <a:lnTo>
                  <a:pt x="74" y="91"/>
                </a:lnTo>
                <a:lnTo>
                  <a:pt x="72" y="94"/>
                </a:lnTo>
                <a:lnTo>
                  <a:pt x="72" y="94"/>
                </a:lnTo>
                <a:lnTo>
                  <a:pt x="72" y="101"/>
                </a:lnTo>
                <a:lnTo>
                  <a:pt x="71" y="105"/>
                </a:lnTo>
                <a:lnTo>
                  <a:pt x="68" y="106"/>
                </a:lnTo>
                <a:lnTo>
                  <a:pt x="68" y="106"/>
                </a:lnTo>
                <a:lnTo>
                  <a:pt x="65" y="109"/>
                </a:lnTo>
                <a:lnTo>
                  <a:pt x="62" y="114"/>
                </a:lnTo>
                <a:lnTo>
                  <a:pt x="61" y="118"/>
                </a:lnTo>
                <a:lnTo>
                  <a:pt x="61" y="122"/>
                </a:lnTo>
                <a:lnTo>
                  <a:pt x="61" y="122"/>
                </a:lnTo>
                <a:lnTo>
                  <a:pt x="59" y="123"/>
                </a:lnTo>
                <a:lnTo>
                  <a:pt x="58" y="125"/>
                </a:lnTo>
                <a:lnTo>
                  <a:pt x="57" y="126"/>
                </a:lnTo>
                <a:lnTo>
                  <a:pt x="57" y="131"/>
                </a:lnTo>
                <a:lnTo>
                  <a:pt x="57" y="131"/>
                </a:lnTo>
                <a:lnTo>
                  <a:pt x="59" y="141"/>
                </a:lnTo>
                <a:lnTo>
                  <a:pt x="59" y="145"/>
                </a:lnTo>
                <a:lnTo>
                  <a:pt x="58" y="146"/>
                </a:lnTo>
                <a:lnTo>
                  <a:pt x="57" y="146"/>
                </a:lnTo>
                <a:lnTo>
                  <a:pt x="57" y="146"/>
                </a:lnTo>
                <a:lnTo>
                  <a:pt x="55" y="148"/>
                </a:lnTo>
                <a:lnTo>
                  <a:pt x="54" y="149"/>
                </a:lnTo>
                <a:lnTo>
                  <a:pt x="52" y="153"/>
                </a:lnTo>
                <a:lnTo>
                  <a:pt x="51" y="158"/>
                </a:lnTo>
                <a:lnTo>
                  <a:pt x="50" y="159"/>
                </a:lnTo>
                <a:lnTo>
                  <a:pt x="50" y="159"/>
                </a:lnTo>
                <a:lnTo>
                  <a:pt x="48" y="160"/>
                </a:lnTo>
                <a:lnTo>
                  <a:pt x="47" y="166"/>
                </a:lnTo>
                <a:lnTo>
                  <a:pt x="48" y="172"/>
                </a:lnTo>
                <a:lnTo>
                  <a:pt x="50" y="176"/>
                </a:lnTo>
                <a:lnTo>
                  <a:pt x="50" y="176"/>
                </a:lnTo>
                <a:lnTo>
                  <a:pt x="52" y="180"/>
                </a:lnTo>
                <a:lnTo>
                  <a:pt x="54" y="185"/>
                </a:lnTo>
                <a:lnTo>
                  <a:pt x="55" y="192"/>
                </a:lnTo>
                <a:lnTo>
                  <a:pt x="55" y="192"/>
                </a:lnTo>
                <a:lnTo>
                  <a:pt x="55" y="196"/>
                </a:lnTo>
                <a:lnTo>
                  <a:pt x="58" y="199"/>
                </a:lnTo>
                <a:lnTo>
                  <a:pt x="59" y="202"/>
                </a:lnTo>
                <a:lnTo>
                  <a:pt x="59" y="206"/>
                </a:lnTo>
                <a:lnTo>
                  <a:pt x="59" y="206"/>
                </a:lnTo>
                <a:lnTo>
                  <a:pt x="57" y="215"/>
                </a:lnTo>
                <a:lnTo>
                  <a:pt x="57" y="217"/>
                </a:lnTo>
                <a:lnTo>
                  <a:pt x="54" y="220"/>
                </a:lnTo>
                <a:lnTo>
                  <a:pt x="54" y="220"/>
                </a:lnTo>
                <a:lnTo>
                  <a:pt x="52" y="222"/>
                </a:lnTo>
                <a:lnTo>
                  <a:pt x="52" y="226"/>
                </a:lnTo>
                <a:lnTo>
                  <a:pt x="52" y="229"/>
                </a:lnTo>
                <a:lnTo>
                  <a:pt x="50" y="232"/>
                </a:lnTo>
                <a:lnTo>
                  <a:pt x="50" y="232"/>
                </a:lnTo>
                <a:lnTo>
                  <a:pt x="48" y="233"/>
                </a:lnTo>
                <a:lnTo>
                  <a:pt x="48" y="234"/>
                </a:lnTo>
                <a:lnTo>
                  <a:pt x="50" y="242"/>
                </a:lnTo>
                <a:lnTo>
                  <a:pt x="51" y="247"/>
                </a:lnTo>
                <a:lnTo>
                  <a:pt x="51" y="250"/>
                </a:lnTo>
                <a:lnTo>
                  <a:pt x="50" y="252"/>
                </a:lnTo>
                <a:lnTo>
                  <a:pt x="50" y="252"/>
                </a:lnTo>
                <a:lnTo>
                  <a:pt x="42" y="256"/>
                </a:lnTo>
                <a:lnTo>
                  <a:pt x="40" y="260"/>
                </a:lnTo>
                <a:lnTo>
                  <a:pt x="38" y="267"/>
                </a:lnTo>
                <a:lnTo>
                  <a:pt x="38" y="267"/>
                </a:lnTo>
                <a:lnTo>
                  <a:pt x="38" y="280"/>
                </a:lnTo>
                <a:lnTo>
                  <a:pt x="38" y="289"/>
                </a:lnTo>
                <a:lnTo>
                  <a:pt x="38" y="289"/>
                </a:lnTo>
                <a:lnTo>
                  <a:pt x="38" y="291"/>
                </a:lnTo>
                <a:lnTo>
                  <a:pt x="40" y="293"/>
                </a:lnTo>
                <a:lnTo>
                  <a:pt x="41" y="294"/>
                </a:lnTo>
                <a:lnTo>
                  <a:pt x="42" y="297"/>
                </a:lnTo>
                <a:lnTo>
                  <a:pt x="42" y="297"/>
                </a:lnTo>
                <a:lnTo>
                  <a:pt x="41" y="300"/>
                </a:lnTo>
                <a:lnTo>
                  <a:pt x="40" y="301"/>
                </a:lnTo>
                <a:lnTo>
                  <a:pt x="37" y="301"/>
                </a:lnTo>
                <a:lnTo>
                  <a:pt x="34" y="303"/>
                </a:lnTo>
                <a:lnTo>
                  <a:pt x="32" y="304"/>
                </a:lnTo>
                <a:lnTo>
                  <a:pt x="32" y="304"/>
                </a:lnTo>
                <a:lnTo>
                  <a:pt x="34" y="311"/>
                </a:lnTo>
                <a:lnTo>
                  <a:pt x="32" y="314"/>
                </a:lnTo>
                <a:lnTo>
                  <a:pt x="32" y="316"/>
                </a:lnTo>
                <a:lnTo>
                  <a:pt x="32" y="316"/>
                </a:lnTo>
                <a:lnTo>
                  <a:pt x="30" y="317"/>
                </a:lnTo>
                <a:lnTo>
                  <a:pt x="28" y="318"/>
                </a:lnTo>
                <a:lnTo>
                  <a:pt x="28" y="325"/>
                </a:lnTo>
                <a:lnTo>
                  <a:pt x="28" y="325"/>
                </a:lnTo>
                <a:lnTo>
                  <a:pt x="27" y="330"/>
                </a:lnTo>
                <a:lnTo>
                  <a:pt x="25" y="333"/>
                </a:lnTo>
                <a:lnTo>
                  <a:pt x="24" y="335"/>
                </a:lnTo>
                <a:lnTo>
                  <a:pt x="22" y="337"/>
                </a:lnTo>
                <a:lnTo>
                  <a:pt x="22" y="337"/>
                </a:lnTo>
                <a:lnTo>
                  <a:pt x="24" y="340"/>
                </a:lnTo>
                <a:lnTo>
                  <a:pt x="25" y="343"/>
                </a:lnTo>
                <a:lnTo>
                  <a:pt x="25" y="345"/>
                </a:lnTo>
                <a:lnTo>
                  <a:pt x="27" y="348"/>
                </a:lnTo>
                <a:lnTo>
                  <a:pt x="27" y="348"/>
                </a:lnTo>
                <a:lnTo>
                  <a:pt x="27" y="358"/>
                </a:lnTo>
                <a:lnTo>
                  <a:pt x="27" y="362"/>
                </a:lnTo>
                <a:lnTo>
                  <a:pt x="27" y="365"/>
                </a:lnTo>
                <a:lnTo>
                  <a:pt x="25" y="365"/>
                </a:lnTo>
                <a:lnTo>
                  <a:pt x="25" y="365"/>
                </a:lnTo>
                <a:lnTo>
                  <a:pt x="24" y="368"/>
                </a:lnTo>
                <a:lnTo>
                  <a:pt x="22" y="374"/>
                </a:lnTo>
                <a:lnTo>
                  <a:pt x="22" y="380"/>
                </a:lnTo>
                <a:lnTo>
                  <a:pt x="22" y="382"/>
                </a:lnTo>
                <a:lnTo>
                  <a:pt x="22" y="382"/>
                </a:lnTo>
                <a:lnTo>
                  <a:pt x="25" y="384"/>
                </a:lnTo>
                <a:lnTo>
                  <a:pt x="25" y="387"/>
                </a:lnTo>
                <a:lnTo>
                  <a:pt x="24" y="391"/>
                </a:lnTo>
                <a:lnTo>
                  <a:pt x="24" y="391"/>
                </a:lnTo>
                <a:lnTo>
                  <a:pt x="25" y="394"/>
                </a:lnTo>
                <a:lnTo>
                  <a:pt x="27" y="395"/>
                </a:lnTo>
                <a:lnTo>
                  <a:pt x="28" y="398"/>
                </a:lnTo>
                <a:lnTo>
                  <a:pt x="28" y="399"/>
                </a:lnTo>
                <a:lnTo>
                  <a:pt x="27" y="401"/>
                </a:lnTo>
                <a:lnTo>
                  <a:pt x="27" y="401"/>
                </a:lnTo>
                <a:lnTo>
                  <a:pt x="25" y="405"/>
                </a:lnTo>
                <a:lnTo>
                  <a:pt x="25" y="408"/>
                </a:lnTo>
                <a:lnTo>
                  <a:pt x="28" y="409"/>
                </a:lnTo>
                <a:lnTo>
                  <a:pt x="32" y="409"/>
                </a:lnTo>
                <a:lnTo>
                  <a:pt x="32" y="409"/>
                </a:lnTo>
                <a:lnTo>
                  <a:pt x="35" y="409"/>
                </a:lnTo>
                <a:lnTo>
                  <a:pt x="37" y="412"/>
                </a:lnTo>
                <a:lnTo>
                  <a:pt x="37" y="415"/>
                </a:lnTo>
                <a:lnTo>
                  <a:pt x="35" y="417"/>
                </a:lnTo>
                <a:lnTo>
                  <a:pt x="34" y="417"/>
                </a:lnTo>
                <a:lnTo>
                  <a:pt x="34" y="417"/>
                </a:lnTo>
                <a:lnTo>
                  <a:pt x="28" y="417"/>
                </a:lnTo>
                <a:lnTo>
                  <a:pt x="27" y="418"/>
                </a:lnTo>
                <a:lnTo>
                  <a:pt x="28" y="419"/>
                </a:lnTo>
                <a:lnTo>
                  <a:pt x="28" y="419"/>
                </a:lnTo>
                <a:lnTo>
                  <a:pt x="31" y="422"/>
                </a:lnTo>
                <a:lnTo>
                  <a:pt x="34" y="425"/>
                </a:lnTo>
                <a:lnTo>
                  <a:pt x="34" y="428"/>
                </a:lnTo>
                <a:lnTo>
                  <a:pt x="31" y="431"/>
                </a:lnTo>
                <a:lnTo>
                  <a:pt x="31" y="431"/>
                </a:lnTo>
                <a:lnTo>
                  <a:pt x="28" y="432"/>
                </a:lnTo>
                <a:lnTo>
                  <a:pt x="27" y="435"/>
                </a:lnTo>
                <a:lnTo>
                  <a:pt x="28" y="439"/>
                </a:lnTo>
                <a:lnTo>
                  <a:pt x="28" y="444"/>
                </a:lnTo>
                <a:lnTo>
                  <a:pt x="28" y="444"/>
                </a:lnTo>
                <a:lnTo>
                  <a:pt x="28" y="448"/>
                </a:lnTo>
                <a:lnTo>
                  <a:pt x="30" y="451"/>
                </a:lnTo>
                <a:lnTo>
                  <a:pt x="30" y="454"/>
                </a:lnTo>
                <a:lnTo>
                  <a:pt x="28" y="455"/>
                </a:lnTo>
                <a:lnTo>
                  <a:pt x="28" y="455"/>
                </a:lnTo>
                <a:lnTo>
                  <a:pt x="27" y="456"/>
                </a:lnTo>
                <a:lnTo>
                  <a:pt x="25" y="458"/>
                </a:lnTo>
                <a:lnTo>
                  <a:pt x="25" y="461"/>
                </a:lnTo>
                <a:lnTo>
                  <a:pt x="25" y="465"/>
                </a:lnTo>
                <a:lnTo>
                  <a:pt x="25" y="466"/>
                </a:lnTo>
                <a:lnTo>
                  <a:pt x="22" y="466"/>
                </a:lnTo>
                <a:lnTo>
                  <a:pt x="22" y="466"/>
                </a:lnTo>
                <a:lnTo>
                  <a:pt x="20" y="468"/>
                </a:lnTo>
                <a:lnTo>
                  <a:pt x="18" y="471"/>
                </a:lnTo>
                <a:lnTo>
                  <a:pt x="18" y="475"/>
                </a:lnTo>
                <a:lnTo>
                  <a:pt x="15" y="478"/>
                </a:lnTo>
                <a:lnTo>
                  <a:pt x="15" y="478"/>
                </a:lnTo>
                <a:lnTo>
                  <a:pt x="15" y="479"/>
                </a:lnTo>
                <a:lnTo>
                  <a:pt x="15" y="481"/>
                </a:lnTo>
                <a:lnTo>
                  <a:pt x="17" y="483"/>
                </a:lnTo>
                <a:lnTo>
                  <a:pt x="18" y="486"/>
                </a:lnTo>
                <a:lnTo>
                  <a:pt x="18" y="488"/>
                </a:lnTo>
                <a:lnTo>
                  <a:pt x="17" y="489"/>
                </a:lnTo>
                <a:lnTo>
                  <a:pt x="17" y="489"/>
                </a:lnTo>
                <a:lnTo>
                  <a:pt x="14" y="493"/>
                </a:lnTo>
                <a:lnTo>
                  <a:pt x="13" y="496"/>
                </a:lnTo>
                <a:lnTo>
                  <a:pt x="13" y="499"/>
                </a:lnTo>
                <a:lnTo>
                  <a:pt x="11" y="500"/>
                </a:lnTo>
                <a:lnTo>
                  <a:pt x="10" y="500"/>
                </a:lnTo>
                <a:lnTo>
                  <a:pt x="10" y="500"/>
                </a:lnTo>
                <a:lnTo>
                  <a:pt x="7" y="502"/>
                </a:lnTo>
                <a:lnTo>
                  <a:pt x="4" y="505"/>
                </a:lnTo>
                <a:lnTo>
                  <a:pt x="1" y="512"/>
                </a:lnTo>
                <a:lnTo>
                  <a:pt x="1" y="512"/>
                </a:lnTo>
                <a:lnTo>
                  <a:pt x="0" y="519"/>
                </a:lnTo>
                <a:lnTo>
                  <a:pt x="0" y="522"/>
                </a:lnTo>
                <a:lnTo>
                  <a:pt x="1" y="526"/>
                </a:lnTo>
                <a:lnTo>
                  <a:pt x="1" y="526"/>
                </a:lnTo>
                <a:lnTo>
                  <a:pt x="3" y="530"/>
                </a:lnTo>
                <a:lnTo>
                  <a:pt x="3" y="533"/>
                </a:lnTo>
                <a:lnTo>
                  <a:pt x="3" y="535"/>
                </a:lnTo>
                <a:lnTo>
                  <a:pt x="4" y="537"/>
                </a:lnTo>
                <a:lnTo>
                  <a:pt x="4" y="537"/>
                </a:lnTo>
                <a:lnTo>
                  <a:pt x="8" y="537"/>
                </a:lnTo>
                <a:lnTo>
                  <a:pt x="14" y="537"/>
                </a:lnTo>
                <a:lnTo>
                  <a:pt x="18" y="539"/>
                </a:lnTo>
                <a:lnTo>
                  <a:pt x="20" y="540"/>
                </a:lnTo>
                <a:lnTo>
                  <a:pt x="20" y="542"/>
                </a:lnTo>
                <a:lnTo>
                  <a:pt x="20" y="542"/>
                </a:lnTo>
                <a:lnTo>
                  <a:pt x="18" y="547"/>
                </a:lnTo>
                <a:lnTo>
                  <a:pt x="18" y="553"/>
                </a:lnTo>
                <a:lnTo>
                  <a:pt x="18" y="557"/>
                </a:lnTo>
                <a:lnTo>
                  <a:pt x="20" y="560"/>
                </a:lnTo>
                <a:lnTo>
                  <a:pt x="20" y="560"/>
                </a:lnTo>
                <a:lnTo>
                  <a:pt x="22" y="562"/>
                </a:lnTo>
                <a:lnTo>
                  <a:pt x="24" y="563"/>
                </a:lnTo>
                <a:lnTo>
                  <a:pt x="25" y="566"/>
                </a:lnTo>
                <a:lnTo>
                  <a:pt x="28" y="567"/>
                </a:lnTo>
                <a:lnTo>
                  <a:pt x="28" y="567"/>
                </a:lnTo>
                <a:lnTo>
                  <a:pt x="41" y="566"/>
                </a:lnTo>
                <a:lnTo>
                  <a:pt x="50" y="566"/>
                </a:lnTo>
                <a:lnTo>
                  <a:pt x="57" y="566"/>
                </a:lnTo>
                <a:lnTo>
                  <a:pt x="57" y="566"/>
                </a:lnTo>
                <a:lnTo>
                  <a:pt x="61" y="569"/>
                </a:lnTo>
                <a:lnTo>
                  <a:pt x="65" y="572"/>
                </a:lnTo>
                <a:lnTo>
                  <a:pt x="65" y="572"/>
                </a:lnTo>
                <a:lnTo>
                  <a:pt x="69" y="572"/>
                </a:lnTo>
                <a:lnTo>
                  <a:pt x="74" y="573"/>
                </a:lnTo>
                <a:lnTo>
                  <a:pt x="78" y="573"/>
                </a:lnTo>
                <a:lnTo>
                  <a:pt x="81" y="573"/>
                </a:lnTo>
                <a:lnTo>
                  <a:pt x="81" y="573"/>
                </a:lnTo>
                <a:lnTo>
                  <a:pt x="81" y="572"/>
                </a:lnTo>
                <a:lnTo>
                  <a:pt x="79" y="570"/>
                </a:lnTo>
                <a:lnTo>
                  <a:pt x="77" y="566"/>
                </a:lnTo>
                <a:lnTo>
                  <a:pt x="74" y="562"/>
                </a:lnTo>
                <a:lnTo>
                  <a:pt x="72" y="559"/>
                </a:lnTo>
                <a:lnTo>
                  <a:pt x="72" y="559"/>
                </a:lnTo>
                <a:lnTo>
                  <a:pt x="71" y="553"/>
                </a:lnTo>
                <a:lnTo>
                  <a:pt x="69" y="546"/>
                </a:lnTo>
                <a:lnTo>
                  <a:pt x="69" y="546"/>
                </a:lnTo>
                <a:lnTo>
                  <a:pt x="69" y="539"/>
                </a:lnTo>
                <a:lnTo>
                  <a:pt x="71" y="535"/>
                </a:lnTo>
                <a:lnTo>
                  <a:pt x="74" y="532"/>
                </a:lnTo>
                <a:lnTo>
                  <a:pt x="74" y="532"/>
                </a:lnTo>
                <a:lnTo>
                  <a:pt x="78" y="526"/>
                </a:lnTo>
                <a:lnTo>
                  <a:pt x="79" y="525"/>
                </a:lnTo>
                <a:lnTo>
                  <a:pt x="82" y="525"/>
                </a:lnTo>
                <a:lnTo>
                  <a:pt x="82" y="525"/>
                </a:lnTo>
                <a:lnTo>
                  <a:pt x="85" y="525"/>
                </a:lnTo>
                <a:lnTo>
                  <a:pt x="88" y="523"/>
                </a:lnTo>
                <a:lnTo>
                  <a:pt x="91" y="519"/>
                </a:lnTo>
                <a:lnTo>
                  <a:pt x="92" y="513"/>
                </a:lnTo>
                <a:lnTo>
                  <a:pt x="92" y="513"/>
                </a:lnTo>
                <a:lnTo>
                  <a:pt x="92" y="508"/>
                </a:lnTo>
                <a:lnTo>
                  <a:pt x="95" y="503"/>
                </a:lnTo>
                <a:lnTo>
                  <a:pt x="104" y="496"/>
                </a:lnTo>
                <a:lnTo>
                  <a:pt x="104" y="496"/>
                </a:lnTo>
                <a:lnTo>
                  <a:pt x="116" y="486"/>
                </a:lnTo>
                <a:lnTo>
                  <a:pt x="121" y="483"/>
                </a:lnTo>
                <a:lnTo>
                  <a:pt x="122" y="482"/>
                </a:lnTo>
                <a:lnTo>
                  <a:pt x="122" y="481"/>
                </a:lnTo>
                <a:lnTo>
                  <a:pt x="122" y="481"/>
                </a:lnTo>
                <a:lnTo>
                  <a:pt x="122" y="476"/>
                </a:lnTo>
                <a:lnTo>
                  <a:pt x="122" y="472"/>
                </a:lnTo>
                <a:lnTo>
                  <a:pt x="125" y="465"/>
                </a:lnTo>
                <a:lnTo>
                  <a:pt x="125" y="465"/>
                </a:lnTo>
                <a:lnTo>
                  <a:pt x="123" y="463"/>
                </a:lnTo>
                <a:lnTo>
                  <a:pt x="122" y="462"/>
                </a:lnTo>
                <a:lnTo>
                  <a:pt x="118" y="462"/>
                </a:lnTo>
                <a:lnTo>
                  <a:pt x="109" y="461"/>
                </a:lnTo>
                <a:lnTo>
                  <a:pt x="109" y="461"/>
                </a:lnTo>
                <a:lnTo>
                  <a:pt x="105" y="458"/>
                </a:lnTo>
                <a:lnTo>
                  <a:pt x="99" y="452"/>
                </a:lnTo>
                <a:lnTo>
                  <a:pt x="96" y="449"/>
                </a:lnTo>
                <a:lnTo>
                  <a:pt x="96" y="445"/>
                </a:lnTo>
                <a:lnTo>
                  <a:pt x="96" y="441"/>
                </a:lnTo>
                <a:lnTo>
                  <a:pt x="98" y="435"/>
                </a:lnTo>
                <a:lnTo>
                  <a:pt x="98" y="435"/>
                </a:lnTo>
                <a:lnTo>
                  <a:pt x="101" y="431"/>
                </a:lnTo>
                <a:lnTo>
                  <a:pt x="104" y="428"/>
                </a:lnTo>
                <a:lnTo>
                  <a:pt x="112" y="424"/>
                </a:lnTo>
                <a:lnTo>
                  <a:pt x="119" y="421"/>
                </a:lnTo>
                <a:lnTo>
                  <a:pt x="123" y="421"/>
                </a:lnTo>
                <a:lnTo>
                  <a:pt x="123" y="421"/>
                </a:lnTo>
                <a:lnTo>
                  <a:pt x="126" y="419"/>
                </a:lnTo>
                <a:lnTo>
                  <a:pt x="126" y="417"/>
                </a:lnTo>
                <a:lnTo>
                  <a:pt x="126" y="414"/>
                </a:lnTo>
                <a:lnTo>
                  <a:pt x="128" y="412"/>
                </a:lnTo>
                <a:lnTo>
                  <a:pt x="128" y="412"/>
                </a:lnTo>
                <a:lnTo>
                  <a:pt x="131" y="411"/>
                </a:lnTo>
                <a:lnTo>
                  <a:pt x="132" y="408"/>
                </a:lnTo>
                <a:lnTo>
                  <a:pt x="132" y="401"/>
                </a:lnTo>
                <a:lnTo>
                  <a:pt x="132" y="401"/>
                </a:lnTo>
                <a:lnTo>
                  <a:pt x="133" y="391"/>
                </a:lnTo>
                <a:lnTo>
                  <a:pt x="135" y="387"/>
                </a:lnTo>
                <a:lnTo>
                  <a:pt x="136" y="385"/>
                </a:lnTo>
                <a:lnTo>
                  <a:pt x="139" y="385"/>
                </a:lnTo>
                <a:lnTo>
                  <a:pt x="139" y="385"/>
                </a:lnTo>
                <a:lnTo>
                  <a:pt x="142" y="384"/>
                </a:lnTo>
                <a:lnTo>
                  <a:pt x="145" y="382"/>
                </a:lnTo>
                <a:lnTo>
                  <a:pt x="145" y="381"/>
                </a:lnTo>
                <a:lnTo>
                  <a:pt x="143" y="380"/>
                </a:lnTo>
                <a:lnTo>
                  <a:pt x="143" y="380"/>
                </a:lnTo>
                <a:lnTo>
                  <a:pt x="141" y="378"/>
                </a:lnTo>
                <a:lnTo>
                  <a:pt x="139" y="377"/>
                </a:lnTo>
                <a:lnTo>
                  <a:pt x="141" y="374"/>
                </a:lnTo>
                <a:lnTo>
                  <a:pt x="143" y="372"/>
                </a:lnTo>
                <a:lnTo>
                  <a:pt x="143" y="372"/>
                </a:lnTo>
                <a:lnTo>
                  <a:pt x="148" y="374"/>
                </a:lnTo>
                <a:lnTo>
                  <a:pt x="149" y="375"/>
                </a:lnTo>
                <a:lnTo>
                  <a:pt x="151" y="378"/>
                </a:lnTo>
                <a:lnTo>
                  <a:pt x="152" y="378"/>
                </a:lnTo>
                <a:lnTo>
                  <a:pt x="152" y="378"/>
                </a:lnTo>
                <a:lnTo>
                  <a:pt x="156" y="377"/>
                </a:lnTo>
                <a:lnTo>
                  <a:pt x="159" y="374"/>
                </a:lnTo>
                <a:lnTo>
                  <a:pt x="160" y="370"/>
                </a:lnTo>
                <a:lnTo>
                  <a:pt x="160" y="368"/>
                </a:lnTo>
                <a:lnTo>
                  <a:pt x="159" y="365"/>
                </a:lnTo>
                <a:lnTo>
                  <a:pt x="159" y="365"/>
                </a:lnTo>
                <a:lnTo>
                  <a:pt x="155" y="364"/>
                </a:lnTo>
                <a:lnTo>
                  <a:pt x="152" y="365"/>
                </a:lnTo>
                <a:lnTo>
                  <a:pt x="151" y="367"/>
                </a:lnTo>
                <a:lnTo>
                  <a:pt x="148" y="368"/>
                </a:lnTo>
                <a:lnTo>
                  <a:pt x="148" y="368"/>
                </a:lnTo>
                <a:lnTo>
                  <a:pt x="145" y="368"/>
                </a:lnTo>
                <a:lnTo>
                  <a:pt x="143" y="367"/>
                </a:lnTo>
                <a:lnTo>
                  <a:pt x="141" y="365"/>
                </a:lnTo>
                <a:lnTo>
                  <a:pt x="139" y="364"/>
                </a:lnTo>
                <a:lnTo>
                  <a:pt x="139" y="364"/>
                </a:lnTo>
                <a:lnTo>
                  <a:pt x="138" y="362"/>
                </a:lnTo>
                <a:lnTo>
                  <a:pt x="138" y="360"/>
                </a:lnTo>
                <a:lnTo>
                  <a:pt x="136" y="355"/>
                </a:lnTo>
                <a:lnTo>
                  <a:pt x="136" y="353"/>
                </a:lnTo>
                <a:lnTo>
                  <a:pt x="136" y="353"/>
                </a:lnTo>
                <a:lnTo>
                  <a:pt x="135" y="345"/>
                </a:lnTo>
                <a:lnTo>
                  <a:pt x="135" y="341"/>
                </a:lnTo>
                <a:lnTo>
                  <a:pt x="136" y="337"/>
                </a:lnTo>
                <a:lnTo>
                  <a:pt x="136" y="337"/>
                </a:lnTo>
                <a:lnTo>
                  <a:pt x="138" y="337"/>
                </a:lnTo>
                <a:lnTo>
                  <a:pt x="139" y="337"/>
                </a:lnTo>
                <a:lnTo>
                  <a:pt x="146" y="340"/>
                </a:lnTo>
                <a:lnTo>
                  <a:pt x="153" y="343"/>
                </a:lnTo>
                <a:lnTo>
                  <a:pt x="162" y="344"/>
                </a:lnTo>
                <a:lnTo>
                  <a:pt x="162" y="344"/>
                </a:lnTo>
                <a:lnTo>
                  <a:pt x="169" y="344"/>
                </a:lnTo>
                <a:lnTo>
                  <a:pt x="175" y="341"/>
                </a:lnTo>
                <a:lnTo>
                  <a:pt x="179" y="338"/>
                </a:lnTo>
                <a:lnTo>
                  <a:pt x="180" y="335"/>
                </a:lnTo>
                <a:lnTo>
                  <a:pt x="180" y="335"/>
                </a:lnTo>
                <a:lnTo>
                  <a:pt x="178" y="327"/>
                </a:lnTo>
                <a:lnTo>
                  <a:pt x="179" y="323"/>
                </a:lnTo>
                <a:lnTo>
                  <a:pt x="179" y="321"/>
                </a:lnTo>
                <a:lnTo>
                  <a:pt x="182" y="320"/>
                </a:lnTo>
                <a:lnTo>
                  <a:pt x="182" y="320"/>
                </a:lnTo>
                <a:lnTo>
                  <a:pt x="185" y="317"/>
                </a:lnTo>
                <a:lnTo>
                  <a:pt x="185" y="314"/>
                </a:lnTo>
                <a:lnTo>
                  <a:pt x="182" y="311"/>
                </a:lnTo>
                <a:lnTo>
                  <a:pt x="180" y="308"/>
                </a:lnTo>
                <a:lnTo>
                  <a:pt x="180" y="308"/>
                </a:lnTo>
                <a:lnTo>
                  <a:pt x="180" y="304"/>
                </a:lnTo>
                <a:lnTo>
                  <a:pt x="182" y="301"/>
                </a:lnTo>
                <a:lnTo>
                  <a:pt x="183" y="301"/>
                </a:lnTo>
                <a:lnTo>
                  <a:pt x="186" y="301"/>
                </a:lnTo>
                <a:lnTo>
                  <a:pt x="186" y="301"/>
                </a:lnTo>
                <a:lnTo>
                  <a:pt x="192" y="303"/>
                </a:lnTo>
                <a:lnTo>
                  <a:pt x="202" y="303"/>
                </a:lnTo>
                <a:lnTo>
                  <a:pt x="227" y="300"/>
                </a:lnTo>
                <a:lnTo>
                  <a:pt x="227" y="300"/>
                </a:lnTo>
                <a:lnTo>
                  <a:pt x="240" y="296"/>
                </a:lnTo>
                <a:lnTo>
                  <a:pt x="249" y="293"/>
                </a:lnTo>
                <a:lnTo>
                  <a:pt x="256" y="289"/>
                </a:lnTo>
                <a:lnTo>
                  <a:pt x="259" y="284"/>
                </a:lnTo>
                <a:lnTo>
                  <a:pt x="259" y="284"/>
                </a:lnTo>
                <a:lnTo>
                  <a:pt x="260" y="280"/>
                </a:lnTo>
                <a:lnTo>
                  <a:pt x="264" y="274"/>
                </a:lnTo>
                <a:lnTo>
                  <a:pt x="273" y="263"/>
                </a:lnTo>
                <a:lnTo>
                  <a:pt x="273" y="263"/>
                </a:lnTo>
                <a:lnTo>
                  <a:pt x="274" y="260"/>
                </a:lnTo>
                <a:lnTo>
                  <a:pt x="273" y="257"/>
                </a:lnTo>
                <a:lnTo>
                  <a:pt x="270" y="254"/>
                </a:lnTo>
                <a:lnTo>
                  <a:pt x="266" y="253"/>
                </a:lnTo>
                <a:lnTo>
                  <a:pt x="266" y="253"/>
                </a:lnTo>
                <a:lnTo>
                  <a:pt x="261" y="252"/>
                </a:lnTo>
                <a:lnTo>
                  <a:pt x="260" y="247"/>
                </a:lnTo>
                <a:lnTo>
                  <a:pt x="261" y="243"/>
                </a:lnTo>
                <a:lnTo>
                  <a:pt x="263" y="239"/>
                </a:lnTo>
                <a:lnTo>
                  <a:pt x="263" y="239"/>
                </a:lnTo>
                <a:lnTo>
                  <a:pt x="264" y="236"/>
                </a:lnTo>
                <a:lnTo>
                  <a:pt x="263" y="233"/>
                </a:lnTo>
                <a:lnTo>
                  <a:pt x="259" y="230"/>
                </a:lnTo>
                <a:lnTo>
                  <a:pt x="254" y="229"/>
                </a:lnTo>
                <a:lnTo>
                  <a:pt x="254" y="229"/>
                </a:lnTo>
                <a:lnTo>
                  <a:pt x="249" y="229"/>
                </a:lnTo>
                <a:lnTo>
                  <a:pt x="243" y="226"/>
                </a:lnTo>
                <a:lnTo>
                  <a:pt x="242" y="222"/>
                </a:lnTo>
                <a:lnTo>
                  <a:pt x="242" y="220"/>
                </a:lnTo>
                <a:lnTo>
                  <a:pt x="243" y="219"/>
                </a:lnTo>
                <a:lnTo>
                  <a:pt x="243" y="219"/>
                </a:lnTo>
                <a:lnTo>
                  <a:pt x="246" y="216"/>
                </a:lnTo>
                <a:lnTo>
                  <a:pt x="249" y="217"/>
                </a:lnTo>
                <a:lnTo>
                  <a:pt x="249" y="217"/>
                </a:lnTo>
                <a:lnTo>
                  <a:pt x="250" y="213"/>
                </a:lnTo>
                <a:lnTo>
                  <a:pt x="250" y="210"/>
                </a:lnTo>
                <a:lnTo>
                  <a:pt x="250" y="210"/>
                </a:lnTo>
                <a:lnTo>
                  <a:pt x="247" y="209"/>
                </a:lnTo>
                <a:lnTo>
                  <a:pt x="246" y="206"/>
                </a:lnTo>
                <a:lnTo>
                  <a:pt x="244" y="200"/>
                </a:lnTo>
                <a:lnTo>
                  <a:pt x="244" y="200"/>
                </a:lnTo>
                <a:lnTo>
                  <a:pt x="246" y="195"/>
                </a:lnTo>
                <a:lnTo>
                  <a:pt x="247" y="192"/>
                </a:lnTo>
                <a:lnTo>
                  <a:pt x="249" y="188"/>
                </a:lnTo>
                <a:lnTo>
                  <a:pt x="249" y="180"/>
                </a:lnTo>
                <a:lnTo>
                  <a:pt x="249" y="180"/>
                </a:lnTo>
                <a:lnTo>
                  <a:pt x="250" y="172"/>
                </a:lnTo>
                <a:lnTo>
                  <a:pt x="252" y="165"/>
                </a:lnTo>
                <a:lnTo>
                  <a:pt x="254" y="158"/>
                </a:lnTo>
                <a:lnTo>
                  <a:pt x="254" y="152"/>
                </a:lnTo>
                <a:lnTo>
                  <a:pt x="254" y="152"/>
                </a:lnTo>
                <a:lnTo>
                  <a:pt x="256" y="151"/>
                </a:lnTo>
                <a:lnTo>
                  <a:pt x="257" y="148"/>
                </a:lnTo>
                <a:lnTo>
                  <a:pt x="261" y="142"/>
                </a:lnTo>
                <a:lnTo>
                  <a:pt x="269" y="135"/>
                </a:lnTo>
                <a:lnTo>
                  <a:pt x="274" y="126"/>
                </a:lnTo>
                <a:lnTo>
                  <a:pt x="274" y="126"/>
                </a:lnTo>
                <a:lnTo>
                  <a:pt x="280" y="118"/>
                </a:lnTo>
                <a:lnTo>
                  <a:pt x="289" y="109"/>
                </a:lnTo>
                <a:lnTo>
                  <a:pt x="296" y="102"/>
                </a:lnTo>
                <a:lnTo>
                  <a:pt x="301" y="98"/>
                </a:lnTo>
                <a:lnTo>
                  <a:pt x="301" y="98"/>
                </a:lnTo>
                <a:lnTo>
                  <a:pt x="313" y="92"/>
                </a:lnTo>
                <a:lnTo>
                  <a:pt x="318" y="89"/>
                </a:lnTo>
                <a:lnTo>
                  <a:pt x="321" y="87"/>
                </a:lnTo>
                <a:lnTo>
                  <a:pt x="321" y="87"/>
                </a:lnTo>
                <a:lnTo>
                  <a:pt x="321" y="82"/>
                </a:lnTo>
                <a:lnTo>
                  <a:pt x="321" y="74"/>
                </a:lnTo>
                <a:lnTo>
                  <a:pt x="320" y="67"/>
                </a:lnTo>
                <a:lnTo>
                  <a:pt x="318" y="62"/>
                </a:lnTo>
                <a:lnTo>
                  <a:pt x="318" y="62"/>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08" name="Freeform 295">
            <a:extLst>
              <a:ext uri="{FF2B5EF4-FFF2-40B4-BE49-F238E27FC236}">
                <a16:creationId xmlns:a16="http://schemas.microsoft.com/office/drawing/2014/main" id="{E7E80AA8-3F9C-2D5C-6155-9FF7C4EC4EC0}"/>
              </a:ext>
            </a:extLst>
          </p:cNvPr>
          <p:cNvSpPr>
            <a:spLocks/>
          </p:cNvSpPr>
          <p:nvPr userDrawn="1"/>
        </p:nvSpPr>
        <p:spPr bwMode="gray">
          <a:xfrm>
            <a:off x="2760391" y="3721797"/>
            <a:ext cx="180771" cy="937667"/>
          </a:xfrm>
          <a:custGeom>
            <a:avLst/>
            <a:gdLst/>
            <a:ahLst/>
            <a:cxnLst>
              <a:cxn ang="0">
                <a:pos x="52" y="613"/>
              </a:cxn>
              <a:cxn ang="0">
                <a:pos x="38" y="579"/>
              </a:cxn>
              <a:cxn ang="0">
                <a:pos x="49" y="553"/>
              </a:cxn>
              <a:cxn ang="0">
                <a:pos x="62" y="529"/>
              </a:cxn>
              <a:cxn ang="0">
                <a:pos x="62" y="493"/>
              </a:cxn>
              <a:cxn ang="0">
                <a:pos x="59" y="479"/>
              </a:cxn>
              <a:cxn ang="0">
                <a:pos x="56" y="448"/>
              </a:cxn>
              <a:cxn ang="0">
                <a:pos x="58" y="409"/>
              </a:cxn>
              <a:cxn ang="0">
                <a:pos x="71" y="375"/>
              </a:cxn>
              <a:cxn ang="0">
                <a:pos x="76" y="330"/>
              </a:cxn>
              <a:cxn ang="0">
                <a:pos x="88" y="294"/>
              </a:cxn>
              <a:cxn ang="0">
                <a:pos x="82" y="246"/>
              </a:cxn>
              <a:cxn ang="0">
                <a:pos x="91" y="205"/>
              </a:cxn>
              <a:cxn ang="0">
                <a:pos x="106" y="168"/>
              </a:cxn>
              <a:cxn ang="0">
                <a:pos x="118" y="146"/>
              </a:cxn>
              <a:cxn ang="0">
                <a:pos x="133" y="106"/>
              </a:cxn>
              <a:cxn ang="0">
                <a:pos x="119" y="61"/>
              </a:cxn>
              <a:cxn ang="0">
                <a:pos x="116" y="31"/>
              </a:cxn>
              <a:cxn ang="0">
                <a:pos x="98" y="0"/>
              </a:cxn>
              <a:cxn ang="0">
                <a:pos x="89" y="48"/>
              </a:cxn>
              <a:cxn ang="0">
                <a:pos x="82" y="126"/>
              </a:cxn>
              <a:cxn ang="0">
                <a:pos x="64" y="195"/>
              </a:cxn>
              <a:cxn ang="0">
                <a:pos x="64" y="264"/>
              </a:cxn>
              <a:cxn ang="0">
                <a:pos x="42" y="330"/>
              </a:cxn>
              <a:cxn ang="0">
                <a:pos x="35" y="375"/>
              </a:cxn>
              <a:cxn ang="0">
                <a:pos x="29" y="428"/>
              </a:cxn>
              <a:cxn ang="0">
                <a:pos x="31" y="459"/>
              </a:cxn>
              <a:cxn ang="0">
                <a:pos x="44" y="431"/>
              </a:cxn>
              <a:cxn ang="0">
                <a:pos x="41" y="459"/>
              </a:cxn>
              <a:cxn ang="0">
                <a:pos x="38" y="486"/>
              </a:cxn>
              <a:cxn ang="0">
                <a:pos x="29" y="508"/>
              </a:cxn>
              <a:cxn ang="0">
                <a:pos x="29" y="496"/>
              </a:cxn>
              <a:cxn ang="0">
                <a:pos x="22" y="503"/>
              </a:cxn>
              <a:cxn ang="0">
                <a:pos x="10" y="520"/>
              </a:cxn>
              <a:cxn ang="0">
                <a:pos x="11" y="530"/>
              </a:cxn>
              <a:cxn ang="0">
                <a:pos x="17" y="550"/>
              </a:cxn>
              <a:cxn ang="0">
                <a:pos x="24" y="553"/>
              </a:cxn>
              <a:cxn ang="0">
                <a:pos x="4" y="570"/>
              </a:cxn>
              <a:cxn ang="0">
                <a:pos x="15" y="573"/>
              </a:cxn>
              <a:cxn ang="0">
                <a:pos x="12" y="596"/>
              </a:cxn>
              <a:cxn ang="0">
                <a:pos x="24" y="587"/>
              </a:cxn>
              <a:cxn ang="0">
                <a:pos x="11" y="614"/>
              </a:cxn>
              <a:cxn ang="0">
                <a:pos x="21" y="624"/>
              </a:cxn>
              <a:cxn ang="0">
                <a:pos x="29" y="636"/>
              </a:cxn>
              <a:cxn ang="0">
                <a:pos x="47" y="640"/>
              </a:cxn>
              <a:cxn ang="0">
                <a:pos x="39" y="650"/>
              </a:cxn>
              <a:cxn ang="0">
                <a:pos x="49" y="657"/>
              </a:cxn>
              <a:cxn ang="0">
                <a:pos x="38" y="668"/>
              </a:cxn>
              <a:cxn ang="0">
                <a:pos x="68" y="663"/>
              </a:cxn>
              <a:cxn ang="0">
                <a:pos x="31" y="671"/>
              </a:cxn>
              <a:cxn ang="0">
                <a:pos x="56" y="690"/>
              </a:cxn>
              <a:cxn ang="0">
                <a:pos x="74" y="668"/>
              </a:cxn>
              <a:cxn ang="0">
                <a:pos x="79" y="664"/>
              </a:cxn>
              <a:cxn ang="0">
                <a:pos x="91" y="675"/>
              </a:cxn>
              <a:cxn ang="0">
                <a:pos x="82" y="675"/>
              </a:cxn>
              <a:cxn ang="0">
                <a:pos x="66" y="690"/>
              </a:cxn>
              <a:cxn ang="0">
                <a:pos x="72" y="700"/>
              </a:cxn>
              <a:cxn ang="0">
                <a:pos x="86" y="701"/>
              </a:cxn>
              <a:cxn ang="0">
                <a:pos x="105" y="710"/>
              </a:cxn>
              <a:cxn ang="0">
                <a:pos x="125" y="711"/>
              </a:cxn>
              <a:cxn ang="0">
                <a:pos x="111" y="684"/>
              </a:cxn>
              <a:cxn ang="0">
                <a:pos x="91" y="640"/>
              </a:cxn>
            </a:cxnLst>
            <a:rect l="0" t="0" r="r" b="b"/>
            <a:pathLst>
              <a:path w="139" h="721">
                <a:moveTo>
                  <a:pt x="62" y="641"/>
                </a:moveTo>
                <a:lnTo>
                  <a:pt x="62" y="641"/>
                </a:lnTo>
                <a:lnTo>
                  <a:pt x="59" y="640"/>
                </a:lnTo>
                <a:lnTo>
                  <a:pt x="58" y="637"/>
                </a:lnTo>
                <a:lnTo>
                  <a:pt x="56" y="636"/>
                </a:lnTo>
                <a:lnTo>
                  <a:pt x="54" y="634"/>
                </a:lnTo>
                <a:lnTo>
                  <a:pt x="54" y="634"/>
                </a:lnTo>
                <a:lnTo>
                  <a:pt x="52" y="631"/>
                </a:lnTo>
                <a:lnTo>
                  <a:pt x="52" y="627"/>
                </a:lnTo>
                <a:lnTo>
                  <a:pt x="52" y="621"/>
                </a:lnTo>
                <a:lnTo>
                  <a:pt x="54" y="616"/>
                </a:lnTo>
                <a:lnTo>
                  <a:pt x="54" y="616"/>
                </a:lnTo>
                <a:lnTo>
                  <a:pt x="54" y="614"/>
                </a:lnTo>
                <a:lnTo>
                  <a:pt x="52" y="613"/>
                </a:lnTo>
                <a:lnTo>
                  <a:pt x="48" y="611"/>
                </a:lnTo>
                <a:lnTo>
                  <a:pt x="42" y="611"/>
                </a:lnTo>
                <a:lnTo>
                  <a:pt x="38" y="611"/>
                </a:lnTo>
                <a:lnTo>
                  <a:pt x="38" y="611"/>
                </a:lnTo>
                <a:lnTo>
                  <a:pt x="37" y="609"/>
                </a:lnTo>
                <a:lnTo>
                  <a:pt x="37" y="607"/>
                </a:lnTo>
                <a:lnTo>
                  <a:pt x="37" y="604"/>
                </a:lnTo>
                <a:lnTo>
                  <a:pt x="35" y="600"/>
                </a:lnTo>
                <a:lnTo>
                  <a:pt x="35" y="600"/>
                </a:lnTo>
                <a:lnTo>
                  <a:pt x="34" y="596"/>
                </a:lnTo>
                <a:lnTo>
                  <a:pt x="34" y="593"/>
                </a:lnTo>
                <a:lnTo>
                  <a:pt x="35" y="586"/>
                </a:lnTo>
                <a:lnTo>
                  <a:pt x="35" y="586"/>
                </a:lnTo>
                <a:lnTo>
                  <a:pt x="38" y="579"/>
                </a:lnTo>
                <a:lnTo>
                  <a:pt x="41" y="576"/>
                </a:lnTo>
                <a:lnTo>
                  <a:pt x="44" y="574"/>
                </a:lnTo>
                <a:lnTo>
                  <a:pt x="44" y="574"/>
                </a:lnTo>
                <a:lnTo>
                  <a:pt x="45" y="574"/>
                </a:lnTo>
                <a:lnTo>
                  <a:pt x="47" y="573"/>
                </a:lnTo>
                <a:lnTo>
                  <a:pt x="47" y="570"/>
                </a:lnTo>
                <a:lnTo>
                  <a:pt x="48" y="567"/>
                </a:lnTo>
                <a:lnTo>
                  <a:pt x="51" y="563"/>
                </a:lnTo>
                <a:lnTo>
                  <a:pt x="51" y="563"/>
                </a:lnTo>
                <a:lnTo>
                  <a:pt x="52" y="562"/>
                </a:lnTo>
                <a:lnTo>
                  <a:pt x="52" y="560"/>
                </a:lnTo>
                <a:lnTo>
                  <a:pt x="51" y="557"/>
                </a:lnTo>
                <a:lnTo>
                  <a:pt x="49" y="555"/>
                </a:lnTo>
                <a:lnTo>
                  <a:pt x="49" y="553"/>
                </a:lnTo>
                <a:lnTo>
                  <a:pt x="49" y="552"/>
                </a:lnTo>
                <a:lnTo>
                  <a:pt x="49" y="552"/>
                </a:lnTo>
                <a:lnTo>
                  <a:pt x="52" y="549"/>
                </a:lnTo>
                <a:lnTo>
                  <a:pt x="52" y="545"/>
                </a:lnTo>
                <a:lnTo>
                  <a:pt x="54" y="542"/>
                </a:lnTo>
                <a:lnTo>
                  <a:pt x="56" y="540"/>
                </a:lnTo>
                <a:lnTo>
                  <a:pt x="56" y="540"/>
                </a:lnTo>
                <a:lnTo>
                  <a:pt x="59" y="540"/>
                </a:lnTo>
                <a:lnTo>
                  <a:pt x="59" y="539"/>
                </a:lnTo>
                <a:lnTo>
                  <a:pt x="59" y="535"/>
                </a:lnTo>
                <a:lnTo>
                  <a:pt x="59" y="532"/>
                </a:lnTo>
                <a:lnTo>
                  <a:pt x="61" y="530"/>
                </a:lnTo>
                <a:lnTo>
                  <a:pt x="62" y="529"/>
                </a:lnTo>
                <a:lnTo>
                  <a:pt x="62" y="529"/>
                </a:lnTo>
                <a:lnTo>
                  <a:pt x="64" y="528"/>
                </a:lnTo>
                <a:lnTo>
                  <a:pt x="64" y="525"/>
                </a:lnTo>
                <a:lnTo>
                  <a:pt x="62" y="522"/>
                </a:lnTo>
                <a:lnTo>
                  <a:pt x="62" y="518"/>
                </a:lnTo>
                <a:lnTo>
                  <a:pt x="62" y="518"/>
                </a:lnTo>
                <a:lnTo>
                  <a:pt x="62" y="513"/>
                </a:lnTo>
                <a:lnTo>
                  <a:pt x="61" y="509"/>
                </a:lnTo>
                <a:lnTo>
                  <a:pt x="62" y="506"/>
                </a:lnTo>
                <a:lnTo>
                  <a:pt x="65" y="505"/>
                </a:lnTo>
                <a:lnTo>
                  <a:pt x="65" y="505"/>
                </a:lnTo>
                <a:lnTo>
                  <a:pt x="68" y="502"/>
                </a:lnTo>
                <a:lnTo>
                  <a:pt x="68" y="499"/>
                </a:lnTo>
                <a:lnTo>
                  <a:pt x="65" y="496"/>
                </a:lnTo>
                <a:lnTo>
                  <a:pt x="62" y="493"/>
                </a:lnTo>
                <a:lnTo>
                  <a:pt x="62" y="493"/>
                </a:lnTo>
                <a:lnTo>
                  <a:pt x="61" y="492"/>
                </a:lnTo>
                <a:lnTo>
                  <a:pt x="62" y="491"/>
                </a:lnTo>
                <a:lnTo>
                  <a:pt x="68" y="491"/>
                </a:lnTo>
                <a:lnTo>
                  <a:pt x="68" y="491"/>
                </a:lnTo>
                <a:lnTo>
                  <a:pt x="69" y="491"/>
                </a:lnTo>
                <a:lnTo>
                  <a:pt x="71" y="489"/>
                </a:lnTo>
                <a:lnTo>
                  <a:pt x="71" y="486"/>
                </a:lnTo>
                <a:lnTo>
                  <a:pt x="69" y="483"/>
                </a:lnTo>
                <a:lnTo>
                  <a:pt x="66" y="483"/>
                </a:lnTo>
                <a:lnTo>
                  <a:pt x="66" y="483"/>
                </a:lnTo>
                <a:lnTo>
                  <a:pt x="62" y="483"/>
                </a:lnTo>
                <a:lnTo>
                  <a:pt x="59" y="482"/>
                </a:lnTo>
                <a:lnTo>
                  <a:pt x="59" y="479"/>
                </a:lnTo>
                <a:lnTo>
                  <a:pt x="61" y="475"/>
                </a:lnTo>
                <a:lnTo>
                  <a:pt x="61" y="475"/>
                </a:lnTo>
                <a:lnTo>
                  <a:pt x="62" y="473"/>
                </a:lnTo>
                <a:lnTo>
                  <a:pt x="62" y="472"/>
                </a:lnTo>
                <a:lnTo>
                  <a:pt x="61" y="469"/>
                </a:lnTo>
                <a:lnTo>
                  <a:pt x="59" y="468"/>
                </a:lnTo>
                <a:lnTo>
                  <a:pt x="58" y="465"/>
                </a:lnTo>
                <a:lnTo>
                  <a:pt x="58" y="465"/>
                </a:lnTo>
                <a:lnTo>
                  <a:pt x="59" y="461"/>
                </a:lnTo>
                <a:lnTo>
                  <a:pt x="59" y="458"/>
                </a:lnTo>
                <a:lnTo>
                  <a:pt x="56" y="456"/>
                </a:lnTo>
                <a:lnTo>
                  <a:pt x="56" y="456"/>
                </a:lnTo>
                <a:lnTo>
                  <a:pt x="56" y="454"/>
                </a:lnTo>
                <a:lnTo>
                  <a:pt x="56" y="448"/>
                </a:lnTo>
                <a:lnTo>
                  <a:pt x="58" y="442"/>
                </a:lnTo>
                <a:lnTo>
                  <a:pt x="59" y="439"/>
                </a:lnTo>
                <a:lnTo>
                  <a:pt x="59" y="439"/>
                </a:lnTo>
                <a:lnTo>
                  <a:pt x="61" y="439"/>
                </a:lnTo>
                <a:lnTo>
                  <a:pt x="61" y="436"/>
                </a:lnTo>
                <a:lnTo>
                  <a:pt x="61" y="432"/>
                </a:lnTo>
                <a:lnTo>
                  <a:pt x="61" y="422"/>
                </a:lnTo>
                <a:lnTo>
                  <a:pt x="61" y="422"/>
                </a:lnTo>
                <a:lnTo>
                  <a:pt x="59" y="419"/>
                </a:lnTo>
                <a:lnTo>
                  <a:pt x="59" y="417"/>
                </a:lnTo>
                <a:lnTo>
                  <a:pt x="58" y="414"/>
                </a:lnTo>
                <a:lnTo>
                  <a:pt x="56" y="411"/>
                </a:lnTo>
                <a:lnTo>
                  <a:pt x="56" y="411"/>
                </a:lnTo>
                <a:lnTo>
                  <a:pt x="58" y="409"/>
                </a:lnTo>
                <a:lnTo>
                  <a:pt x="59" y="407"/>
                </a:lnTo>
                <a:lnTo>
                  <a:pt x="61" y="404"/>
                </a:lnTo>
                <a:lnTo>
                  <a:pt x="62" y="399"/>
                </a:lnTo>
                <a:lnTo>
                  <a:pt x="62" y="399"/>
                </a:lnTo>
                <a:lnTo>
                  <a:pt x="62" y="392"/>
                </a:lnTo>
                <a:lnTo>
                  <a:pt x="64" y="391"/>
                </a:lnTo>
                <a:lnTo>
                  <a:pt x="66" y="390"/>
                </a:lnTo>
                <a:lnTo>
                  <a:pt x="66" y="390"/>
                </a:lnTo>
                <a:lnTo>
                  <a:pt x="66" y="388"/>
                </a:lnTo>
                <a:lnTo>
                  <a:pt x="68" y="385"/>
                </a:lnTo>
                <a:lnTo>
                  <a:pt x="66" y="378"/>
                </a:lnTo>
                <a:lnTo>
                  <a:pt x="66" y="378"/>
                </a:lnTo>
                <a:lnTo>
                  <a:pt x="68" y="377"/>
                </a:lnTo>
                <a:lnTo>
                  <a:pt x="71" y="375"/>
                </a:lnTo>
                <a:lnTo>
                  <a:pt x="74" y="375"/>
                </a:lnTo>
                <a:lnTo>
                  <a:pt x="75" y="374"/>
                </a:lnTo>
                <a:lnTo>
                  <a:pt x="76" y="371"/>
                </a:lnTo>
                <a:lnTo>
                  <a:pt x="76" y="371"/>
                </a:lnTo>
                <a:lnTo>
                  <a:pt x="75" y="368"/>
                </a:lnTo>
                <a:lnTo>
                  <a:pt x="74" y="367"/>
                </a:lnTo>
                <a:lnTo>
                  <a:pt x="72" y="365"/>
                </a:lnTo>
                <a:lnTo>
                  <a:pt x="72" y="363"/>
                </a:lnTo>
                <a:lnTo>
                  <a:pt x="72" y="363"/>
                </a:lnTo>
                <a:lnTo>
                  <a:pt x="72" y="354"/>
                </a:lnTo>
                <a:lnTo>
                  <a:pt x="72" y="341"/>
                </a:lnTo>
                <a:lnTo>
                  <a:pt x="72" y="341"/>
                </a:lnTo>
                <a:lnTo>
                  <a:pt x="74" y="334"/>
                </a:lnTo>
                <a:lnTo>
                  <a:pt x="76" y="330"/>
                </a:lnTo>
                <a:lnTo>
                  <a:pt x="84" y="326"/>
                </a:lnTo>
                <a:lnTo>
                  <a:pt x="84" y="326"/>
                </a:lnTo>
                <a:lnTo>
                  <a:pt x="85" y="324"/>
                </a:lnTo>
                <a:lnTo>
                  <a:pt x="85" y="321"/>
                </a:lnTo>
                <a:lnTo>
                  <a:pt x="84" y="316"/>
                </a:lnTo>
                <a:lnTo>
                  <a:pt x="82" y="308"/>
                </a:lnTo>
                <a:lnTo>
                  <a:pt x="82" y="307"/>
                </a:lnTo>
                <a:lnTo>
                  <a:pt x="84" y="306"/>
                </a:lnTo>
                <a:lnTo>
                  <a:pt x="84" y="306"/>
                </a:lnTo>
                <a:lnTo>
                  <a:pt x="86" y="303"/>
                </a:lnTo>
                <a:lnTo>
                  <a:pt x="86" y="300"/>
                </a:lnTo>
                <a:lnTo>
                  <a:pt x="86" y="296"/>
                </a:lnTo>
                <a:lnTo>
                  <a:pt x="88" y="294"/>
                </a:lnTo>
                <a:lnTo>
                  <a:pt x="88" y="294"/>
                </a:lnTo>
                <a:lnTo>
                  <a:pt x="91" y="291"/>
                </a:lnTo>
                <a:lnTo>
                  <a:pt x="91" y="289"/>
                </a:lnTo>
                <a:lnTo>
                  <a:pt x="93" y="280"/>
                </a:lnTo>
                <a:lnTo>
                  <a:pt x="93" y="280"/>
                </a:lnTo>
                <a:lnTo>
                  <a:pt x="93" y="276"/>
                </a:lnTo>
                <a:lnTo>
                  <a:pt x="92" y="273"/>
                </a:lnTo>
                <a:lnTo>
                  <a:pt x="89" y="270"/>
                </a:lnTo>
                <a:lnTo>
                  <a:pt x="89" y="266"/>
                </a:lnTo>
                <a:lnTo>
                  <a:pt x="89" y="266"/>
                </a:lnTo>
                <a:lnTo>
                  <a:pt x="88" y="259"/>
                </a:lnTo>
                <a:lnTo>
                  <a:pt x="86" y="254"/>
                </a:lnTo>
                <a:lnTo>
                  <a:pt x="84" y="250"/>
                </a:lnTo>
                <a:lnTo>
                  <a:pt x="84" y="250"/>
                </a:lnTo>
                <a:lnTo>
                  <a:pt x="82" y="246"/>
                </a:lnTo>
                <a:lnTo>
                  <a:pt x="81" y="240"/>
                </a:lnTo>
                <a:lnTo>
                  <a:pt x="82" y="234"/>
                </a:lnTo>
                <a:lnTo>
                  <a:pt x="84" y="233"/>
                </a:lnTo>
                <a:lnTo>
                  <a:pt x="84" y="233"/>
                </a:lnTo>
                <a:lnTo>
                  <a:pt x="85" y="232"/>
                </a:lnTo>
                <a:lnTo>
                  <a:pt x="86" y="227"/>
                </a:lnTo>
                <a:lnTo>
                  <a:pt x="88" y="223"/>
                </a:lnTo>
                <a:lnTo>
                  <a:pt x="89" y="222"/>
                </a:lnTo>
                <a:lnTo>
                  <a:pt x="91" y="220"/>
                </a:lnTo>
                <a:lnTo>
                  <a:pt x="91" y="220"/>
                </a:lnTo>
                <a:lnTo>
                  <a:pt x="92" y="220"/>
                </a:lnTo>
                <a:lnTo>
                  <a:pt x="93" y="219"/>
                </a:lnTo>
                <a:lnTo>
                  <a:pt x="93" y="215"/>
                </a:lnTo>
                <a:lnTo>
                  <a:pt x="91" y="205"/>
                </a:lnTo>
                <a:lnTo>
                  <a:pt x="91" y="205"/>
                </a:lnTo>
                <a:lnTo>
                  <a:pt x="91" y="200"/>
                </a:lnTo>
                <a:lnTo>
                  <a:pt x="92" y="199"/>
                </a:lnTo>
                <a:lnTo>
                  <a:pt x="93" y="197"/>
                </a:lnTo>
                <a:lnTo>
                  <a:pt x="95" y="196"/>
                </a:lnTo>
                <a:lnTo>
                  <a:pt x="95" y="196"/>
                </a:lnTo>
                <a:lnTo>
                  <a:pt x="95" y="192"/>
                </a:lnTo>
                <a:lnTo>
                  <a:pt x="96" y="188"/>
                </a:lnTo>
                <a:lnTo>
                  <a:pt x="99" y="183"/>
                </a:lnTo>
                <a:lnTo>
                  <a:pt x="102" y="180"/>
                </a:lnTo>
                <a:lnTo>
                  <a:pt x="102" y="180"/>
                </a:lnTo>
                <a:lnTo>
                  <a:pt x="105" y="179"/>
                </a:lnTo>
                <a:lnTo>
                  <a:pt x="106" y="175"/>
                </a:lnTo>
                <a:lnTo>
                  <a:pt x="106" y="168"/>
                </a:lnTo>
                <a:lnTo>
                  <a:pt x="106" y="168"/>
                </a:lnTo>
                <a:lnTo>
                  <a:pt x="108" y="165"/>
                </a:lnTo>
                <a:lnTo>
                  <a:pt x="111" y="163"/>
                </a:lnTo>
                <a:lnTo>
                  <a:pt x="116" y="159"/>
                </a:lnTo>
                <a:lnTo>
                  <a:pt x="116" y="159"/>
                </a:lnTo>
                <a:lnTo>
                  <a:pt x="118" y="159"/>
                </a:lnTo>
                <a:lnTo>
                  <a:pt x="118" y="158"/>
                </a:lnTo>
                <a:lnTo>
                  <a:pt x="115" y="155"/>
                </a:lnTo>
                <a:lnTo>
                  <a:pt x="115" y="152"/>
                </a:lnTo>
                <a:lnTo>
                  <a:pt x="115" y="151"/>
                </a:lnTo>
                <a:lnTo>
                  <a:pt x="116" y="149"/>
                </a:lnTo>
                <a:lnTo>
                  <a:pt x="116" y="149"/>
                </a:lnTo>
                <a:lnTo>
                  <a:pt x="118" y="148"/>
                </a:lnTo>
                <a:lnTo>
                  <a:pt x="118" y="146"/>
                </a:lnTo>
                <a:lnTo>
                  <a:pt x="116" y="141"/>
                </a:lnTo>
                <a:lnTo>
                  <a:pt x="115" y="135"/>
                </a:lnTo>
                <a:lnTo>
                  <a:pt x="113" y="133"/>
                </a:lnTo>
                <a:lnTo>
                  <a:pt x="115" y="132"/>
                </a:lnTo>
                <a:lnTo>
                  <a:pt x="115" y="132"/>
                </a:lnTo>
                <a:lnTo>
                  <a:pt x="116" y="129"/>
                </a:lnTo>
                <a:lnTo>
                  <a:pt x="116" y="126"/>
                </a:lnTo>
                <a:lnTo>
                  <a:pt x="115" y="121"/>
                </a:lnTo>
                <a:lnTo>
                  <a:pt x="115" y="121"/>
                </a:lnTo>
                <a:lnTo>
                  <a:pt x="118" y="116"/>
                </a:lnTo>
                <a:lnTo>
                  <a:pt x="123" y="114"/>
                </a:lnTo>
                <a:lnTo>
                  <a:pt x="130" y="109"/>
                </a:lnTo>
                <a:lnTo>
                  <a:pt x="133" y="106"/>
                </a:lnTo>
                <a:lnTo>
                  <a:pt x="133" y="106"/>
                </a:lnTo>
                <a:lnTo>
                  <a:pt x="136" y="98"/>
                </a:lnTo>
                <a:lnTo>
                  <a:pt x="138" y="87"/>
                </a:lnTo>
                <a:lnTo>
                  <a:pt x="138" y="87"/>
                </a:lnTo>
                <a:lnTo>
                  <a:pt x="130" y="91"/>
                </a:lnTo>
                <a:lnTo>
                  <a:pt x="128" y="91"/>
                </a:lnTo>
                <a:lnTo>
                  <a:pt x="128" y="91"/>
                </a:lnTo>
                <a:lnTo>
                  <a:pt x="128" y="91"/>
                </a:lnTo>
                <a:lnTo>
                  <a:pt x="126" y="82"/>
                </a:lnTo>
                <a:lnTo>
                  <a:pt x="125" y="77"/>
                </a:lnTo>
                <a:lnTo>
                  <a:pt x="123" y="72"/>
                </a:lnTo>
                <a:lnTo>
                  <a:pt x="123" y="72"/>
                </a:lnTo>
                <a:lnTo>
                  <a:pt x="121" y="69"/>
                </a:lnTo>
                <a:lnTo>
                  <a:pt x="121" y="64"/>
                </a:lnTo>
                <a:lnTo>
                  <a:pt x="119" y="61"/>
                </a:lnTo>
                <a:lnTo>
                  <a:pt x="118" y="58"/>
                </a:lnTo>
                <a:lnTo>
                  <a:pt x="118" y="58"/>
                </a:lnTo>
                <a:lnTo>
                  <a:pt x="115" y="55"/>
                </a:lnTo>
                <a:lnTo>
                  <a:pt x="112" y="52"/>
                </a:lnTo>
                <a:lnTo>
                  <a:pt x="111" y="48"/>
                </a:lnTo>
                <a:lnTo>
                  <a:pt x="111" y="47"/>
                </a:lnTo>
                <a:lnTo>
                  <a:pt x="112" y="45"/>
                </a:lnTo>
                <a:lnTo>
                  <a:pt x="112" y="45"/>
                </a:lnTo>
                <a:lnTo>
                  <a:pt x="113" y="42"/>
                </a:lnTo>
                <a:lnTo>
                  <a:pt x="113" y="40"/>
                </a:lnTo>
                <a:lnTo>
                  <a:pt x="113" y="35"/>
                </a:lnTo>
                <a:lnTo>
                  <a:pt x="115" y="34"/>
                </a:lnTo>
                <a:lnTo>
                  <a:pt x="115" y="34"/>
                </a:lnTo>
                <a:lnTo>
                  <a:pt x="116" y="31"/>
                </a:lnTo>
                <a:lnTo>
                  <a:pt x="115" y="30"/>
                </a:lnTo>
                <a:lnTo>
                  <a:pt x="112" y="28"/>
                </a:lnTo>
                <a:lnTo>
                  <a:pt x="109" y="24"/>
                </a:lnTo>
                <a:lnTo>
                  <a:pt x="109" y="24"/>
                </a:lnTo>
                <a:lnTo>
                  <a:pt x="108" y="23"/>
                </a:lnTo>
                <a:lnTo>
                  <a:pt x="106" y="20"/>
                </a:lnTo>
                <a:lnTo>
                  <a:pt x="106" y="15"/>
                </a:lnTo>
                <a:lnTo>
                  <a:pt x="106" y="11"/>
                </a:lnTo>
                <a:lnTo>
                  <a:pt x="106" y="8"/>
                </a:lnTo>
                <a:lnTo>
                  <a:pt x="105" y="7"/>
                </a:lnTo>
                <a:lnTo>
                  <a:pt x="105" y="7"/>
                </a:lnTo>
                <a:lnTo>
                  <a:pt x="102" y="4"/>
                </a:lnTo>
                <a:lnTo>
                  <a:pt x="99" y="1"/>
                </a:lnTo>
                <a:lnTo>
                  <a:pt x="98" y="0"/>
                </a:lnTo>
                <a:lnTo>
                  <a:pt x="98" y="0"/>
                </a:lnTo>
                <a:lnTo>
                  <a:pt x="98" y="0"/>
                </a:lnTo>
                <a:lnTo>
                  <a:pt x="95" y="7"/>
                </a:lnTo>
                <a:lnTo>
                  <a:pt x="93" y="10"/>
                </a:lnTo>
                <a:lnTo>
                  <a:pt x="91" y="13"/>
                </a:lnTo>
                <a:lnTo>
                  <a:pt x="91" y="13"/>
                </a:lnTo>
                <a:lnTo>
                  <a:pt x="88" y="15"/>
                </a:lnTo>
                <a:lnTo>
                  <a:pt x="88" y="15"/>
                </a:lnTo>
                <a:lnTo>
                  <a:pt x="86" y="23"/>
                </a:lnTo>
                <a:lnTo>
                  <a:pt x="86" y="27"/>
                </a:lnTo>
                <a:lnTo>
                  <a:pt x="88" y="30"/>
                </a:lnTo>
                <a:lnTo>
                  <a:pt x="88" y="30"/>
                </a:lnTo>
                <a:lnTo>
                  <a:pt x="89" y="37"/>
                </a:lnTo>
                <a:lnTo>
                  <a:pt x="89" y="48"/>
                </a:lnTo>
                <a:lnTo>
                  <a:pt x="89" y="61"/>
                </a:lnTo>
                <a:lnTo>
                  <a:pt x="89" y="71"/>
                </a:lnTo>
                <a:lnTo>
                  <a:pt x="89" y="71"/>
                </a:lnTo>
                <a:lnTo>
                  <a:pt x="82" y="95"/>
                </a:lnTo>
                <a:lnTo>
                  <a:pt x="82" y="95"/>
                </a:lnTo>
                <a:lnTo>
                  <a:pt x="82" y="99"/>
                </a:lnTo>
                <a:lnTo>
                  <a:pt x="84" y="101"/>
                </a:lnTo>
                <a:lnTo>
                  <a:pt x="85" y="102"/>
                </a:lnTo>
                <a:lnTo>
                  <a:pt x="85" y="105"/>
                </a:lnTo>
                <a:lnTo>
                  <a:pt x="85" y="105"/>
                </a:lnTo>
                <a:lnTo>
                  <a:pt x="84" y="108"/>
                </a:lnTo>
                <a:lnTo>
                  <a:pt x="82" y="112"/>
                </a:lnTo>
                <a:lnTo>
                  <a:pt x="82" y="126"/>
                </a:lnTo>
                <a:lnTo>
                  <a:pt x="82" y="126"/>
                </a:lnTo>
                <a:lnTo>
                  <a:pt x="82" y="135"/>
                </a:lnTo>
                <a:lnTo>
                  <a:pt x="79" y="146"/>
                </a:lnTo>
                <a:lnTo>
                  <a:pt x="75" y="162"/>
                </a:lnTo>
                <a:lnTo>
                  <a:pt x="75" y="162"/>
                </a:lnTo>
                <a:lnTo>
                  <a:pt x="75" y="166"/>
                </a:lnTo>
                <a:lnTo>
                  <a:pt x="74" y="170"/>
                </a:lnTo>
                <a:lnTo>
                  <a:pt x="72" y="175"/>
                </a:lnTo>
                <a:lnTo>
                  <a:pt x="71" y="179"/>
                </a:lnTo>
                <a:lnTo>
                  <a:pt x="71" y="179"/>
                </a:lnTo>
                <a:lnTo>
                  <a:pt x="71" y="183"/>
                </a:lnTo>
                <a:lnTo>
                  <a:pt x="69" y="188"/>
                </a:lnTo>
                <a:lnTo>
                  <a:pt x="64" y="193"/>
                </a:lnTo>
                <a:lnTo>
                  <a:pt x="64" y="193"/>
                </a:lnTo>
                <a:lnTo>
                  <a:pt x="64" y="195"/>
                </a:lnTo>
                <a:lnTo>
                  <a:pt x="64" y="196"/>
                </a:lnTo>
                <a:lnTo>
                  <a:pt x="66" y="202"/>
                </a:lnTo>
                <a:lnTo>
                  <a:pt x="69" y="207"/>
                </a:lnTo>
                <a:lnTo>
                  <a:pt x="71" y="212"/>
                </a:lnTo>
                <a:lnTo>
                  <a:pt x="71" y="212"/>
                </a:lnTo>
                <a:lnTo>
                  <a:pt x="69" y="216"/>
                </a:lnTo>
                <a:lnTo>
                  <a:pt x="66" y="220"/>
                </a:lnTo>
                <a:lnTo>
                  <a:pt x="64" y="225"/>
                </a:lnTo>
                <a:lnTo>
                  <a:pt x="64" y="230"/>
                </a:lnTo>
                <a:lnTo>
                  <a:pt x="64" y="230"/>
                </a:lnTo>
                <a:lnTo>
                  <a:pt x="65" y="240"/>
                </a:lnTo>
                <a:lnTo>
                  <a:pt x="65" y="250"/>
                </a:lnTo>
                <a:lnTo>
                  <a:pt x="64" y="264"/>
                </a:lnTo>
                <a:lnTo>
                  <a:pt x="64" y="264"/>
                </a:lnTo>
                <a:lnTo>
                  <a:pt x="64" y="267"/>
                </a:lnTo>
                <a:lnTo>
                  <a:pt x="62" y="269"/>
                </a:lnTo>
                <a:lnTo>
                  <a:pt x="61" y="271"/>
                </a:lnTo>
                <a:lnTo>
                  <a:pt x="61" y="276"/>
                </a:lnTo>
                <a:lnTo>
                  <a:pt x="61" y="276"/>
                </a:lnTo>
                <a:lnTo>
                  <a:pt x="61" y="281"/>
                </a:lnTo>
                <a:lnTo>
                  <a:pt x="58" y="284"/>
                </a:lnTo>
                <a:lnTo>
                  <a:pt x="56" y="290"/>
                </a:lnTo>
                <a:lnTo>
                  <a:pt x="55" y="296"/>
                </a:lnTo>
                <a:lnTo>
                  <a:pt x="55" y="296"/>
                </a:lnTo>
                <a:lnTo>
                  <a:pt x="52" y="304"/>
                </a:lnTo>
                <a:lnTo>
                  <a:pt x="49" y="314"/>
                </a:lnTo>
                <a:lnTo>
                  <a:pt x="42" y="330"/>
                </a:lnTo>
                <a:lnTo>
                  <a:pt x="42" y="330"/>
                </a:lnTo>
                <a:lnTo>
                  <a:pt x="39" y="340"/>
                </a:lnTo>
                <a:lnTo>
                  <a:pt x="38" y="343"/>
                </a:lnTo>
                <a:lnTo>
                  <a:pt x="35" y="343"/>
                </a:lnTo>
                <a:lnTo>
                  <a:pt x="35" y="343"/>
                </a:lnTo>
                <a:lnTo>
                  <a:pt x="32" y="344"/>
                </a:lnTo>
                <a:lnTo>
                  <a:pt x="31" y="345"/>
                </a:lnTo>
                <a:lnTo>
                  <a:pt x="31" y="350"/>
                </a:lnTo>
                <a:lnTo>
                  <a:pt x="32" y="354"/>
                </a:lnTo>
                <a:lnTo>
                  <a:pt x="32" y="354"/>
                </a:lnTo>
                <a:lnTo>
                  <a:pt x="34" y="360"/>
                </a:lnTo>
                <a:lnTo>
                  <a:pt x="34" y="365"/>
                </a:lnTo>
                <a:lnTo>
                  <a:pt x="34" y="370"/>
                </a:lnTo>
                <a:lnTo>
                  <a:pt x="35" y="375"/>
                </a:lnTo>
                <a:lnTo>
                  <a:pt x="35" y="375"/>
                </a:lnTo>
                <a:lnTo>
                  <a:pt x="37" y="380"/>
                </a:lnTo>
                <a:lnTo>
                  <a:pt x="38" y="384"/>
                </a:lnTo>
                <a:lnTo>
                  <a:pt x="35" y="391"/>
                </a:lnTo>
                <a:lnTo>
                  <a:pt x="35" y="391"/>
                </a:lnTo>
                <a:lnTo>
                  <a:pt x="32" y="398"/>
                </a:lnTo>
                <a:lnTo>
                  <a:pt x="31" y="401"/>
                </a:lnTo>
                <a:lnTo>
                  <a:pt x="31" y="405"/>
                </a:lnTo>
                <a:lnTo>
                  <a:pt x="31" y="405"/>
                </a:lnTo>
                <a:lnTo>
                  <a:pt x="29" y="409"/>
                </a:lnTo>
                <a:lnTo>
                  <a:pt x="28" y="414"/>
                </a:lnTo>
                <a:lnTo>
                  <a:pt x="28" y="418"/>
                </a:lnTo>
                <a:lnTo>
                  <a:pt x="28" y="424"/>
                </a:lnTo>
                <a:lnTo>
                  <a:pt x="28" y="424"/>
                </a:lnTo>
                <a:lnTo>
                  <a:pt x="29" y="428"/>
                </a:lnTo>
                <a:lnTo>
                  <a:pt x="31" y="431"/>
                </a:lnTo>
                <a:lnTo>
                  <a:pt x="29" y="432"/>
                </a:lnTo>
                <a:lnTo>
                  <a:pt x="27" y="434"/>
                </a:lnTo>
                <a:lnTo>
                  <a:pt x="27" y="434"/>
                </a:lnTo>
                <a:lnTo>
                  <a:pt x="25" y="434"/>
                </a:lnTo>
                <a:lnTo>
                  <a:pt x="22" y="438"/>
                </a:lnTo>
                <a:lnTo>
                  <a:pt x="21" y="451"/>
                </a:lnTo>
                <a:lnTo>
                  <a:pt x="21" y="451"/>
                </a:lnTo>
                <a:lnTo>
                  <a:pt x="20" y="458"/>
                </a:lnTo>
                <a:lnTo>
                  <a:pt x="21" y="461"/>
                </a:lnTo>
                <a:lnTo>
                  <a:pt x="22" y="462"/>
                </a:lnTo>
                <a:lnTo>
                  <a:pt x="28" y="461"/>
                </a:lnTo>
                <a:lnTo>
                  <a:pt x="28" y="461"/>
                </a:lnTo>
                <a:lnTo>
                  <a:pt x="31" y="459"/>
                </a:lnTo>
                <a:lnTo>
                  <a:pt x="32" y="456"/>
                </a:lnTo>
                <a:lnTo>
                  <a:pt x="32" y="446"/>
                </a:lnTo>
                <a:lnTo>
                  <a:pt x="32" y="436"/>
                </a:lnTo>
                <a:lnTo>
                  <a:pt x="34" y="434"/>
                </a:lnTo>
                <a:lnTo>
                  <a:pt x="35" y="432"/>
                </a:lnTo>
                <a:lnTo>
                  <a:pt x="35" y="432"/>
                </a:lnTo>
                <a:lnTo>
                  <a:pt x="38" y="432"/>
                </a:lnTo>
                <a:lnTo>
                  <a:pt x="38" y="429"/>
                </a:lnTo>
                <a:lnTo>
                  <a:pt x="38" y="428"/>
                </a:lnTo>
                <a:lnTo>
                  <a:pt x="41" y="427"/>
                </a:lnTo>
                <a:lnTo>
                  <a:pt x="41" y="427"/>
                </a:lnTo>
                <a:lnTo>
                  <a:pt x="44" y="427"/>
                </a:lnTo>
                <a:lnTo>
                  <a:pt x="44" y="428"/>
                </a:lnTo>
                <a:lnTo>
                  <a:pt x="44" y="431"/>
                </a:lnTo>
                <a:lnTo>
                  <a:pt x="45" y="432"/>
                </a:lnTo>
                <a:lnTo>
                  <a:pt x="45" y="432"/>
                </a:lnTo>
                <a:lnTo>
                  <a:pt x="48" y="434"/>
                </a:lnTo>
                <a:lnTo>
                  <a:pt x="49" y="435"/>
                </a:lnTo>
                <a:lnTo>
                  <a:pt x="49" y="438"/>
                </a:lnTo>
                <a:lnTo>
                  <a:pt x="47" y="439"/>
                </a:lnTo>
                <a:lnTo>
                  <a:pt x="47" y="439"/>
                </a:lnTo>
                <a:lnTo>
                  <a:pt x="45" y="441"/>
                </a:lnTo>
                <a:lnTo>
                  <a:pt x="44" y="442"/>
                </a:lnTo>
                <a:lnTo>
                  <a:pt x="45" y="446"/>
                </a:lnTo>
                <a:lnTo>
                  <a:pt x="45" y="449"/>
                </a:lnTo>
                <a:lnTo>
                  <a:pt x="45" y="454"/>
                </a:lnTo>
                <a:lnTo>
                  <a:pt x="45" y="454"/>
                </a:lnTo>
                <a:lnTo>
                  <a:pt x="41" y="459"/>
                </a:lnTo>
                <a:lnTo>
                  <a:pt x="41" y="462"/>
                </a:lnTo>
                <a:lnTo>
                  <a:pt x="41" y="466"/>
                </a:lnTo>
                <a:lnTo>
                  <a:pt x="41" y="466"/>
                </a:lnTo>
                <a:lnTo>
                  <a:pt x="41" y="469"/>
                </a:lnTo>
                <a:lnTo>
                  <a:pt x="41" y="471"/>
                </a:lnTo>
                <a:lnTo>
                  <a:pt x="39" y="472"/>
                </a:lnTo>
                <a:lnTo>
                  <a:pt x="38" y="476"/>
                </a:lnTo>
                <a:lnTo>
                  <a:pt x="38" y="476"/>
                </a:lnTo>
                <a:lnTo>
                  <a:pt x="38" y="479"/>
                </a:lnTo>
                <a:lnTo>
                  <a:pt x="39" y="482"/>
                </a:lnTo>
                <a:lnTo>
                  <a:pt x="39" y="483"/>
                </a:lnTo>
                <a:lnTo>
                  <a:pt x="39" y="483"/>
                </a:lnTo>
                <a:lnTo>
                  <a:pt x="39" y="483"/>
                </a:lnTo>
                <a:lnTo>
                  <a:pt x="38" y="486"/>
                </a:lnTo>
                <a:lnTo>
                  <a:pt x="39" y="488"/>
                </a:lnTo>
                <a:lnTo>
                  <a:pt x="39" y="489"/>
                </a:lnTo>
                <a:lnTo>
                  <a:pt x="38" y="491"/>
                </a:lnTo>
                <a:lnTo>
                  <a:pt x="38" y="491"/>
                </a:lnTo>
                <a:lnTo>
                  <a:pt x="37" y="492"/>
                </a:lnTo>
                <a:lnTo>
                  <a:pt x="37" y="495"/>
                </a:lnTo>
                <a:lnTo>
                  <a:pt x="39" y="501"/>
                </a:lnTo>
                <a:lnTo>
                  <a:pt x="39" y="501"/>
                </a:lnTo>
                <a:lnTo>
                  <a:pt x="39" y="502"/>
                </a:lnTo>
                <a:lnTo>
                  <a:pt x="37" y="503"/>
                </a:lnTo>
                <a:lnTo>
                  <a:pt x="34" y="503"/>
                </a:lnTo>
                <a:lnTo>
                  <a:pt x="31" y="505"/>
                </a:lnTo>
                <a:lnTo>
                  <a:pt x="31" y="505"/>
                </a:lnTo>
                <a:lnTo>
                  <a:pt x="29" y="508"/>
                </a:lnTo>
                <a:lnTo>
                  <a:pt x="31" y="510"/>
                </a:lnTo>
                <a:lnTo>
                  <a:pt x="32" y="513"/>
                </a:lnTo>
                <a:lnTo>
                  <a:pt x="32" y="516"/>
                </a:lnTo>
                <a:lnTo>
                  <a:pt x="32" y="516"/>
                </a:lnTo>
                <a:lnTo>
                  <a:pt x="31" y="518"/>
                </a:lnTo>
                <a:lnTo>
                  <a:pt x="28" y="516"/>
                </a:lnTo>
                <a:lnTo>
                  <a:pt x="22" y="512"/>
                </a:lnTo>
                <a:lnTo>
                  <a:pt x="22" y="512"/>
                </a:lnTo>
                <a:lnTo>
                  <a:pt x="22" y="509"/>
                </a:lnTo>
                <a:lnTo>
                  <a:pt x="24" y="506"/>
                </a:lnTo>
                <a:lnTo>
                  <a:pt x="29" y="501"/>
                </a:lnTo>
                <a:lnTo>
                  <a:pt x="29" y="501"/>
                </a:lnTo>
                <a:lnTo>
                  <a:pt x="29" y="499"/>
                </a:lnTo>
                <a:lnTo>
                  <a:pt x="29" y="496"/>
                </a:lnTo>
                <a:lnTo>
                  <a:pt x="28" y="492"/>
                </a:lnTo>
                <a:lnTo>
                  <a:pt x="25" y="489"/>
                </a:lnTo>
                <a:lnTo>
                  <a:pt x="22" y="489"/>
                </a:lnTo>
                <a:lnTo>
                  <a:pt x="21" y="489"/>
                </a:lnTo>
                <a:lnTo>
                  <a:pt x="21" y="489"/>
                </a:lnTo>
                <a:lnTo>
                  <a:pt x="20" y="491"/>
                </a:lnTo>
                <a:lnTo>
                  <a:pt x="20" y="492"/>
                </a:lnTo>
                <a:lnTo>
                  <a:pt x="21" y="495"/>
                </a:lnTo>
                <a:lnTo>
                  <a:pt x="24" y="498"/>
                </a:lnTo>
                <a:lnTo>
                  <a:pt x="27" y="502"/>
                </a:lnTo>
                <a:lnTo>
                  <a:pt x="27" y="502"/>
                </a:lnTo>
                <a:lnTo>
                  <a:pt x="25" y="503"/>
                </a:lnTo>
                <a:lnTo>
                  <a:pt x="25" y="503"/>
                </a:lnTo>
                <a:lnTo>
                  <a:pt x="22" y="503"/>
                </a:lnTo>
                <a:lnTo>
                  <a:pt x="18" y="503"/>
                </a:lnTo>
                <a:lnTo>
                  <a:pt x="18" y="505"/>
                </a:lnTo>
                <a:lnTo>
                  <a:pt x="18" y="506"/>
                </a:lnTo>
                <a:lnTo>
                  <a:pt x="18" y="506"/>
                </a:lnTo>
                <a:lnTo>
                  <a:pt x="17" y="509"/>
                </a:lnTo>
                <a:lnTo>
                  <a:pt x="14" y="509"/>
                </a:lnTo>
                <a:lnTo>
                  <a:pt x="11" y="510"/>
                </a:lnTo>
                <a:lnTo>
                  <a:pt x="8" y="512"/>
                </a:lnTo>
                <a:lnTo>
                  <a:pt x="8" y="512"/>
                </a:lnTo>
                <a:lnTo>
                  <a:pt x="8" y="515"/>
                </a:lnTo>
                <a:lnTo>
                  <a:pt x="8" y="518"/>
                </a:lnTo>
                <a:lnTo>
                  <a:pt x="10" y="519"/>
                </a:lnTo>
                <a:lnTo>
                  <a:pt x="10" y="520"/>
                </a:lnTo>
                <a:lnTo>
                  <a:pt x="10" y="520"/>
                </a:lnTo>
                <a:lnTo>
                  <a:pt x="2" y="525"/>
                </a:lnTo>
                <a:lnTo>
                  <a:pt x="0" y="528"/>
                </a:lnTo>
                <a:lnTo>
                  <a:pt x="0" y="530"/>
                </a:lnTo>
                <a:lnTo>
                  <a:pt x="0" y="530"/>
                </a:lnTo>
                <a:lnTo>
                  <a:pt x="0" y="532"/>
                </a:lnTo>
                <a:lnTo>
                  <a:pt x="1" y="533"/>
                </a:lnTo>
                <a:lnTo>
                  <a:pt x="2" y="532"/>
                </a:lnTo>
                <a:lnTo>
                  <a:pt x="2" y="530"/>
                </a:lnTo>
                <a:lnTo>
                  <a:pt x="2" y="530"/>
                </a:lnTo>
                <a:lnTo>
                  <a:pt x="4" y="529"/>
                </a:lnTo>
                <a:lnTo>
                  <a:pt x="7" y="528"/>
                </a:lnTo>
                <a:lnTo>
                  <a:pt x="8" y="528"/>
                </a:lnTo>
                <a:lnTo>
                  <a:pt x="11" y="530"/>
                </a:lnTo>
                <a:lnTo>
                  <a:pt x="11" y="530"/>
                </a:lnTo>
                <a:lnTo>
                  <a:pt x="12" y="533"/>
                </a:lnTo>
                <a:lnTo>
                  <a:pt x="14" y="532"/>
                </a:lnTo>
                <a:lnTo>
                  <a:pt x="17" y="532"/>
                </a:lnTo>
                <a:lnTo>
                  <a:pt x="20" y="532"/>
                </a:lnTo>
                <a:lnTo>
                  <a:pt x="20" y="532"/>
                </a:lnTo>
                <a:lnTo>
                  <a:pt x="22" y="533"/>
                </a:lnTo>
                <a:lnTo>
                  <a:pt x="24" y="536"/>
                </a:lnTo>
                <a:lnTo>
                  <a:pt x="22" y="539"/>
                </a:lnTo>
                <a:lnTo>
                  <a:pt x="21" y="540"/>
                </a:lnTo>
                <a:lnTo>
                  <a:pt x="21" y="540"/>
                </a:lnTo>
                <a:lnTo>
                  <a:pt x="20" y="540"/>
                </a:lnTo>
                <a:lnTo>
                  <a:pt x="17" y="543"/>
                </a:lnTo>
                <a:lnTo>
                  <a:pt x="17" y="546"/>
                </a:lnTo>
                <a:lnTo>
                  <a:pt x="17" y="550"/>
                </a:lnTo>
                <a:lnTo>
                  <a:pt x="17" y="550"/>
                </a:lnTo>
                <a:lnTo>
                  <a:pt x="17" y="552"/>
                </a:lnTo>
                <a:lnTo>
                  <a:pt x="18" y="552"/>
                </a:lnTo>
                <a:lnTo>
                  <a:pt x="22" y="552"/>
                </a:lnTo>
                <a:lnTo>
                  <a:pt x="27" y="552"/>
                </a:lnTo>
                <a:lnTo>
                  <a:pt x="31" y="552"/>
                </a:lnTo>
                <a:lnTo>
                  <a:pt x="31" y="552"/>
                </a:lnTo>
                <a:lnTo>
                  <a:pt x="34" y="553"/>
                </a:lnTo>
                <a:lnTo>
                  <a:pt x="34" y="556"/>
                </a:lnTo>
                <a:lnTo>
                  <a:pt x="32" y="557"/>
                </a:lnTo>
                <a:lnTo>
                  <a:pt x="31" y="557"/>
                </a:lnTo>
                <a:lnTo>
                  <a:pt x="31" y="557"/>
                </a:lnTo>
                <a:lnTo>
                  <a:pt x="27" y="555"/>
                </a:lnTo>
                <a:lnTo>
                  <a:pt x="24" y="553"/>
                </a:lnTo>
                <a:lnTo>
                  <a:pt x="21" y="555"/>
                </a:lnTo>
                <a:lnTo>
                  <a:pt x="21" y="555"/>
                </a:lnTo>
                <a:lnTo>
                  <a:pt x="18" y="557"/>
                </a:lnTo>
                <a:lnTo>
                  <a:pt x="17" y="557"/>
                </a:lnTo>
                <a:lnTo>
                  <a:pt x="11" y="556"/>
                </a:lnTo>
                <a:lnTo>
                  <a:pt x="11" y="556"/>
                </a:lnTo>
                <a:lnTo>
                  <a:pt x="8" y="556"/>
                </a:lnTo>
                <a:lnTo>
                  <a:pt x="2" y="559"/>
                </a:lnTo>
                <a:lnTo>
                  <a:pt x="0" y="562"/>
                </a:lnTo>
                <a:lnTo>
                  <a:pt x="0" y="563"/>
                </a:lnTo>
                <a:lnTo>
                  <a:pt x="1" y="565"/>
                </a:lnTo>
                <a:lnTo>
                  <a:pt x="1" y="565"/>
                </a:lnTo>
                <a:lnTo>
                  <a:pt x="2" y="567"/>
                </a:lnTo>
                <a:lnTo>
                  <a:pt x="4" y="570"/>
                </a:lnTo>
                <a:lnTo>
                  <a:pt x="5" y="572"/>
                </a:lnTo>
                <a:lnTo>
                  <a:pt x="7" y="572"/>
                </a:lnTo>
                <a:lnTo>
                  <a:pt x="7" y="572"/>
                </a:lnTo>
                <a:lnTo>
                  <a:pt x="11" y="570"/>
                </a:lnTo>
                <a:lnTo>
                  <a:pt x="14" y="567"/>
                </a:lnTo>
                <a:lnTo>
                  <a:pt x="14" y="567"/>
                </a:lnTo>
                <a:lnTo>
                  <a:pt x="15" y="565"/>
                </a:lnTo>
                <a:lnTo>
                  <a:pt x="18" y="563"/>
                </a:lnTo>
                <a:lnTo>
                  <a:pt x="20" y="565"/>
                </a:lnTo>
                <a:lnTo>
                  <a:pt x="21" y="567"/>
                </a:lnTo>
                <a:lnTo>
                  <a:pt x="21" y="567"/>
                </a:lnTo>
                <a:lnTo>
                  <a:pt x="20" y="570"/>
                </a:lnTo>
                <a:lnTo>
                  <a:pt x="18" y="572"/>
                </a:lnTo>
                <a:lnTo>
                  <a:pt x="15" y="573"/>
                </a:lnTo>
                <a:lnTo>
                  <a:pt x="12" y="574"/>
                </a:lnTo>
                <a:lnTo>
                  <a:pt x="12" y="574"/>
                </a:lnTo>
                <a:lnTo>
                  <a:pt x="10" y="579"/>
                </a:lnTo>
                <a:lnTo>
                  <a:pt x="4" y="584"/>
                </a:lnTo>
                <a:lnTo>
                  <a:pt x="4" y="584"/>
                </a:lnTo>
                <a:lnTo>
                  <a:pt x="2" y="587"/>
                </a:lnTo>
                <a:lnTo>
                  <a:pt x="4" y="589"/>
                </a:lnTo>
                <a:lnTo>
                  <a:pt x="5" y="592"/>
                </a:lnTo>
                <a:lnTo>
                  <a:pt x="8" y="590"/>
                </a:lnTo>
                <a:lnTo>
                  <a:pt x="8" y="590"/>
                </a:lnTo>
                <a:lnTo>
                  <a:pt x="10" y="590"/>
                </a:lnTo>
                <a:lnTo>
                  <a:pt x="10" y="593"/>
                </a:lnTo>
                <a:lnTo>
                  <a:pt x="10" y="594"/>
                </a:lnTo>
                <a:lnTo>
                  <a:pt x="12" y="596"/>
                </a:lnTo>
                <a:lnTo>
                  <a:pt x="12" y="596"/>
                </a:lnTo>
                <a:lnTo>
                  <a:pt x="15" y="596"/>
                </a:lnTo>
                <a:lnTo>
                  <a:pt x="17" y="594"/>
                </a:lnTo>
                <a:lnTo>
                  <a:pt x="17" y="592"/>
                </a:lnTo>
                <a:lnTo>
                  <a:pt x="17" y="589"/>
                </a:lnTo>
                <a:lnTo>
                  <a:pt x="17" y="589"/>
                </a:lnTo>
                <a:lnTo>
                  <a:pt x="17" y="586"/>
                </a:lnTo>
                <a:lnTo>
                  <a:pt x="18" y="583"/>
                </a:lnTo>
                <a:lnTo>
                  <a:pt x="21" y="580"/>
                </a:lnTo>
                <a:lnTo>
                  <a:pt x="22" y="582"/>
                </a:lnTo>
                <a:lnTo>
                  <a:pt x="24" y="582"/>
                </a:lnTo>
                <a:lnTo>
                  <a:pt x="24" y="582"/>
                </a:lnTo>
                <a:lnTo>
                  <a:pt x="25" y="584"/>
                </a:lnTo>
                <a:lnTo>
                  <a:pt x="24" y="587"/>
                </a:lnTo>
                <a:lnTo>
                  <a:pt x="22" y="590"/>
                </a:lnTo>
                <a:lnTo>
                  <a:pt x="21" y="593"/>
                </a:lnTo>
                <a:lnTo>
                  <a:pt x="21" y="593"/>
                </a:lnTo>
                <a:lnTo>
                  <a:pt x="20" y="599"/>
                </a:lnTo>
                <a:lnTo>
                  <a:pt x="20" y="606"/>
                </a:lnTo>
                <a:lnTo>
                  <a:pt x="20" y="606"/>
                </a:lnTo>
                <a:lnTo>
                  <a:pt x="18" y="607"/>
                </a:lnTo>
                <a:lnTo>
                  <a:pt x="17" y="609"/>
                </a:lnTo>
                <a:lnTo>
                  <a:pt x="15" y="609"/>
                </a:lnTo>
                <a:lnTo>
                  <a:pt x="15" y="611"/>
                </a:lnTo>
                <a:lnTo>
                  <a:pt x="15" y="611"/>
                </a:lnTo>
                <a:lnTo>
                  <a:pt x="14" y="613"/>
                </a:lnTo>
                <a:lnTo>
                  <a:pt x="14" y="613"/>
                </a:lnTo>
                <a:lnTo>
                  <a:pt x="11" y="614"/>
                </a:lnTo>
                <a:lnTo>
                  <a:pt x="8" y="614"/>
                </a:lnTo>
                <a:lnTo>
                  <a:pt x="10" y="616"/>
                </a:lnTo>
                <a:lnTo>
                  <a:pt x="10" y="616"/>
                </a:lnTo>
                <a:lnTo>
                  <a:pt x="11" y="619"/>
                </a:lnTo>
                <a:lnTo>
                  <a:pt x="10" y="620"/>
                </a:lnTo>
                <a:lnTo>
                  <a:pt x="8" y="623"/>
                </a:lnTo>
                <a:lnTo>
                  <a:pt x="10" y="626"/>
                </a:lnTo>
                <a:lnTo>
                  <a:pt x="10" y="626"/>
                </a:lnTo>
                <a:lnTo>
                  <a:pt x="11" y="626"/>
                </a:lnTo>
                <a:lnTo>
                  <a:pt x="12" y="624"/>
                </a:lnTo>
                <a:lnTo>
                  <a:pt x="15" y="623"/>
                </a:lnTo>
                <a:lnTo>
                  <a:pt x="18" y="623"/>
                </a:lnTo>
                <a:lnTo>
                  <a:pt x="18" y="623"/>
                </a:lnTo>
                <a:lnTo>
                  <a:pt x="21" y="624"/>
                </a:lnTo>
                <a:lnTo>
                  <a:pt x="25" y="623"/>
                </a:lnTo>
                <a:lnTo>
                  <a:pt x="25" y="623"/>
                </a:lnTo>
                <a:lnTo>
                  <a:pt x="29" y="623"/>
                </a:lnTo>
                <a:lnTo>
                  <a:pt x="31" y="624"/>
                </a:lnTo>
                <a:lnTo>
                  <a:pt x="31" y="627"/>
                </a:lnTo>
                <a:lnTo>
                  <a:pt x="29" y="629"/>
                </a:lnTo>
                <a:lnTo>
                  <a:pt x="29" y="629"/>
                </a:lnTo>
                <a:lnTo>
                  <a:pt x="25" y="630"/>
                </a:lnTo>
                <a:lnTo>
                  <a:pt x="22" y="633"/>
                </a:lnTo>
                <a:lnTo>
                  <a:pt x="21" y="634"/>
                </a:lnTo>
                <a:lnTo>
                  <a:pt x="21" y="636"/>
                </a:lnTo>
                <a:lnTo>
                  <a:pt x="21" y="636"/>
                </a:lnTo>
                <a:lnTo>
                  <a:pt x="27" y="636"/>
                </a:lnTo>
                <a:lnTo>
                  <a:pt x="29" y="636"/>
                </a:lnTo>
                <a:lnTo>
                  <a:pt x="31" y="637"/>
                </a:lnTo>
                <a:lnTo>
                  <a:pt x="31" y="637"/>
                </a:lnTo>
                <a:lnTo>
                  <a:pt x="32" y="640"/>
                </a:lnTo>
                <a:lnTo>
                  <a:pt x="34" y="640"/>
                </a:lnTo>
                <a:lnTo>
                  <a:pt x="35" y="638"/>
                </a:lnTo>
                <a:lnTo>
                  <a:pt x="37" y="636"/>
                </a:lnTo>
                <a:lnTo>
                  <a:pt x="37" y="636"/>
                </a:lnTo>
                <a:lnTo>
                  <a:pt x="37" y="634"/>
                </a:lnTo>
                <a:lnTo>
                  <a:pt x="38" y="633"/>
                </a:lnTo>
                <a:lnTo>
                  <a:pt x="41" y="633"/>
                </a:lnTo>
                <a:lnTo>
                  <a:pt x="45" y="636"/>
                </a:lnTo>
                <a:lnTo>
                  <a:pt x="47" y="638"/>
                </a:lnTo>
                <a:lnTo>
                  <a:pt x="47" y="638"/>
                </a:lnTo>
                <a:lnTo>
                  <a:pt x="47" y="640"/>
                </a:lnTo>
                <a:lnTo>
                  <a:pt x="45" y="641"/>
                </a:lnTo>
                <a:lnTo>
                  <a:pt x="42" y="644"/>
                </a:lnTo>
                <a:lnTo>
                  <a:pt x="37" y="644"/>
                </a:lnTo>
                <a:lnTo>
                  <a:pt x="32" y="644"/>
                </a:lnTo>
                <a:lnTo>
                  <a:pt x="32" y="644"/>
                </a:lnTo>
                <a:lnTo>
                  <a:pt x="29" y="644"/>
                </a:lnTo>
                <a:lnTo>
                  <a:pt x="27" y="647"/>
                </a:lnTo>
                <a:lnTo>
                  <a:pt x="27" y="650"/>
                </a:lnTo>
                <a:lnTo>
                  <a:pt x="28" y="654"/>
                </a:lnTo>
                <a:lnTo>
                  <a:pt x="28" y="654"/>
                </a:lnTo>
                <a:lnTo>
                  <a:pt x="31" y="656"/>
                </a:lnTo>
                <a:lnTo>
                  <a:pt x="34" y="656"/>
                </a:lnTo>
                <a:lnTo>
                  <a:pt x="39" y="650"/>
                </a:lnTo>
                <a:lnTo>
                  <a:pt x="39" y="650"/>
                </a:lnTo>
                <a:lnTo>
                  <a:pt x="45" y="648"/>
                </a:lnTo>
                <a:lnTo>
                  <a:pt x="52" y="648"/>
                </a:lnTo>
                <a:lnTo>
                  <a:pt x="61" y="648"/>
                </a:lnTo>
                <a:lnTo>
                  <a:pt x="62" y="650"/>
                </a:lnTo>
                <a:lnTo>
                  <a:pt x="64" y="651"/>
                </a:lnTo>
                <a:lnTo>
                  <a:pt x="64" y="651"/>
                </a:lnTo>
                <a:lnTo>
                  <a:pt x="64" y="653"/>
                </a:lnTo>
                <a:lnTo>
                  <a:pt x="64" y="654"/>
                </a:lnTo>
                <a:lnTo>
                  <a:pt x="61" y="654"/>
                </a:lnTo>
                <a:lnTo>
                  <a:pt x="56" y="654"/>
                </a:lnTo>
                <a:lnTo>
                  <a:pt x="54" y="654"/>
                </a:lnTo>
                <a:lnTo>
                  <a:pt x="54" y="654"/>
                </a:lnTo>
                <a:lnTo>
                  <a:pt x="52" y="657"/>
                </a:lnTo>
                <a:lnTo>
                  <a:pt x="49" y="657"/>
                </a:lnTo>
                <a:lnTo>
                  <a:pt x="47" y="658"/>
                </a:lnTo>
                <a:lnTo>
                  <a:pt x="44" y="657"/>
                </a:lnTo>
                <a:lnTo>
                  <a:pt x="44" y="657"/>
                </a:lnTo>
                <a:lnTo>
                  <a:pt x="42" y="656"/>
                </a:lnTo>
                <a:lnTo>
                  <a:pt x="39" y="657"/>
                </a:lnTo>
                <a:lnTo>
                  <a:pt x="37" y="658"/>
                </a:lnTo>
                <a:lnTo>
                  <a:pt x="35" y="663"/>
                </a:lnTo>
                <a:lnTo>
                  <a:pt x="35" y="663"/>
                </a:lnTo>
                <a:lnTo>
                  <a:pt x="34" y="666"/>
                </a:lnTo>
                <a:lnTo>
                  <a:pt x="32" y="667"/>
                </a:lnTo>
                <a:lnTo>
                  <a:pt x="32" y="667"/>
                </a:lnTo>
                <a:lnTo>
                  <a:pt x="35" y="668"/>
                </a:lnTo>
                <a:lnTo>
                  <a:pt x="35" y="668"/>
                </a:lnTo>
                <a:lnTo>
                  <a:pt x="38" y="668"/>
                </a:lnTo>
                <a:lnTo>
                  <a:pt x="39" y="668"/>
                </a:lnTo>
                <a:lnTo>
                  <a:pt x="42" y="666"/>
                </a:lnTo>
                <a:lnTo>
                  <a:pt x="45" y="664"/>
                </a:lnTo>
                <a:lnTo>
                  <a:pt x="47" y="663"/>
                </a:lnTo>
                <a:lnTo>
                  <a:pt x="51" y="663"/>
                </a:lnTo>
                <a:lnTo>
                  <a:pt x="51" y="663"/>
                </a:lnTo>
                <a:lnTo>
                  <a:pt x="56" y="661"/>
                </a:lnTo>
                <a:lnTo>
                  <a:pt x="62" y="658"/>
                </a:lnTo>
                <a:lnTo>
                  <a:pt x="65" y="657"/>
                </a:lnTo>
                <a:lnTo>
                  <a:pt x="68" y="657"/>
                </a:lnTo>
                <a:lnTo>
                  <a:pt x="68" y="658"/>
                </a:lnTo>
                <a:lnTo>
                  <a:pt x="68" y="658"/>
                </a:lnTo>
                <a:lnTo>
                  <a:pt x="69" y="661"/>
                </a:lnTo>
                <a:lnTo>
                  <a:pt x="68" y="663"/>
                </a:lnTo>
                <a:lnTo>
                  <a:pt x="65" y="666"/>
                </a:lnTo>
                <a:lnTo>
                  <a:pt x="61" y="667"/>
                </a:lnTo>
                <a:lnTo>
                  <a:pt x="56" y="666"/>
                </a:lnTo>
                <a:lnTo>
                  <a:pt x="56" y="666"/>
                </a:lnTo>
                <a:lnTo>
                  <a:pt x="54" y="664"/>
                </a:lnTo>
                <a:lnTo>
                  <a:pt x="51" y="667"/>
                </a:lnTo>
                <a:lnTo>
                  <a:pt x="49" y="670"/>
                </a:lnTo>
                <a:lnTo>
                  <a:pt x="48" y="674"/>
                </a:lnTo>
                <a:lnTo>
                  <a:pt x="48" y="674"/>
                </a:lnTo>
                <a:lnTo>
                  <a:pt x="48" y="675"/>
                </a:lnTo>
                <a:lnTo>
                  <a:pt x="47" y="675"/>
                </a:lnTo>
                <a:lnTo>
                  <a:pt x="42" y="675"/>
                </a:lnTo>
                <a:lnTo>
                  <a:pt x="31" y="671"/>
                </a:lnTo>
                <a:lnTo>
                  <a:pt x="31" y="671"/>
                </a:lnTo>
                <a:lnTo>
                  <a:pt x="28" y="673"/>
                </a:lnTo>
                <a:lnTo>
                  <a:pt x="28" y="674"/>
                </a:lnTo>
                <a:lnTo>
                  <a:pt x="29" y="678"/>
                </a:lnTo>
                <a:lnTo>
                  <a:pt x="32" y="683"/>
                </a:lnTo>
                <a:lnTo>
                  <a:pt x="32" y="683"/>
                </a:lnTo>
                <a:lnTo>
                  <a:pt x="37" y="684"/>
                </a:lnTo>
                <a:lnTo>
                  <a:pt x="39" y="684"/>
                </a:lnTo>
                <a:lnTo>
                  <a:pt x="42" y="684"/>
                </a:lnTo>
                <a:lnTo>
                  <a:pt x="47" y="685"/>
                </a:lnTo>
                <a:lnTo>
                  <a:pt x="47" y="685"/>
                </a:lnTo>
                <a:lnTo>
                  <a:pt x="52" y="690"/>
                </a:lnTo>
                <a:lnTo>
                  <a:pt x="55" y="691"/>
                </a:lnTo>
                <a:lnTo>
                  <a:pt x="56" y="690"/>
                </a:lnTo>
                <a:lnTo>
                  <a:pt x="56" y="690"/>
                </a:lnTo>
                <a:lnTo>
                  <a:pt x="59" y="687"/>
                </a:lnTo>
                <a:lnTo>
                  <a:pt x="58" y="685"/>
                </a:lnTo>
                <a:lnTo>
                  <a:pt x="54" y="684"/>
                </a:lnTo>
                <a:lnTo>
                  <a:pt x="54" y="684"/>
                </a:lnTo>
                <a:lnTo>
                  <a:pt x="54" y="683"/>
                </a:lnTo>
                <a:lnTo>
                  <a:pt x="54" y="680"/>
                </a:lnTo>
                <a:lnTo>
                  <a:pt x="56" y="678"/>
                </a:lnTo>
                <a:lnTo>
                  <a:pt x="61" y="680"/>
                </a:lnTo>
                <a:lnTo>
                  <a:pt x="61" y="680"/>
                </a:lnTo>
                <a:lnTo>
                  <a:pt x="65" y="680"/>
                </a:lnTo>
                <a:lnTo>
                  <a:pt x="71" y="678"/>
                </a:lnTo>
                <a:lnTo>
                  <a:pt x="74" y="674"/>
                </a:lnTo>
                <a:lnTo>
                  <a:pt x="74" y="668"/>
                </a:lnTo>
                <a:lnTo>
                  <a:pt x="74" y="668"/>
                </a:lnTo>
                <a:lnTo>
                  <a:pt x="72" y="666"/>
                </a:lnTo>
                <a:lnTo>
                  <a:pt x="74" y="663"/>
                </a:lnTo>
                <a:lnTo>
                  <a:pt x="76" y="658"/>
                </a:lnTo>
                <a:lnTo>
                  <a:pt x="81" y="656"/>
                </a:lnTo>
                <a:lnTo>
                  <a:pt x="88" y="653"/>
                </a:lnTo>
                <a:lnTo>
                  <a:pt x="88" y="653"/>
                </a:lnTo>
                <a:lnTo>
                  <a:pt x="91" y="653"/>
                </a:lnTo>
                <a:lnTo>
                  <a:pt x="92" y="654"/>
                </a:lnTo>
                <a:lnTo>
                  <a:pt x="92" y="656"/>
                </a:lnTo>
                <a:lnTo>
                  <a:pt x="89" y="658"/>
                </a:lnTo>
                <a:lnTo>
                  <a:pt x="85" y="661"/>
                </a:lnTo>
                <a:lnTo>
                  <a:pt x="85" y="661"/>
                </a:lnTo>
                <a:lnTo>
                  <a:pt x="82" y="663"/>
                </a:lnTo>
                <a:lnTo>
                  <a:pt x="79" y="664"/>
                </a:lnTo>
                <a:lnTo>
                  <a:pt x="81" y="667"/>
                </a:lnTo>
                <a:lnTo>
                  <a:pt x="82" y="670"/>
                </a:lnTo>
                <a:lnTo>
                  <a:pt x="82" y="670"/>
                </a:lnTo>
                <a:lnTo>
                  <a:pt x="85" y="671"/>
                </a:lnTo>
                <a:lnTo>
                  <a:pt x="86" y="671"/>
                </a:lnTo>
                <a:lnTo>
                  <a:pt x="91" y="671"/>
                </a:lnTo>
                <a:lnTo>
                  <a:pt x="93" y="670"/>
                </a:lnTo>
                <a:lnTo>
                  <a:pt x="96" y="670"/>
                </a:lnTo>
                <a:lnTo>
                  <a:pt x="98" y="671"/>
                </a:lnTo>
                <a:lnTo>
                  <a:pt x="98" y="671"/>
                </a:lnTo>
                <a:lnTo>
                  <a:pt x="98" y="673"/>
                </a:lnTo>
                <a:lnTo>
                  <a:pt x="98" y="673"/>
                </a:lnTo>
                <a:lnTo>
                  <a:pt x="95" y="674"/>
                </a:lnTo>
                <a:lnTo>
                  <a:pt x="91" y="675"/>
                </a:lnTo>
                <a:lnTo>
                  <a:pt x="88" y="678"/>
                </a:lnTo>
                <a:lnTo>
                  <a:pt x="88" y="678"/>
                </a:lnTo>
                <a:lnTo>
                  <a:pt x="88" y="681"/>
                </a:lnTo>
                <a:lnTo>
                  <a:pt x="91" y="684"/>
                </a:lnTo>
                <a:lnTo>
                  <a:pt x="91" y="687"/>
                </a:lnTo>
                <a:lnTo>
                  <a:pt x="91" y="688"/>
                </a:lnTo>
                <a:lnTo>
                  <a:pt x="89" y="690"/>
                </a:lnTo>
                <a:lnTo>
                  <a:pt x="89" y="690"/>
                </a:lnTo>
                <a:lnTo>
                  <a:pt x="88" y="690"/>
                </a:lnTo>
                <a:lnTo>
                  <a:pt x="86" y="688"/>
                </a:lnTo>
                <a:lnTo>
                  <a:pt x="85" y="684"/>
                </a:lnTo>
                <a:lnTo>
                  <a:pt x="84" y="680"/>
                </a:lnTo>
                <a:lnTo>
                  <a:pt x="84" y="677"/>
                </a:lnTo>
                <a:lnTo>
                  <a:pt x="82" y="675"/>
                </a:lnTo>
                <a:lnTo>
                  <a:pt x="82" y="675"/>
                </a:lnTo>
                <a:lnTo>
                  <a:pt x="79" y="675"/>
                </a:lnTo>
                <a:lnTo>
                  <a:pt x="78" y="677"/>
                </a:lnTo>
                <a:lnTo>
                  <a:pt x="78" y="681"/>
                </a:lnTo>
                <a:lnTo>
                  <a:pt x="79" y="685"/>
                </a:lnTo>
                <a:lnTo>
                  <a:pt x="79" y="685"/>
                </a:lnTo>
                <a:lnTo>
                  <a:pt x="79" y="690"/>
                </a:lnTo>
                <a:lnTo>
                  <a:pt x="78" y="690"/>
                </a:lnTo>
                <a:lnTo>
                  <a:pt x="71" y="683"/>
                </a:lnTo>
                <a:lnTo>
                  <a:pt x="71" y="683"/>
                </a:lnTo>
                <a:lnTo>
                  <a:pt x="68" y="683"/>
                </a:lnTo>
                <a:lnTo>
                  <a:pt x="66" y="683"/>
                </a:lnTo>
                <a:lnTo>
                  <a:pt x="65" y="685"/>
                </a:lnTo>
                <a:lnTo>
                  <a:pt x="66" y="690"/>
                </a:lnTo>
                <a:lnTo>
                  <a:pt x="66" y="690"/>
                </a:lnTo>
                <a:lnTo>
                  <a:pt x="68" y="691"/>
                </a:lnTo>
                <a:lnTo>
                  <a:pt x="68" y="691"/>
                </a:lnTo>
                <a:lnTo>
                  <a:pt x="65" y="691"/>
                </a:lnTo>
                <a:lnTo>
                  <a:pt x="61" y="693"/>
                </a:lnTo>
                <a:lnTo>
                  <a:pt x="59" y="694"/>
                </a:lnTo>
                <a:lnTo>
                  <a:pt x="59" y="695"/>
                </a:lnTo>
                <a:lnTo>
                  <a:pt x="59" y="695"/>
                </a:lnTo>
                <a:lnTo>
                  <a:pt x="59" y="698"/>
                </a:lnTo>
                <a:lnTo>
                  <a:pt x="62" y="698"/>
                </a:lnTo>
                <a:lnTo>
                  <a:pt x="66" y="698"/>
                </a:lnTo>
                <a:lnTo>
                  <a:pt x="71" y="698"/>
                </a:lnTo>
                <a:lnTo>
                  <a:pt x="71" y="698"/>
                </a:lnTo>
                <a:lnTo>
                  <a:pt x="72" y="700"/>
                </a:lnTo>
                <a:lnTo>
                  <a:pt x="74" y="701"/>
                </a:lnTo>
                <a:lnTo>
                  <a:pt x="75" y="704"/>
                </a:lnTo>
                <a:lnTo>
                  <a:pt x="76" y="708"/>
                </a:lnTo>
                <a:lnTo>
                  <a:pt x="79" y="712"/>
                </a:lnTo>
                <a:lnTo>
                  <a:pt x="79" y="712"/>
                </a:lnTo>
                <a:lnTo>
                  <a:pt x="81" y="712"/>
                </a:lnTo>
                <a:lnTo>
                  <a:pt x="81" y="712"/>
                </a:lnTo>
                <a:lnTo>
                  <a:pt x="82" y="708"/>
                </a:lnTo>
                <a:lnTo>
                  <a:pt x="82" y="703"/>
                </a:lnTo>
                <a:lnTo>
                  <a:pt x="84" y="701"/>
                </a:lnTo>
                <a:lnTo>
                  <a:pt x="85" y="700"/>
                </a:lnTo>
                <a:lnTo>
                  <a:pt x="85" y="700"/>
                </a:lnTo>
                <a:lnTo>
                  <a:pt x="86" y="700"/>
                </a:lnTo>
                <a:lnTo>
                  <a:pt x="86" y="701"/>
                </a:lnTo>
                <a:lnTo>
                  <a:pt x="88" y="705"/>
                </a:lnTo>
                <a:lnTo>
                  <a:pt x="91" y="711"/>
                </a:lnTo>
                <a:lnTo>
                  <a:pt x="92" y="712"/>
                </a:lnTo>
                <a:lnTo>
                  <a:pt x="96" y="715"/>
                </a:lnTo>
                <a:lnTo>
                  <a:pt x="96" y="715"/>
                </a:lnTo>
                <a:lnTo>
                  <a:pt x="101" y="715"/>
                </a:lnTo>
                <a:lnTo>
                  <a:pt x="101" y="715"/>
                </a:lnTo>
                <a:lnTo>
                  <a:pt x="101" y="715"/>
                </a:lnTo>
                <a:lnTo>
                  <a:pt x="101" y="712"/>
                </a:lnTo>
                <a:lnTo>
                  <a:pt x="101" y="711"/>
                </a:lnTo>
                <a:lnTo>
                  <a:pt x="102" y="710"/>
                </a:lnTo>
                <a:lnTo>
                  <a:pt x="102" y="710"/>
                </a:lnTo>
                <a:lnTo>
                  <a:pt x="103" y="708"/>
                </a:lnTo>
                <a:lnTo>
                  <a:pt x="105" y="710"/>
                </a:lnTo>
                <a:lnTo>
                  <a:pt x="109" y="714"/>
                </a:lnTo>
                <a:lnTo>
                  <a:pt x="113" y="718"/>
                </a:lnTo>
                <a:lnTo>
                  <a:pt x="118" y="721"/>
                </a:lnTo>
                <a:lnTo>
                  <a:pt x="118" y="721"/>
                </a:lnTo>
                <a:lnTo>
                  <a:pt x="119" y="721"/>
                </a:lnTo>
                <a:lnTo>
                  <a:pt x="121" y="721"/>
                </a:lnTo>
                <a:lnTo>
                  <a:pt x="121" y="718"/>
                </a:lnTo>
                <a:lnTo>
                  <a:pt x="119" y="714"/>
                </a:lnTo>
                <a:lnTo>
                  <a:pt x="116" y="711"/>
                </a:lnTo>
                <a:lnTo>
                  <a:pt x="116" y="711"/>
                </a:lnTo>
                <a:lnTo>
                  <a:pt x="115" y="708"/>
                </a:lnTo>
                <a:lnTo>
                  <a:pt x="118" y="708"/>
                </a:lnTo>
                <a:lnTo>
                  <a:pt x="125" y="711"/>
                </a:lnTo>
                <a:lnTo>
                  <a:pt x="125" y="711"/>
                </a:lnTo>
                <a:lnTo>
                  <a:pt x="132" y="712"/>
                </a:lnTo>
                <a:lnTo>
                  <a:pt x="135" y="711"/>
                </a:lnTo>
                <a:lnTo>
                  <a:pt x="136" y="710"/>
                </a:lnTo>
                <a:lnTo>
                  <a:pt x="136" y="710"/>
                </a:lnTo>
                <a:lnTo>
                  <a:pt x="138" y="708"/>
                </a:lnTo>
                <a:lnTo>
                  <a:pt x="139" y="708"/>
                </a:lnTo>
                <a:lnTo>
                  <a:pt x="139" y="708"/>
                </a:lnTo>
                <a:lnTo>
                  <a:pt x="132" y="707"/>
                </a:lnTo>
                <a:lnTo>
                  <a:pt x="123" y="707"/>
                </a:lnTo>
                <a:lnTo>
                  <a:pt x="112" y="707"/>
                </a:lnTo>
                <a:lnTo>
                  <a:pt x="112" y="707"/>
                </a:lnTo>
                <a:lnTo>
                  <a:pt x="111" y="705"/>
                </a:lnTo>
                <a:lnTo>
                  <a:pt x="111" y="700"/>
                </a:lnTo>
                <a:lnTo>
                  <a:pt x="111" y="684"/>
                </a:lnTo>
                <a:lnTo>
                  <a:pt x="112" y="654"/>
                </a:lnTo>
                <a:lnTo>
                  <a:pt x="112" y="654"/>
                </a:lnTo>
                <a:lnTo>
                  <a:pt x="111" y="654"/>
                </a:lnTo>
                <a:lnTo>
                  <a:pt x="111" y="654"/>
                </a:lnTo>
                <a:lnTo>
                  <a:pt x="102" y="653"/>
                </a:lnTo>
                <a:lnTo>
                  <a:pt x="98" y="651"/>
                </a:lnTo>
                <a:lnTo>
                  <a:pt x="98" y="650"/>
                </a:lnTo>
                <a:lnTo>
                  <a:pt x="98" y="647"/>
                </a:lnTo>
                <a:lnTo>
                  <a:pt x="98" y="647"/>
                </a:lnTo>
                <a:lnTo>
                  <a:pt x="99" y="646"/>
                </a:lnTo>
                <a:lnTo>
                  <a:pt x="99" y="646"/>
                </a:lnTo>
                <a:lnTo>
                  <a:pt x="95" y="643"/>
                </a:lnTo>
                <a:lnTo>
                  <a:pt x="91" y="640"/>
                </a:lnTo>
                <a:lnTo>
                  <a:pt x="91" y="640"/>
                </a:lnTo>
                <a:lnTo>
                  <a:pt x="84" y="640"/>
                </a:lnTo>
                <a:lnTo>
                  <a:pt x="75" y="640"/>
                </a:lnTo>
                <a:lnTo>
                  <a:pt x="62" y="641"/>
                </a:lnTo>
                <a:lnTo>
                  <a:pt x="62" y="641"/>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09" name="Freeform 296">
            <a:extLst>
              <a:ext uri="{FF2B5EF4-FFF2-40B4-BE49-F238E27FC236}">
                <a16:creationId xmlns:a16="http://schemas.microsoft.com/office/drawing/2014/main" id="{F33CEFF1-3782-3E60-D0DE-D937233DB2B8}"/>
              </a:ext>
            </a:extLst>
          </p:cNvPr>
          <p:cNvSpPr>
            <a:spLocks/>
          </p:cNvSpPr>
          <p:nvPr userDrawn="1"/>
        </p:nvSpPr>
        <p:spPr bwMode="gray">
          <a:xfrm>
            <a:off x="3029596" y="3760812"/>
            <a:ext cx="179470" cy="182071"/>
          </a:xfrm>
          <a:custGeom>
            <a:avLst/>
            <a:gdLst/>
            <a:ahLst/>
            <a:cxnLst>
              <a:cxn ang="0">
                <a:pos x="137" y="76"/>
              </a:cxn>
              <a:cxn ang="0">
                <a:pos x="128" y="78"/>
              </a:cxn>
              <a:cxn ang="0">
                <a:pos x="123" y="79"/>
              </a:cxn>
              <a:cxn ang="0">
                <a:pos x="118" y="72"/>
              </a:cxn>
              <a:cxn ang="0">
                <a:pos x="116" y="62"/>
              </a:cxn>
              <a:cxn ang="0">
                <a:pos x="110" y="52"/>
              </a:cxn>
              <a:cxn ang="0">
                <a:pos x="106" y="48"/>
              </a:cxn>
              <a:cxn ang="0">
                <a:pos x="104" y="48"/>
              </a:cxn>
              <a:cxn ang="0">
                <a:pos x="100" y="49"/>
              </a:cxn>
              <a:cxn ang="0">
                <a:pos x="90" y="47"/>
              </a:cxn>
              <a:cxn ang="0">
                <a:pos x="84" y="47"/>
              </a:cxn>
              <a:cxn ang="0">
                <a:pos x="80" y="41"/>
              </a:cxn>
              <a:cxn ang="0">
                <a:pos x="81" y="34"/>
              </a:cxn>
              <a:cxn ang="0">
                <a:pos x="81" y="27"/>
              </a:cxn>
              <a:cxn ang="0">
                <a:pos x="79" y="17"/>
              </a:cxn>
              <a:cxn ang="0">
                <a:pos x="79" y="14"/>
              </a:cxn>
              <a:cxn ang="0">
                <a:pos x="80" y="12"/>
              </a:cxn>
              <a:cxn ang="0">
                <a:pos x="79" y="5"/>
              </a:cxn>
              <a:cxn ang="0">
                <a:pos x="76" y="7"/>
              </a:cxn>
              <a:cxn ang="0">
                <a:pos x="73" y="5"/>
              </a:cxn>
              <a:cxn ang="0">
                <a:pos x="64" y="1"/>
              </a:cxn>
              <a:cxn ang="0">
                <a:pos x="60" y="0"/>
              </a:cxn>
              <a:cxn ang="0">
                <a:pos x="46" y="1"/>
              </a:cxn>
              <a:cxn ang="0">
                <a:pos x="42" y="2"/>
              </a:cxn>
              <a:cxn ang="0">
                <a:pos x="33" y="2"/>
              </a:cxn>
              <a:cxn ang="0">
                <a:pos x="23" y="5"/>
              </a:cxn>
              <a:cxn ang="0">
                <a:pos x="15" y="12"/>
              </a:cxn>
              <a:cxn ang="0">
                <a:pos x="10" y="21"/>
              </a:cxn>
              <a:cxn ang="0">
                <a:pos x="9" y="34"/>
              </a:cxn>
              <a:cxn ang="0">
                <a:pos x="6" y="45"/>
              </a:cxn>
              <a:cxn ang="0">
                <a:pos x="0" y="45"/>
              </a:cxn>
              <a:cxn ang="0">
                <a:pos x="5" y="51"/>
              </a:cxn>
              <a:cxn ang="0">
                <a:pos x="16" y="64"/>
              </a:cxn>
              <a:cxn ang="0">
                <a:pos x="22" y="68"/>
              </a:cxn>
              <a:cxn ang="0">
                <a:pos x="30" y="75"/>
              </a:cxn>
              <a:cxn ang="0">
                <a:pos x="40" y="79"/>
              </a:cxn>
              <a:cxn ang="0">
                <a:pos x="46" y="79"/>
              </a:cxn>
              <a:cxn ang="0">
                <a:pos x="54" y="85"/>
              </a:cxn>
              <a:cxn ang="0">
                <a:pos x="57" y="88"/>
              </a:cxn>
              <a:cxn ang="0">
                <a:pos x="73" y="96"/>
              </a:cxn>
              <a:cxn ang="0">
                <a:pos x="87" y="103"/>
              </a:cxn>
              <a:cxn ang="0">
                <a:pos x="87" y="105"/>
              </a:cxn>
              <a:cxn ang="0">
                <a:pos x="81" y="112"/>
              </a:cxn>
              <a:cxn ang="0">
                <a:pos x="76" y="121"/>
              </a:cxn>
              <a:cxn ang="0">
                <a:pos x="76" y="125"/>
              </a:cxn>
              <a:cxn ang="0">
                <a:pos x="73" y="132"/>
              </a:cxn>
              <a:cxn ang="0">
                <a:pos x="70" y="135"/>
              </a:cxn>
              <a:cxn ang="0">
                <a:pos x="71" y="136"/>
              </a:cxn>
              <a:cxn ang="0">
                <a:pos x="81" y="138"/>
              </a:cxn>
              <a:cxn ang="0">
                <a:pos x="84" y="139"/>
              </a:cxn>
              <a:cxn ang="0">
                <a:pos x="91" y="139"/>
              </a:cxn>
              <a:cxn ang="0">
                <a:pos x="100" y="140"/>
              </a:cxn>
              <a:cxn ang="0">
                <a:pos x="104" y="140"/>
              </a:cxn>
              <a:cxn ang="0">
                <a:pos x="111" y="138"/>
              </a:cxn>
              <a:cxn ang="0">
                <a:pos x="114" y="138"/>
              </a:cxn>
              <a:cxn ang="0">
                <a:pos x="120" y="133"/>
              </a:cxn>
              <a:cxn ang="0">
                <a:pos x="127" y="131"/>
              </a:cxn>
              <a:cxn ang="0">
                <a:pos x="128" y="131"/>
              </a:cxn>
              <a:cxn ang="0">
                <a:pos x="133" y="122"/>
              </a:cxn>
              <a:cxn ang="0">
                <a:pos x="134" y="108"/>
              </a:cxn>
              <a:cxn ang="0">
                <a:pos x="135" y="101"/>
              </a:cxn>
              <a:cxn ang="0">
                <a:pos x="138" y="82"/>
              </a:cxn>
              <a:cxn ang="0">
                <a:pos x="137" y="76"/>
              </a:cxn>
            </a:cxnLst>
            <a:rect l="0" t="0" r="r" b="b"/>
            <a:pathLst>
              <a:path w="138" h="140">
                <a:moveTo>
                  <a:pt x="137" y="76"/>
                </a:moveTo>
                <a:lnTo>
                  <a:pt x="137" y="76"/>
                </a:lnTo>
                <a:lnTo>
                  <a:pt x="133" y="76"/>
                </a:lnTo>
                <a:lnTo>
                  <a:pt x="128" y="78"/>
                </a:lnTo>
                <a:lnTo>
                  <a:pt x="123" y="79"/>
                </a:lnTo>
                <a:lnTo>
                  <a:pt x="123" y="79"/>
                </a:lnTo>
                <a:lnTo>
                  <a:pt x="121" y="78"/>
                </a:lnTo>
                <a:lnTo>
                  <a:pt x="118" y="72"/>
                </a:lnTo>
                <a:lnTo>
                  <a:pt x="116" y="62"/>
                </a:lnTo>
                <a:lnTo>
                  <a:pt x="116" y="62"/>
                </a:lnTo>
                <a:lnTo>
                  <a:pt x="113" y="57"/>
                </a:lnTo>
                <a:lnTo>
                  <a:pt x="110" y="52"/>
                </a:lnTo>
                <a:lnTo>
                  <a:pt x="107" y="49"/>
                </a:lnTo>
                <a:lnTo>
                  <a:pt x="106" y="48"/>
                </a:lnTo>
                <a:lnTo>
                  <a:pt x="104" y="48"/>
                </a:lnTo>
                <a:lnTo>
                  <a:pt x="104" y="48"/>
                </a:lnTo>
                <a:lnTo>
                  <a:pt x="101" y="49"/>
                </a:lnTo>
                <a:lnTo>
                  <a:pt x="100" y="49"/>
                </a:lnTo>
                <a:lnTo>
                  <a:pt x="96" y="48"/>
                </a:lnTo>
                <a:lnTo>
                  <a:pt x="90" y="47"/>
                </a:lnTo>
                <a:lnTo>
                  <a:pt x="90" y="47"/>
                </a:lnTo>
                <a:lnTo>
                  <a:pt x="84" y="47"/>
                </a:lnTo>
                <a:lnTo>
                  <a:pt x="81" y="44"/>
                </a:lnTo>
                <a:lnTo>
                  <a:pt x="80" y="41"/>
                </a:lnTo>
                <a:lnTo>
                  <a:pt x="81" y="34"/>
                </a:lnTo>
                <a:lnTo>
                  <a:pt x="81" y="34"/>
                </a:lnTo>
                <a:lnTo>
                  <a:pt x="83" y="30"/>
                </a:lnTo>
                <a:lnTo>
                  <a:pt x="81" y="27"/>
                </a:lnTo>
                <a:lnTo>
                  <a:pt x="80" y="21"/>
                </a:lnTo>
                <a:lnTo>
                  <a:pt x="79" y="17"/>
                </a:lnTo>
                <a:lnTo>
                  <a:pt x="79" y="15"/>
                </a:lnTo>
                <a:lnTo>
                  <a:pt x="79" y="14"/>
                </a:lnTo>
                <a:lnTo>
                  <a:pt x="79" y="14"/>
                </a:lnTo>
                <a:lnTo>
                  <a:pt x="80" y="12"/>
                </a:lnTo>
                <a:lnTo>
                  <a:pt x="81" y="11"/>
                </a:lnTo>
                <a:lnTo>
                  <a:pt x="79" y="5"/>
                </a:lnTo>
                <a:lnTo>
                  <a:pt x="79" y="5"/>
                </a:lnTo>
                <a:lnTo>
                  <a:pt x="76" y="7"/>
                </a:lnTo>
                <a:lnTo>
                  <a:pt x="76" y="7"/>
                </a:lnTo>
                <a:lnTo>
                  <a:pt x="73" y="5"/>
                </a:lnTo>
                <a:lnTo>
                  <a:pt x="69" y="4"/>
                </a:lnTo>
                <a:lnTo>
                  <a:pt x="64" y="1"/>
                </a:lnTo>
                <a:lnTo>
                  <a:pt x="60" y="0"/>
                </a:lnTo>
                <a:lnTo>
                  <a:pt x="60" y="0"/>
                </a:lnTo>
                <a:lnTo>
                  <a:pt x="50" y="0"/>
                </a:lnTo>
                <a:lnTo>
                  <a:pt x="46" y="1"/>
                </a:lnTo>
                <a:lnTo>
                  <a:pt x="42" y="2"/>
                </a:lnTo>
                <a:lnTo>
                  <a:pt x="42" y="2"/>
                </a:lnTo>
                <a:lnTo>
                  <a:pt x="37" y="2"/>
                </a:lnTo>
                <a:lnTo>
                  <a:pt x="33" y="2"/>
                </a:lnTo>
                <a:lnTo>
                  <a:pt x="27" y="4"/>
                </a:lnTo>
                <a:lnTo>
                  <a:pt x="23" y="5"/>
                </a:lnTo>
                <a:lnTo>
                  <a:pt x="23" y="5"/>
                </a:lnTo>
                <a:lnTo>
                  <a:pt x="15" y="12"/>
                </a:lnTo>
                <a:lnTo>
                  <a:pt x="10" y="17"/>
                </a:lnTo>
                <a:lnTo>
                  <a:pt x="10" y="21"/>
                </a:lnTo>
                <a:lnTo>
                  <a:pt x="10" y="21"/>
                </a:lnTo>
                <a:lnTo>
                  <a:pt x="9" y="34"/>
                </a:lnTo>
                <a:lnTo>
                  <a:pt x="7" y="41"/>
                </a:lnTo>
                <a:lnTo>
                  <a:pt x="6" y="45"/>
                </a:lnTo>
                <a:lnTo>
                  <a:pt x="6" y="45"/>
                </a:lnTo>
                <a:lnTo>
                  <a:pt x="0" y="45"/>
                </a:lnTo>
                <a:lnTo>
                  <a:pt x="0" y="45"/>
                </a:lnTo>
                <a:lnTo>
                  <a:pt x="5" y="51"/>
                </a:lnTo>
                <a:lnTo>
                  <a:pt x="10" y="57"/>
                </a:lnTo>
                <a:lnTo>
                  <a:pt x="16" y="64"/>
                </a:lnTo>
                <a:lnTo>
                  <a:pt x="22" y="68"/>
                </a:lnTo>
                <a:lnTo>
                  <a:pt x="22" y="68"/>
                </a:lnTo>
                <a:lnTo>
                  <a:pt x="27" y="72"/>
                </a:lnTo>
                <a:lnTo>
                  <a:pt x="30" y="75"/>
                </a:lnTo>
                <a:lnTo>
                  <a:pt x="34" y="78"/>
                </a:lnTo>
                <a:lnTo>
                  <a:pt x="40" y="79"/>
                </a:lnTo>
                <a:lnTo>
                  <a:pt x="40" y="79"/>
                </a:lnTo>
                <a:lnTo>
                  <a:pt x="46" y="79"/>
                </a:lnTo>
                <a:lnTo>
                  <a:pt x="51" y="82"/>
                </a:lnTo>
                <a:lnTo>
                  <a:pt x="54" y="85"/>
                </a:lnTo>
                <a:lnTo>
                  <a:pt x="57" y="88"/>
                </a:lnTo>
                <a:lnTo>
                  <a:pt x="57" y="88"/>
                </a:lnTo>
                <a:lnTo>
                  <a:pt x="63" y="92"/>
                </a:lnTo>
                <a:lnTo>
                  <a:pt x="73" y="96"/>
                </a:lnTo>
                <a:lnTo>
                  <a:pt x="83" y="99"/>
                </a:lnTo>
                <a:lnTo>
                  <a:pt x="87" y="103"/>
                </a:lnTo>
                <a:lnTo>
                  <a:pt x="87" y="103"/>
                </a:lnTo>
                <a:lnTo>
                  <a:pt x="87" y="105"/>
                </a:lnTo>
                <a:lnTo>
                  <a:pt x="87" y="106"/>
                </a:lnTo>
                <a:lnTo>
                  <a:pt x="81" y="112"/>
                </a:lnTo>
                <a:lnTo>
                  <a:pt x="77" y="118"/>
                </a:lnTo>
                <a:lnTo>
                  <a:pt x="76" y="121"/>
                </a:lnTo>
                <a:lnTo>
                  <a:pt x="76" y="125"/>
                </a:lnTo>
                <a:lnTo>
                  <a:pt x="76" y="125"/>
                </a:lnTo>
                <a:lnTo>
                  <a:pt x="74" y="129"/>
                </a:lnTo>
                <a:lnTo>
                  <a:pt x="73" y="132"/>
                </a:lnTo>
                <a:lnTo>
                  <a:pt x="70" y="133"/>
                </a:lnTo>
                <a:lnTo>
                  <a:pt x="70" y="135"/>
                </a:lnTo>
                <a:lnTo>
                  <a:pt x="70" y="135"/>
                </a:lnTo>
                <a:lnTo>
                  <a:pt x="71" y="136"/>
                </a:lnTo>
                <a:lnTo>
                  <a:pt x="76" y="138"/>
                </a:lnTo>
                <a:lnTo>
                  <a:pt x="81" y="138"/>
                </a:lnTo>
                <a:lnTo>
                  <a:pt x="84" y="139"/>
                </a:lnTo>
                <a:lnTo>
                  <a:pt x="84" y="139"/>
                </a:lnTo>
                <a:lnTo>
                  <a:pt x="88" y="139"/>
                </a:lnTo>
                <a:lnTo>
                  <a:pt x="91" y="139"/>
                </a:lnTo>
                <a:lnTo>
                  <a:pt x="96" y="139"/>
                </a:lnTo>
                <a:lnTo>
                  <a:pt x="100" y="140"/>
                </a:lnTo>
                <a:lnTo>
                  <a:pt x="100" y="140"/>
                </a:lnTo>
                <a:lnTo>
                  <a:pt x="104" y="140"/>
                </a:lnTo>
                <a:lnTo>
                  <a:pt x="107" y="139"/>
                </a:lnTo>
                <a:lnTo>
                  <a:pt x="111" y="138"/>
                </a:lnTo>
                <a:lnTo>
                  <a:pt x="114" y="138"/>
                </a:lnTo>
                <a:lnTo>
                  <a:pt x="114" y="138"/>
                </a:lnTo>
                <a:lnTo>
                  <a:pt x="117" y="136"/>
                </a:lnTo>
                <a:lnTo>
                  <a:pt x="120" y="133"/>
                </a:lnTo>
                <a:lnTo>
                  <a:pt x="123" y="132"/>
                </a:lnTo>
                <a:lnTo>
                  <a:pt x="127" y="131"/>
                </a:lnTo>
                <a:lnTo>
                  <a:pt x="127" y="131"/>
                </a:lnTo>
                <a:lnTo>
                  <a:pt x="128" y="131"/>
                </a:lnTo>
                <a:lnTo>
                  <a:pt x="130" y="128"/>
                </a:lnTo>
                <a:lnTo>
                  <a:pt x="133" y="122"/>
                </a:lnTo>
                <a:lnTo>
                  <a:pt x="134" y="113"/>
                </a:lnTo>
                <a:lnTo>
                  <a:pt x="134" y="108"/>
                </a:lnTo>
                <a:lnTo>
                  <a:pt x="134" y="108"/>
                </a:lnTo>
                <a:lnTo>
                  <a:pt x="135" y="101"/>
                </a:lnTo>
                <a:lnTo>
                  <a:pt x="137" y="91"/>
                </a:lnTo>
                <a:lnTo>
                  <a:pt x="138" y="82"/>
                </a:lnTo>
                <a:lnTo>
                  <a:pt x="138" y="79"/>
                </a:lnTo>
                <a:lnTo>
                  <a:pt x="137" y="76"/>
                </a:lnTo>
                <a:lnTo>
                  <a:pt x="137" y="76"/>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10" name="Freeform 297">
            <a:extLst>
              <a:ext uri="{FF2B5EF4-FFF2-40B4-BE49-F238E27FC236}">
                <a16:creationId xmlns:a16="http://schemas.microsoft.com/office/drawing/2014/main" id="{88E52DE0-EC99-8215-A891-C49F2AE8C852}"/>
              </a:ext>
            </a:extLst>
          </p:cNvPr>
          <p:cNvSpPr>
            <a:spLocks/>
          </p:cNvSpPr>
          <p:nvPr userDrawn="1"/>
        </p:nvSpPr>
        <p:spPr bwMode="gray">
          <a:xfrm>
            <a:off x="2547107" y="3114459"/>
            <a:ext cx="66327" cy="57223"/>
          </a:xfrm>
          <a:custGeom>
            <a:avLst/>
            <a:gdLst/>
            <a:ahLst/>
            <a:cxnLst>
              <a:cxn ang="0">
                <a:pos x="48" y="34"/>
              </a:cxn>
              <a:cxn ang="0">
                <a:pos x="48" y="34"/>
              </a:cxn>
              <a:cxn ang="0">
                <a:pos x="48" y="30"/>
              </a:cxn>
              <a:cxn ang="0">
                <a:pos x="51" y="24"/>
              </a:cxn>
              <a:cxn ang="0">
                <a:pos x="51" y="24"/>
              </a:cxn>
              <a:cxn ang="0">
                <a:pos x="43" y="14"/>
              </a:cxn>
              <a:cxn ang="0">
                <a:pos x="36" y="4"/>
              </a:cxn>
              <a:cxn ang="0">
                <a:pos x="36" y="4"/>
              </a:cxn>
              <a:cxn ang="0">
                <a:pos x="31" y="4"/>
              </a:cxn>
              <a:cxn ang="0">
                <a:pos x="27" y="4"/>
              </a:cxn>
              <a:cxn ang="0">
                <a:pos x="27" y="4"/>
              </a:cxn>
              <a:cxn ang="0">
                <a:pos x="24" y="3"/>
              </a:cxn>
              <a:cxn ang="0">
                <a:pos x="20" y="3"/>
              </a:cxn>
              <a:cxn ang="0">
                <a:pos x="16" y="2"/>
              </a:cxn>
              <a:cxn ang="0">
                <a:pos x="11" y="2"/>
              </a:cxn>
              <a:cxn ang="0">
                <a:pos x="11" y="2"/>
              </a:cxn>
              <a:cxn ang="0">
                <a:pos x="7" y="0"/>
              </a:cxn>
              <a:cxn ang="0">
                <a:pos x="3" y="0"/>
              </a:cxn>
              <a:cxn ang="0">
                <a:pos x="3" y="0"/>
              </a:cxn>
              <a:cxn ang="0">
                <a:pos x="3" y="4"/>
              </a:cxn>
              <a:cxn ang="0">
                <a:pos x="1" y="7"/>
              </a:cxn>
              <a:cxn ang="0">
                <a:pos x="1" y="7"/>
              </a:cxn>
              <a:cxn ang="0">
                <a:pos x="0" y="10"/>
              </a:cxn>
              <a:cxn ang="0">
                <a:pos x="0" y="14"/>
              </a:cxn>
              <a:cxn ang="0">
                <a:pos x="1" y="17"/>
              </a:cxn>
              <a:cxn ang="0">
                <a:pos x="6" y="21"/>
              </a:cxn>
              <a:cxn ang="0">
                <a:pos x="6" y="21"/>
              </a:cxn>
              <a:cxn ang="0">
                <a:pos x="10" y="21"/>
              </a:cxn>
              <a:cxn ang="0">
                <a:pos x="11" y="21"/>
              </a:cxn>
              <a:cxn ang="0">
                <a:pos x="13" y="20"/>
              </a:cxn>
              <a:cxn ang="0">
                <a:pos x="16" y="19"/>
              </a:cxn>
              <a:cxn ang="0">
                <a:pos x="16" y="19"/>
              </a:cxn>
              <a:cxn ang="0">
                <a:pos x="17" y="20"/>
              </a:cxn>
              <a:cxn ang="0">
                <a:pos x="18" y="23"/>
              </a:cxn>
              <a:cxn ang="0">
                <a:pos x="20" y="24"/>
              </a:cxn>
              <a:cxn ang="0">
                <a:pos x="23" y="26"/>
              </a:cxn>
              <a:cxn ang="0">
                <a:pos x="23" y="26"/>
              </a:cxn>
              <a:cxn ang="0">
                <a:pos x="26" y="26"/>
              </a:cxn>
              <a:cxn ang="0">
                <a:pos x="30" y="29"/>
              </a:cxn>
              <a:cxn ang="0">
                <a:pos x="33" y="31"/>
              </a:cxn>
              <a:cxn ang="0">
                <a:pos x="34" y="36"/>
              </a:cxn>
              <a:cxn ang="0">
                <a:pos x="34" y="36"/>
              </a:cxn>
              <a:cxn ang="0">
                <a:pos x="34" y="39"/>
              </a:cxn>
              <a:cxn ang="0">
                <a:pos x="36" y="41"/>
              </a:cxn>
              <a:cxn ang="0">
                <a:pos x="38" y="43"/>
              </a:cxn>
              <a:cxn ang="0">
                <a:pos x="43" y="43"/>
              </a:cxn>
              <a:cxn ang="0">
                <a:pos x="43" y="43"/>
              </a:cxn>
              <a:cxn ang="0">
                <a:pos x="47" y="44"/>
              </a:cxn>
              <a:cxn ang="0">
                <a:pos x="47" y="44"/>
              </a:cxn>
              <a:cxn ang="0">
                <a:pos x="48" y="39"/>
              </a:cxn>
              <a:cxn ang="0">
                <a:pos x="48" y="34"/>
              </a:cxn>
              <a:cxn ang="0">
                <a:pos x="48" y="34"/>
              </a:cxn>
            </a:cxnLst>
            <a:rect l="0" t="0" r="r" b="b"/>
            <a:pathLst>
              <a:path w="51" h="44">
                <a:moveTo>
                  <a:pt x="48" y="34"/>
                </a:moveTo>
                <a:lnTo>
                  <a:pt x="48" y="34"/>
                </a:lnTo>
                <a:lnTo>
                  <a:pt x="48" y="30"/>
                </a:lnTo>
                <a:lnTo>
                  <a:pt x="51" y="24"/>
                </a:lnTo>
                <a:lnTo>
                  <a:pt x="51" y="24"/>
                </a:lnTo>
                <a:lnTo>
                  <a:pt x="43" y="14"/>
                </a:lnTo>
                <a:lnTo>
                  <a:pt x="36" y="4"/>
                </a:lnTo>
                <a:lnTo>
                  <a:pt x="36" y="4"/>
                </a:lnTo>
                <a:lnTo>
                  <a:pt x="31" y="4"/>
                </a:lnTo>
                <a:lnTo>
                  <a:pt x="27" y="4"/>
                </a:lnTo>
                <a:lnTo>
                  <a:pt x="27" y="4"/>
                </a:lnTo>
                <a:lnTo>
                  <a:pt x="24" y="3"/>
                </a:lnTo>
                <a:lnTo>
                  <a:pt x="20" y="3"/>
                </a:lnTo>
                <a:lnTo>
                  <a:pt x="16" y="2"/>
                </a:lnTo>
                <a:lnTo>
                  <a:pt x="11" y="2"/>
                </a:lnTo>
                <a:lnTo>
                  <a:pt x="11" y="2"/>
                </a:lnTo>
                <a:lnTo>
                  <a:pt x="7" y="0"/>
                </a:lnTo>
                <a:lnTo>
                  <a:pt x="3" y="0"/>
                </a:lnTo>
                <a:lnTo>
                  <a:pt x="3" y="0"/>
                </a:lnTo>
                <a:lnTo>
                  <a:pt x="3" y="4"/>
                </a:lnTo>
                <a:lnTo>
                  <a:pt x="1" y="7"/>
                </a:lnTo>
                <a:lnTo>
                  <a:pt x="1" y="7"/>
                </a:lnTo>
                <a:lnTo>
                  <a:pt x="0" y="10"/>
                </a:lnTo>
                <a:lnTo>
                  <a:pt x="0" y="14"/>
                </a:lnTo>
                <a:lnTo>
                  <a:pt x="1" y="17"/>
                </a:lnTo>
                <a:lnTo>
                  <a:pt x="6" y="21"/>
                </a:lnTo>
                <a:lnTo>
                  <a:pt x="6" y="21"/>
                </a:lnTo>
                <a:lnTo>
                  <a:pt x="10" y="21"/>
                </a:lnTo>
                <a:lnTo>
                  <a:pt x="11" y="21"/>
                </a:lnTo>
                <a:lnTo>
                  <a:pt x="13" y="20"/>
                </a:lnTo>
                <a:lnTo>
                  <a:pt x="16" y="19"/>
                </a:lnTo>
                <a:lnTo>
                  <a:pt x="16" y="19"/>
                </a:lnTo>
                <a:lnTo>
                  <a:pt x="17" y="20"/>
                </a:lnTo>
                <a:lnTo>
                  <a:pt x="18" y="23"/>
                </a:lnTo>
                <a:lnTo>
                  <a:pt x="20" y="24"/>
                </a:lnTo>
                <a:lnTo>
                  <a:pt x="23" y="26"/>
                </a:lnTo>
                <a:lnTo>
                  <a:pt x="23" y="26"/>
                </a:lnTo>
                <a:lnTo>
                  <a:pt x="26" y="26"/>
                </a:lnTo>
                <a:lnTo>
                  <a:pt x="30" y="29"/>
                </a:lnTo>
                <a:lnTo>
                  <a:pt x="33" y="31"/>
                </a:lnTo>
                <a:lnTo>
                  <a:pt x="34" y="36"/>
                </a:lnTo>
                <a:lnTo>
                  <a:pt x="34" y="36"/>
                </a:lnTo>
                <a:lnTo>
                  <a:pt x="34" y="39"/>
                </a:lnTo>
                <a:lnTo>
                  <a:pt x="36" y="41"/>
                </a:lnTo>
                <a:lnTo>
                  <a:pt x="38" y="43"/>
                </a:lnTo>
                <a:lnTo>
                  <a:pt x="43" y="43"/>
                </a:lnTo>
                <a:lnTo>
                  <a:pt x="43" y="43"/>
                </a:lnTo>
                <a:lnTo>
                  <a:pt x="47" y="44"/>
                </a:lnTo>
                <a:lnTo>
                  <a:pt x="47" y="44"/>
                </a:lnTo>
                <a:lnTo>
                  <a:pt x="48" y="39"/>
                </a:lnTo>
                <a:lnTo>
                  <a:pt x="48" y="34"/>
                </a:lnTo>
                <a:lnTo>
                  <a:pt x="48" y="3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11" name="Freeform 298">
            <a:extLst>
              <a:ext uri="{FF2B5EF4-FFF2-40B4-BE49-F238E27FC236}">
                <a16:creationId xmlns:a16="http://schemas.microsoft.com/office/drawing/2014/main" id="{6FBD6668-C4C8-EE78-BA34-99950D5E42EC}"/>
              </a:ext>
            </a:extLst>
          </p:cNvPr>
          <p:cNvSpPr>
            <a:spLocks/>
          </p:cNvSpPr>
          <p:nvPr userDrawn="1"/>
        </p:nvSpPr>
        <p:spPr bwMode="gray">
          <a:xfrm>
            <a:off x="2608231" y="3144371"/>
            <a:ext cx="122248" cy="52020"/>
          </a:xfrm>
          <a:custGeom>
            <a:avLst/>
            <a:gdLst/>
            <a:ahLst/>
            <a:cxnLst>
              <a:cxn ang="0">
                <a:pos x="84" y="11"/>
              </a:cxn>
              <a:cxn ang="0">
                <a:pos x="72" y="4"/>
              </a:cxn>
              <a:cxn ang="0">
                <a:pos x="61" y="1"/>
              </a:cxn>
              <a:cxn ang="0">
                <a:pos x="50" y="1"/>
              </a:cxn>
              <a:cxn ang="0">
                <a:pos x="38" y="10"/>
              </a:cxn>
              <a:cxn ang="0">
                <a:pos x="36" y="13"/>
              </a:cxn>
              <a:cxn ang="0">
                <a:pos x="26" y="14"/>
              </a:cxn>
              <a:cxn ang="0">
                <a:pos x="13" y="8"/>
              </a:cxn>
              <a:cxn ang="0">
                <a:pos x="4" y="1"/>
              </a:cxn>
              <a:cxn ang="0">
                <a:pos x="1" y="7"/>
              </a:cxn>
              <a:cxn ang="0">
                <a:pos x="1" y="11"/>
              </a:cxn>
              <a:cxn ang="0">
                <a:pos x="0" y="21"/>
              </a:cxn>
              <a:cxn ang="0">
                <a:pos x="11" y="24"/>
              </a:cxn>
              <a:cxn ang="0">
                <a:pos x="20" y="30"/>
              </a:cxn>
              <a:cxn ang="0">
                <a:pos x="24" y="33"/>
              </a:cxn>
              <a:cxn ang="0">
                <a:pos x="30" y="35"/>
              </a:cxn>
              <a:cxn ang="0">
                <a:pos x="33" y="38"/>
              </a:cxn>
              <a:cxn ang="0">
                <a:pos x="36" y="40"/>
              </a:cxn>
              <a:cxn ang="0">
                <a:pos x="43" y="37"/>
              </a:cxn>
              <a:cxn ang="0">
                <a:pos x="44" y="34"/>
              </a:cxn>
              <a:cxn ang="0">
                <a:pos x="43" y="30"/>
              </a:cxn>
              <a:cxn ang="0">
                <a:pos x="40" y="26"/>
              </a:cxn>
              <a:cxn ang="0">
                <a:pos x="41" y="24"/>
              </a:cxn>
              <a:cxn ang="0">
                <a:pos x="47" y="21"/>
              </a:cxn>
              <a:cxn ang="0">
                <a:pos x="48" y="18"/>
              </a:cxn>
              <a:cxn ang="0">
                <a:pos x="55" y="13"/>
              </a:cxn>
              <a:cxn ang="0">
                <a:pos x="67" y="13"/>
              </a:cxn>
              <a:cxn ang="0">
                <a:pos x="70" y="14"/>
              </a:cxn>
              <a:cxn ang="0">
                <a:pos x="72" y="20"/>
              </a:cxn>
              <a:cxn ang="0">
                <a:pos x="71" y="23"/>
              </a:cxn>
              <a:cxn ang="0">
                <a:pos x="70" y="27"/>
              </a:cxn>
              <a:cxn ang="0">
                <a:pos x="80" y="40"/>
              </a:cxn>
              <a:cxn ang="0">
                <a:pos x="91" y="30"/>
              </a:cxn>
              <a:cxn ang="0">
                <a:pos x="92" y="27"/>
              </a:cxn>
              <a:cxn ang="0">
                <a:pos x="94" y="24"/>
              </a:cxn>
              <a:cxn ang="0">
                <a:pos x="84" y="11"/>
              </a:cxn>
            </a:cxnLst>
            <a:rect l="0" t="0" r="r" b="b"/>
            <a:pathLst>
              <a:path w="94" h="40">
                <a:moveTo>
                  <a:pt x="84" y="11"/>
                </a:moveTo>
                <a:lnTo>
                  <a:pt x="84" y="11"/>
                </a:lnTo>
                <a:lnTo>
                  <a:pt x="78" y="7"/>
                </a:lnTo>
                <a:lnTo>
                  <a:pt x="72" y="4"/>
                </a:lnTo>
                <a:lnTo>
                  <a:pt x="61" y="1"/>
                </a:lnTo>
                <a:lnTo>
                  <a:pt x="61" y="1"/>
                </a:lnTo>
                <a:lnTo>
                  <a:pt x="55" y="0"/>
                </a:lnTo>
                <a:lnTo>
                  <a:pt x="50" y="1"/>
                </a:lnTo>
                <a:lnTo>
                  <a:pt x="44" y="4"/>
                </a:lnTo>
                <a:lnTo>
                  <a:pt x="38" y="10"/>
                </a:lnTo>
                <a:lnTo>
                  <a:pt x="38" y="10"/>
                </a:lnTo>
                <a:lnTo>
                  <a:pt x="36" y="13"/>
                </a:lnTo>
                <a:lnTo>
                  <a:pt x="31" y="13"/>
                </a:lnTo>
                <a:lnTo>
                  <a:pt x="26" y="14"/>
                </a:lnTo>
                <a:lnTo>
                  <a:pt x="18" y="11"/>
                </a:lnTo>
                <a:lnTo>
                  <a:pt x="13" y="8"/>
                </a:lnTo>
                <a:lnTo>
                  <a:pt x="13" y="8"/>
                </a:lnTo>
                <a:lnTo>
                  <a:pt x="4" y="1"/>
                </a:lnTo>
                <a:lnTo>
                  <a:pt x="4" y="1"/>
                </a:lnTo>
                <a:lnTo>
                  <a:pt x="1" y="7"/>
                </a:lnTo>
                <a:lnTo>
                  <a:pt x="1" y="11"/>
                </a:lnTo>
                <a:lnTo>
                  <a:pt x="1" y="11"/>
                </a:lnTo>
                <a:lnTo>
                  <a:pt x="1" y="16"/>
                </a:lnTo>
                <a:lnTo>
                  <a:pt x="0" y="21"/>
                </a:lnTo>
                <a:lnTo>
                  <a:pt x="0" y="21"/>
                </a:lnTo>
                <a:lnTo>
                  <a:pt x="11" y="24"/>
                </a:lnTo>
                <a:lnTo>
                  <a:pt x="16" y="27"/>
                </a:lnTo>
                <a:lnTo>
                  <a:pt x="20" y="30"/>
                </a:lnTo>
                <a:lnTo>
                  <a:pt x="20" y="30"/>
                </a:lnTo>
                <a:lnTo>
                  <a:pt x="24" y="33"/>
                </a:lnTo>
                <a:lnTo>
                  <a:pt x="27" y="34"/>
                </a:lnTo>
                <a:lnTo>
                  <a:pt x="30" y="35"/>
                </a:lnTo>
                <a:lnTo>
                  <a:pt x="33" y="38"/>
                </a:lnTo>
                <a:lnTo>
                  <a:pt x="33" y="38"/>
                </a:lnTo>
                <a:lnTo>
                  <a:pt x="34" y="40"/>
                </a:lnTo>
                <a:lnTo>
                  <a:pt x="36" y="40"/>
                </a:lnTo>
                <a:lnTo>
                  <a:pt x="38" y="40"/>
                </a:lnTo>
                <a:lnTo>
                  <a:pt x="43" y="37"/>
                </a:lnTo>
                <a:lnTo>
                  <a:pt x="44" y="34"/>
                </a:lnTo>
                <a:lnTo>
                  <a:pt x="44" y="34"/>
                </a:lnTo>
                <a:lnTo>
                  <a:pt x="44" y="33"/>
                </a:lnTo>
                <a:lnTo>
                  <a:pt x="43" y="30"/>
                </a:lnTo>
                <a:lnTo>
                  <a:pt x="41" y="28"/>
                </a:lnTo>
                <a:lnTo>
                  <a:pt x="40" y="26"/>
                </a:lnTo>
                <a:lnTo>
                  <a:pt x="40" y="26"/>
                </a:lnTo>
                <a:lnTo>
                  <a:pt x="41" y="24"/>
                </a:lnTo>
                <a:lnTo>
                  <a:pt x="44" y="23"/>
                </a:lnTo>
                <a:lnTo>
                  <a:pt x="47" y="21"/>
                </a:lnTo>
                <a:lnTo>
                  <a:pt x="48" y="18"/>
                </a:lnTo>
                <a:lnTo>
                  <a:pt x="48" y="18"/>
                </a:lnTo>
                <a:lnTo>
                  <a:pt x="51" y="14"/>
                </a:lnTo>
                <a:lnTo>
                  <a:pt x="55" y="13"/>
                </a:lnTo>
                <a:lnTo>
                  <a:pt x="61" y="11"/>
                </a:lnTo>
                <a:lnTo>
                  <a:pt x="67" y="13"/>
                </a:lnTo>
                <a:lnTo>
                  <a:pt x="67" y="13"/>
                </a:lnTo>
                <a:lnTo>
                  <a:pt x="70" y="14"/>
                </a:lnTo>
                <a:lnTo>
                  <a:pt x="72" y="17"/>
                </a:lnTo>
                <a:lnTo>
                  <a:pt x="72" y="20"/>
                </a:lnTo>
                <a:lnTo>
                  <a:pt x="71" y="23"/>
                </a:lnTo>
                <a:lnTo>
                  <a:pt x="71" y="23"/>
                </a:lnTo>
                <a:lnTo>
                  <a:pt x="70" y="26"/>
                </a:lnTo>
                <a:lnTo>
                  <a:pt x="70" y="27"/>
                </a:lnTo>
                <a:lnTo>
                  <a:pt x="72" y="31"/>
                </a:lnTo>
                <a:lnTo>
                  <a:pt x="80" y="40"/>
                </a:lnTo>
                <a:lnTo>
                  <a:pt x="80" y="40"/>
                </a:lnTo>
                <a:lnTo>
                  <a:pt x="91" y="30"/>
                </a:lnTo>
                <a:lnTo>
                  <a:pt x="91" y="30"/>
                </a:lnTo>
                <a:lnTo>
                  <a:pt x="92" y="27"/>
                </a:lnTo>
                <a:lnTo>
                  <a:pt x="94" y="24"/>
                </a:lnTo>
                <a:lnTo>
                  <a:pt x="94" y="24"/>
                </a:lnTo>
                <a:lnTo>
                  <a:pt x="88" y="20"/>
                </a:lnTo>
                <a:lnTo>
                  <a:pt x="84" y="11"/>
                </a:lnTo>
                <a:lnTo>
                  <a:pt x="84" y="11"/>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12" name="Freeform 299">
            <a:extLst>
              <a:ext uri="{FF2B5EF4-FFF2-40B4-BE49-F238E27FC236}">
                <a16:creationId xmlns:a16="http://schemas.microsoft.com/office/drawing/2014/main" id="{C7E8B4CE-55A7-CE17-0443-1F8656A6EBCD}"/>
              </a:ext>
            </a:extLst>
          </p:cNvPr>
          <p:cNvSpPr>
            <a:spLocks/>
          </p:cNvSpPr>
          <p:nvPr userDrawn="1"/>
        </p:nvSpPr>
        <p:spPr bwMode="gray">
          <a:xfrm>
            <a:off x="2691464" y="3084547"/>
            <a:ext cx="248398" cy="352438"/>
          </a:xfrm>
          <a:custGeom>
            <a:avLst/>
            <a:gdLst/>
            <a:ahLst/>
            <a:cxnLst>
              <a:cxn ang="0">
                <a:pos x="40" y="198"/>
              </a:cxn>
              <a:cxn ang="0">
                <a:pos x="53" y="207"/>
              </a:cxn>
              <a:cxn ang="0">
                <a:pos x="65" y="205"/>
              </a:cxn>
              <a:cxn ang="0">
                <a:pos x="74" y="218"/>
              </a:cxn>
              <a:cxn ang="0">
                <a:pos x="84" y="224"/>
              </a:cxn>
              <a:cxn ang="0">
                <a:pos x="90" y="234"/>
              </a:cxn>
              <a:cxn ang="0">
                <a:pos x="95" y="242"/>
              </a:cxn>
              <a:cxn ang="0">
                <a:pos x="117" y="241"/>
              </a:cxn>
              <a:cxn ang="0">
                <a:pos x="127" y="241"/>
              </a:cxn>
              <a:cxn ang="0">
                <a:pos x="142" y="246"/>
              </a:cxn>
              <a:cxn ang="0">
                <a:pos x="135" y="261"/>
              </a:cxn>
              <a:cxn ang="0">
                <a:pos x="142" y="269"/>
              </a:cxn>
              <a:cxn ang="0">
                <a:pos x="146" y="271"/>
              </a:cxn>
              <a:cxn ang="0">
                <a:pos x="152" y="238"/>
              </a:cxn>
              <a:cxn ang="0">
                <a:pos x="151" y="215"/>
              </a:cxn>
              <a:cxn ang="0">
                <a:pos x="145" y="197"/>
              </a:cxn>
              <a:cxn ang="0">
                <a:pos x="158" y="190"/>
              </a:cxn>
              <a:cxn ang="0">
                <a:pos x="149" y="182"/>
              </a:cxn>
              <a:cxn ang="0">
                <a:pos x="151" y="175"/>
              </a:cxn>
              <a:cxn ang="0">
                <a:pos x="183" y="173"/>
              </a:cxn>
              <a:cxn ang="0">
                <a:pos x="188" y="161"/>
              </a:cxn>
              <a:cxn ang="0">
                <a:pos x="188" y="150"/>
              </a:cxn>
              <a:cxn ang="0">
                <a:pos x="182" y="137"/>
              </a:cxn>
              <a:cxn ang="0">
                <a:pos x="185" y="107"/>
              </a:cxn>
              <a:cxn ang="0">
                <a:pos x="182" y="101"/>
              </a:cxn>
              <a:cxn ang="0">
                <a:pos x="155" y="101"/>
              </a:cxn>
              <a:cxn ang="0">
                <a:pos x="139" y="90"/>
              </a:cxn>
              <a:cxn ang="0">
                <a:pos x="109" y="89"/>
              </a:cxn>
              <a:cxn ang="0">
                <a:pos x="107" y="69"/>
              </a:cxn>
              <a:cxn ang="0">
                <a:pos x="100" y="59"/>
              </a:cxn>
              <a:cxn ang="0">
                <a:pos x="91" y="54"/>
              </a:cxn>
              <a:cxn ang="0">
                <a:pos x="97" y="36"/>
              </a:cxn>
              <a:cxn ang="0">
                <a:pos x="111" y="17"/>
              </a:cxn>
              <a:cxn ang="0">
                <a:pos x="119" y="12"/>
              </a:cxn>
              <a:cxn ang="0">
                <a:pos x="124" y="2"/>
              </a:cxn>
              <a:cxn ang="0">
                <a:pos x="111" y="7"/>
              </a:cxn>
              <a:cxn ang="0">
                <a:pos x="91" y="19"/>
              </a:cxn>
              <a:cxn ang="0">
                <a:pos x="77" y="22"/>
              </a:cxn>
              <a:cxn ang="0">
                <a:pos x="70" y="22"/>
              </a:cxn>
              <a:cxn ang="0">
                <a:pos x="54" y="36"/>
              </a:cxn>
              <a:cxn ang="0">
                <a:pos x="48" y="52"/>
              </a:cxn>
              <a:cxn ang="0">
                <a:pos x="31" y="70"/>
              </a:cxn>
              <a:cxn ang="0">
                <a:pos x="27" y="76"/>
              </a:cxn>
              <a:cxn ang="0">
                <a:pos x="24" y="94"/>
              </a:cxn>
              <a:cxn ang="0">
                <a:pos x="26" y="109"/>
              </a:cxn>
              <a:cxn ang="0">
                <a:pos x="24" y="124"/>
              </a:cxn>
              <a:cxn ang="0">
                <a:pos x="28" y="143"/>
              </a:cxn>
              <a:cxn ang="0">
                <a:pos x="16" y="161"/>
              </a:cxn>
              <a:cxn ang="0">
                <a:pos x="6" y="167"/>
              </a:cxn>
              <a:cxn ang="0">
                <a:pos x="0" y="174"/>
              </a:cxn>
              <a:cxn ang="0">
                <a:pos x="20" y="190"/>
              </a:cxn>
              <a:cxn ang="0">
                <a:pos x="30" y="197"/>
              </a:cxn>
            </a:cxnLst>
            <a:rect l="0" t="0" r="r" b="b"/>
            <a:pathLst>
              <a:path w="191" h="271">
                <a:moveTo>
                  <a:pt x="30" y="197"/>
                </a:moveTo>
                <a:lnTo>
                  <a:pt x="30" y="197"/>
                </a:lnTo>
                <a:lnTo>
                  <a:pt x="33" y="198"/>
                </a:lnTo>
                <a:lnTo>
                  <a:pt x="37" y="200"/>
                </a:lnTo>
                <a:lnTo>
                  <a:pt x="40" y="198"/>
                </a:lnTo>
                <a:lnTo>
                  <a:pt x="41" y="197"/>
                </a:lnTo>
                <a:lnTo>
                  <a:pt x="41" y="197"/>
                </a:lnTo>
                <a:lnTo>
                  <a:pt x="43" y="197"/>
                </a:lnTo>
                <a:lnTo>
                  <a:pt x="45" y="198"/>
                </a:lnTo>
                <a:lnTo>
                  <a:pt x="53" y="207"/>
                </a:lnTo>
                <a:lnTo>
                  <a:pt x="53" y="207"/>
                </a:lnTo>
                <a:lnTo>
                  <a:pt x="54" y="207"/>
                </a:lnTo>
                <a:lnTo>
                  <a:pt x="54" y="207"/>
                </a:lnTo>
                <a:lnTo>
                  <a:pt x="61" y="205"/>
                </a:lnTo>
                <a:lnTo>
                  <a:pt x="65" y="205"/>
                </a:lnTo>
                <a:lnTo>
                  <a:pt x="67" y="207"/>
                </a:lnTo>
                <a:lnTo>
                  <a:pt x="67" y="207"/>
                </a:lnTo>
                <a:lnTo>
                  <a:pt x="70" y="210"/>
                </a:lnTo>
                <a:lnTo>
                  <a:pt x="71" y="214"/>
                </a:lnTo>
                <a:lnTo>
                  <a:pt x="74" y="218"/>
                </a:lnTo>
                <a:lnTo>
                  <a:pt x="75" y="219"/>
                </a:lnTo>
                <a:lnTo>
                  <a:pt x="77" y="219"/>
                </a:lnTo>
                <a:lnTo>
                  <a:pt x="77" y="219"/>
                </a:lnTo>
                <a:lnTo>
                  <a:pt x="81" y="221"/>
                </a:lnTo>
                <a:lnTo>
                  <a:pt x="84" y="224"/>
                </a:lnTo>
                <a:lnTo>
                  <a:pt x="87" y="227"/>
                </a:lnTo>
                <a:lnTo>
                  <a:pt x="87" y="229"/>
                </a:lnTo>
                <a:lnTo>
                  <a:pt x="87" y="229"/>
                </a:lnTo>
                <a:lnTo>
                  <a:pt x="88" y="232"/>
                </a:lnTo>
                <a:lnTo>
                  <a:pt x="90" y="234"/>
                </a:lnTo>
                <a:lnTo>
                  <a:pt x="92" y="237"/>
                </a:lnTo>
                <a:lnTo>
                  <a:pt x="92" y="239"/>
                </a:lnTo>
                <a:lnTo>
                  <a:pt x="92" y="239"/>
                </a:lnTo>
                <a:lnTo>
                  <a:pt x="94" y="242"/>
                </a:lnTo>
                <a:lnTo>
                  <a:pt x="95" y="242"/>
                </a:lnTo>
                <a:lnTo>
                  <a:pt x="101" y="244"/>
                </a:lnTo>
                <a:lnTo>
                  <a:pt x="108" y="244"/>
                </a:lnTo>
                <a:lnTo>
                  <a:pt x="111" y="242"/>
                </a:lnTo>
                <a:lnTo>
                  <a:pt x="111" y="242"/>
                </a:lnTo>
                <a:lnTo>
                  <a:pt x="117" y="241"/>
                </a:lnTo>
                <a:lnTo>
                  <a:pt x="118" y="241"/>
                </a:lnTo>
                <a:lnTo>
                  <a:pt x="121" y="241"/>
                </a:lnTo>
                <a:lnTo>
                  <a:pt x="121" y="241"/>
                </a:lnTo>
                <a:lnTo>
                  <a:pt x="124" y="242"/>
                </a:lnTo>
                <a:lnTo>
                  <a:pt x="127" y="241"/>
                </a:lnTo>
                <a:lnTo>
                  <a:pt x="129" y="241"/>
                </a:lnTo>
                <a:lnTo>
                  <a:pt x="132" y="241"/>
                </a:lnTo>
                <a:lnTo>
                  <a:pt x="132" y="241"/>
                </a:lnTo>
                <a:lnTo>
                  <a:pt x="139" y="244"/>
                </a:lnTo>
                <a:lnTo>
                  <a:pt x="142" y="246"/>
                </a:lnTo>
                <a:lnTo>
                  <a:pt x="144" y="248"/>
                </a:lnTo>
                <a:lnTo>
                  <a:pt x="144" y="251"/>
                </a:lnTo>
                <a:lnTo>
                  <a:pt x="144" y="251"/>
                </a:lnTo>
                <a:lnTo>
                  <a:pt x="138" y="256"/>
                </a:lnTo>
                <a:lnTo>
                  <a:pt x="135" y="261"/>
                </a:lnTo>
                <a:lnTo>
                  <a:pt x="135" y="264"/>
                </a:lnTo>
                <a:lnTo>
                  <a:pt x="135" y="264"/>
                </a:lnTo>
                <a:lnTo>
                  <a:pt x="137" y="265"/>
                </a:lnTo>
                <a:lnTo>
                  <a:pt x="139" y="266"/>
                </a:lnTo>
                <a:lnTo>
                  <a:pt x="142" y="269"/>
                </a:lnTo>
                <a:lnTo>
                  <a:pt x="145" y="271"/>
                </a:lnTo>
                <a:lnTo>
                  <a:pt x="145" y="271"/>
                </a:lnTo>
                <a:lnTo>
                  <a:pt x="145" y="271"/>
                </a:lnTo>
                <a:lnTo>
                  <a:pt x="145" y="271"/>
                </a:lnTo>
                <a:lnTo>
                  <a:pt x="146" y="271"/>
                </a:lnTo>
                <a:lnTo>
                  <a:pt x="148" y="268"/>
                </a:lnTo>
                <a:lnTo>
                  <a:pt x="149" y="262"/>
                </a:lnTo>
                <a:lnTo>
                  <a:pt x="152" y="249"/>
                </a:lnTo>
                <a:lnTo>
                  <a:pt x="152" y="249"/>
                </a:lnTo>
                <a:lnTo>
                  <a:pt x="152" y="238"/>
                </a:lnTo>
                <a:lnTo>
                  <a:pt x="155" y="228"/>
                </a:lnTo>
                <a:lnTo>
                  <a:pt x="155" y="228"/>
                </a:lnTo>
                <a:lnTo>
                  <a:pt x="155" y="224"/>
                </a:lnTo>
                <a:lnTo>
                  <a:pt x="154" y="221"/>
                </a:lnTo>
                <a:lnTo>
                  <a:pt x="151" y="215"/>
                </a:lnTo>
                <a:lnTo>
                  <a:pt x="146" y="208"/>
                </a:lnTo>
                <a:lnTo>
                  <a:pt x="145" y="205"/>
                </a:lnTo>
                <a:lnTo>
                  <a:pt x="145" y="201"/>
                </a:lnTo>
                <a:lnTo>
                  <a:pt x="145" y="201"/>
                </a:lnTo>
                <a:lnTo>
                  <a:pt x="145" y="197"/>
                </a:lnTo>
                <a:lnTo>
                  <a:pt x="148" y="195"/>
                </a:lnTo>
                <a:lnTo>
                  <a:pt x="151" y="194"/>
                </a:lnTo>
                <a:lnTo>
                  <a:pt x="155" y="192"/>
                </a:lnTo>
                <a:lnTo>
                  <a:pt x="155" y="192"/>
                </a:lnTo>
                <a:lnTo>
                  <a:pt x="158" y="190"/>
                </a:lnTo>
                <a:lnTo>
                  <a:pt x="156" y="188"/>
                </a:lnTo>
                <a:lnTo>
                  <a:pt x="152" y="187"/>
                </a:lnTo>
                <a:lnTo>
                  <a:pt x="152" y="187"/>
                </a:lnTo>
                <a:lnTo>
                  <a:pt x="151" y="185"/>
                </a:lnTo>
                <a:lnTo>
                  <a:pt x="149" y="182"/>
                </a:lnTo>
                <a:lnTo>
                  <a:pt x="148" y="180"/>
                </a:lnTo>
                <a:lnTo>
                  <a:pt x="148" y="177"/>
                </a:lnTo>
                <a:lnTo>
                  <a:pt x="148" y="177"/>
                </a:lnTo>
                <a:lnTo>
                  <a:pt x="149" y="177"/>
                </a:lnTo>
                <a:lnTo>
                  <a:pt x="151" y="175"/>
                </a:lnTo>
                <a:lnTo>
                  <a:pt x="158" y="175"/>
                </a:lnTo>
                <a:lnTo>
                  <a:pt x="172" y="175"/>
                </a:lnTo>
                <a:lnTo>
                  <a:pt x="172" y="175"/>
                </a:lnTo>
                <a:lnTo>
                  <a:pt x="178" y="175"/>
                </a:lnTo>
                <a:lnTo>
                  <a:pt x="183" y="173"/>
                </a:lnTo>
                <a:lnTo>
                  <a:pt x="191" y="170"/>
                </a:lnTo>
                <a:lnTo>
                  <a:pt x="191" y="170"/>
                </a:lnTo>
                <a:lnTo>
                  <a:pt x="191" y="167"/>
                </a:lnTo>
                <a:lnTo>
                  <a:pt x="189" y="164"/>
                </a:lnTo>
                <a:lnTo>
                  <a:pt x="188" y="161"/>
                </a:lnTo>
                <a:lnTo>
                  <a:pt x="188" y="161"/>
                </a:lnTo>
                <a:lnTo>
                  <a:pt x="185" y="158"/>
                </a:lnTo>
                <a:lnTo>
                  <a:pt x="185" y="155"/>
                </a:lnTo>
                <a:lnTo>
                  <a:pt x="186" y="153"/>
                </a:lnTo>
                <a:lnTo>
                  <a:pt x="188" y="150"/>
                </a:lnTo>
                <a:lnTo>
                  <a:pt x="188" y="150"/>
                </a:lnTo>
                <a:lnTo>
                  <a:pt x="189" y="147"/>
                </a:lnTo>
                <a:lnTo>
                  <a:pt x="188" y="144"/>
                </a:lnTo>
                <a:lnTo>
                  <a:pt x="182" y="137"/>
                </a:lnTo>
                <a:lnTo>
                  <a:pt x="182" y="137"/>
                </a:lnTo>
                <a:lnTo>
                  <a:pt x="181" y="134"/>
                </a:lnTo>
                <a:lnTo>
                  <a:pt x="179" y="131"/>
                </a:lnTo>
                <a:lnTo>
                  <a:pt x="181" y="124"/>
                </a:lnTo>
                <a:lnTo>
                  <a:pt x="182" y="116"/>
                </a:lnTo>
                <a:lnTo>
                  <a:pt x="185" y="107"/>
                </a:lnTo>
                <a:lnTo>
                  <a:pt x="185" y="107"/>
                </a:lnTo>
                <a:lnTo>
                  <a:pt x="186" y="106"/>
                </a:lnTo>
                <a:lnTo>
                  <a:pt x="186" y="103"/>
                </a:lnTo>
                <a:lnTo>
                  <a:pt x="183" y="103"/>
                </a:lnTo>
                <a:lnTo>
                  <a:pt x="182" y="101"/>
                </a:lnTo>
                <a:lnTo>
                  <a:pt x="174" y="101"/>
                </a:lnTo>
                <a:lnTo>
                  <a:pt x="166" y="103"/>
                </a:lnTo>
                <a:lnTo>
                  <a:pt x="166" y="103"/>
                </a:lnTo>
                <a:lnTo>
                  <a:pt x="161" y="103"/>
                </a:lnTo>
                <a:lnTo>
                  <a:pt x="155" y="101"/>
                </a:lnTo>
                <a:lnTo>
                  <a:pt x="149" y="97"/>
                </a:lnTo>
                <a:lnTo>
                  <a:pt x="144" y="93"/>
                </a:lnTo>
                <a:lnTo>
                  <a:pt x="144" y="93"/>
                </a:lnTo>
                <a:lnTo>
                  <a:pt x="142" y="90"/>
                </a:lnTo>
                <a:lnTo>
                  <a:pt x="139" y="90"/>
                </a:lnTo>
                <a:lnTo>
                  <a:pt x="134" y="89"/>
                </a:lnTo>
                <a:lnTo>
                  <a:pt x="117" y="90"/>
                </a:lnTo>
                <a:lnTo>
                  <a:pt x="117" y="90"/>
                </a:lnTo>
                <a:lnTo>
                  <a:pt x="112" y="90"/>
                </a:lnTo>
                <a:lnTo>
                  <a:pt x="109" y="89"/>
                </a:lnTo>
                <a:lnTo>
                  <a:pt x="108" y="86"/>
                </a:lnTo>
                <a:lnTo>
                  <a:pt x="107" y="83"/>
                </a:lnTo>
                <a:lnTo>
                  <a:pt x="105" y="76"/>
                </a:lnTo>
                <a:lnTo>
                  <a:pt x="107" y="69"/>
                </a:lnTo>
                <a:lnTo>
                  <a:pt x="107" y="69"/>
                </a:lnTo>
                <a:lnTo>
                  <a:pt x="105" y="66"/>
                </a:lnTo>
                <a:lnTo>
                  <a:pt x="104" y="63"/>
                </a:lnTo>
                <a:lnTo>
                  <a:pt x="101" y="62"/>
                </a:lnTo>
                <a:lnTo>
                  <a:pt x="100" y="59"/>
                </a:lnTo>
                <a:lnTo>
                  <a:pt x="100" y="59"/>
                </a:lnTo>
                <a:lnTo>
                  <a:pt x="98" y="56"/>
                </a:lnTo>
                <a:lnTo>
                  <a:pt x="97" y="56"/>
                </a:lnTo>
                <a:lnTo>
                  <a:pt x="92" y="56"/>
                </a:lnTo>
                <a:lnTo>
                  <a:pt x="92" y="56"/>
                </a:lnTo>
                <a:lnTo>
                  <a:pt x="91" y="54"/>
                </a:lnTo>
                <a:lnTo>
                  <a:pt x="91" y="53"/>
                </a:lnTo>
                <a:lnTo>
                  <a:pt x="94" y="47"/>
                </a:lnTo>
                <a:lnTo>
                  <a:pt x="94" y="47"/>
                </a:lnTo>
                <a:lnTo>
                  <a:pt x="97" y="43"/>
                </a:lnTo>
                <a:lnTo>
                  <a:pt x="97" y="36"/>
                </a:lnTo>
                <a:lnTo>
                  <a:pt x="97" y="36"/>
                </a:lnTo>
                <a:lnTo>
                  <a:pt x="98" y="32"/>
                </a:lnTo>
                <a:lnTo>
                  <a:pt x="102" y="27"/>
                </a:lnTo>
                <a:lnTo>
                  <a:pt x="111" y="17"/>
                </a:lnTo>
                <a:lnTo>
                  <a:pt x="111" y="17"/>
                </a:lnTo>
                <a:lnTo>
                  <a:pt x="112" y="16"/>
                </a:lnTo>
                <a:lnTo>
                  <a:pt x="115" y="15"/>
                </a:lnTo>
                <a:lnTo>
                  <a:pt x="115" y="15"/>
                </a:lnTo>
                <a:lnTo>
                  <a:pt x="117" y="13"/>
                </a:lnTo>
                <a:lnTo>
                  <a:pt x="119" y="12"/>
                </a:lnTo>
                <a:lnTo>
                  <a:pt x="119" y="12"/>
                </a:lnTo>
                <a:lnTo>
                  <a:pt x="124" y="10"/>
                </a:lnTo>
                <a:lnTo>
                  <a:pt x="127" y="7"/>
                </a:lnTo>
                <a:lnTo>
                  <a:pt x="127" y="5"/>
                </a:lnTo>
                <a:lnTo>
                  <a:pt x="124" y="2"/>
                </a:lnTo>
                <a:lnTo>
                  <a:pt x="124" y="2"/>
                </a:lnTo>
                <a:lnTo>
                  <a:pt x="121" y="0"/>
                </a:lnTo>
                <a:lnTo>
                  <a:pt x="119" y="2"/>
                </a:lnTo>
                <a:lnTo>
                  <a:pt x="115" y="5"/>
                </a:lnTo>
                <a:lnTo>
                  <a:pt x="111" y="7"/>
                </a:lnTo>
                <a:lnTo>
                  <a:pt x="105" y="10"/>
                </a:lnTo>
                <a:lnTo>
                  <a:pt x="105" y="10"/>
                </a:lnTo>
                <a:lnTo>
                  <a:pt x="101" y="12"/>
                </a:lnTo>
                <a:lnTo>
                  <a:pt x="98" y="13"/>
                </a:lnTo>
                <a:lnTo>
                  <a:pt x="91" y="19"/>
                </a:lnTo>
                <a:lnTo>
                  <a:pt x="91" y="19"/>
                </a:lnTo>
                <a:lnTo>
                  <a:pt x="87" y="19"/>
                </a:lnTo>
                <a:lnTo>
                  <a:pt x="82" y="20"/>
                </a:lnTo>
                <a:lnTo>
                  <a:pt x="78" y="20"/>
                </a:lnTo>
                <a:lnTo>
                  <a:pt x="77" y="22"/>
                </a:lnTo>
                <a:lnTo>
                  <a:pt x="77" y="23"/>
                </a:lnTo>
                <a:lnTo>
                  <a:pt x="77" y="23"/>
                </a:lnTo>
                <a:lnTo>
                  <a:pt x="77" y="25"/>
                </a:lnTo>
                <a:lnTo>
                  <a:pt x="74" y="25"/>
                </a:lnTo>
                <a:lnTo>
                  <a:pt x="70" y="22"/>
                </a:lnTo>
                <a:lnTo>
                  <a:pt x="70" y="22"/>
                </a:lnTo>
                <a:lnTo>
                  <a:pt x="65" y="23"/>
                </a:lnTo>
                <a:lnTo>
                  <a:pt x="60" y="26"/>
                </a:lnTo>
                <a:lnTo>
                  <a:pt x="55" y="32"/>
                </a:lnTo>
                <a:lnTo>
                  <a:pt x="54" y="36"/>
                </a:lnTo>
                <a:lnTo>
                  <a:pt x="54" y="36"/>
                </a:lnTo>
                <a:lnTo>
                  <a:pt x="55" y="43"/>
                </a:lnTo>
                <a:lnTo>
                  <a:pt x="53" y="47"/>
                </a:lnTo>
                <a:lnTo>
                  <a:pt x="48" y="52"/>
                </a:lnTo>
                <a:lnTo>
                  <a:pt x="48" y="52"/>
                </a:lnTo>
                <a:lnTo>
                  <a:pt x="44" y="56"/>
                </a:lnTo>
                <a:lnTo>
                  <a:pt x="40" y="60"/>
                </a:lnTo>
                <a:lnTo>
                  <a:pt x="33" y="70"/>
                </a:lnTo>
                <a:lnTo>
                  <a:pt x="33" y="70"/>
                </a:lnTo>
                <a:lnTo>
                  <a:pt x="31" y="70"/>
                </a:lnTo>
                <a:lnTo>
                  <a:pt x="30" y="70"/>
                </a:lnTo>
                <a:lnTo>
                  <a:pt x="30" y="70"/>
                </a:lnTo>
                <a:lnTo>
                  <a:pt x="28" y="73"/>
                </a:lnTo>
                <a:lnTo>
                  <a:pt x="27" y="76"/>
                </a:lnTo>
                <a:lnTo>
                  <a:pt x="27" y="76"/>
                </a:lnTo>
                <a:lnTo>
                  <a:pt x="16" y="86"/>
                </a:lnTo>
                <a:lnTo>
                  <a:pt x="16" y="86"/>
                </a:lnTo>
                <a:lnTo>
                  <a:pt x="21" y="91"/>
                </a:lnTo>
                <a:lnTo>
                  <a:pt x="21" y="91"/>
                </a:lnTo>
                <a:lnTo>
                  <a:pt x="24" y="94"/>
                </a:lnTo>
                <a:lnTo>
                  <a:pt x="24" y="99"/>
                </a:lnTo>
                <a:lnTo>
                  <a:pt x="24" y="101"/>
                </a:lnTo>
                <a:lnTo>
                  <a:pt x="24" y="103"/>
                </a:lnTo>
                <a:lnTo>
                  <a:pt x="24" y="103"/>
                </a:lnTo>
                <a:lnTo>
                  <a:pt x="26" y="109"/>
                </a:lnTo>
                <a:lnTo>
                  <a:pt x="26" y="110"/>
                </a:lnTo>
                <a:lnTo>
                  <a:pt x="24" y="113"/>
                </a:lnTo>
                <a:lnTo>
                  <a:pt x="24" y="113"/>
                </a:lnTo>
                <a:lnTo>
                  <a:pt x="24" y="117"/>
                </a:lnTo>
                <a:lnTo>
                  <a:pt x="24" y="124"/>
                </a:lnTo>
                <a:lnTo>
                  <a:pt x="26" y="133"/>
                </a:lnTo>
                <a:lnTo>
                  <a:pt x="27" y="137"/>
                </a:lnTo>
                <a:lnTo>
                  <a:pt x="27" y="137"/>
                </a:lnTo>
                <a:lnTo>
                  <a:pt x="28" y="140"/>
                </a:lnTo>
                <a:lnTo>
                  <a:pt x="28" y="143"/>
                </a:lnTo>
                <a:lnTo>
                  <a:pt x="24" y="151"/>
                </a:lnTo>
                <a:lnTo>
                  <a:pt x="24" y="151"/>
                </a:lnTo>
                <a:lnTo>
                  <a:pt x="21" y="155"/>
                </a:lnTo>
                <a:lnTo>
                  <a:pt x="18" y="158"/>
                </a:lnTo>
                <a:lnTo>
                  <a:pt x="16" y="161"/>
                </a:lnTo>
                <a:lnTo>
                  <a:pt x="11" y="161"/>
                </a:lnTo>
                <a:lnTo>
                  <a:pt x="11" y="161"/>
                </a:lnTo>
                <a:lnTo>
                  <a:pt x="8" y="163"/>
                </a:lnTo>
                <a:lnTo>
                  <a:pt x="7" y="164"/>
                </a:lnTo>
                <a:lnTo>
                  <a:pt x="6" y="167"/>
                </a:lnTo>
                <a:lnTo>
                  <a:pt x="4" y="171"/>
                </a:lnTo>
                <a:lnTo>
                  <a:pt x="3" y="173"/>
                </a:lnTo>
                <a:lnTo>
                  <a:pt x="3" y="173"/>
                </a:lnTo>
                <a:lnTo>
                  <a:pt x="1" y="173"/>
                </a:lnTo>
                <a:lnTo>
                  <a:pt x="0" y="174"/>
                </a:lnTo>
                <a:lnTo>
                  <a:pt x="0" y="178"/>
                </a:lnTo>
                <a:lnTo>
                  <a:pt x="0" y="178"/>
                </a:lnTo>
                <a:lnTo>
                  <a:pt x="10" y="187"/>
                </a:lnTo>
                <a:lnTo>
                  <a:pt x="16" y="188"/>
                </a:lnTo>
                <a:lnTo>
                  <a:pt x="20" y="190"/>
                </a:lnTo>
                <a:lnTo>
                  <a:pt x="20" y="190"/>
                </a:lnTo>
                <a:lnTo>
                  <a:pt x="21" y="191"/>
                </a:lnTo>
                <a:lnTo>
                  <a:pt x="24" y="192"/>
                </a:lnTo>
                <a:lnTo>
                  <a:pt x="30" y="197"/>
                </a:lnTo>
                <a:lnTo>
                  <a:pt x="30" y="197"/>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13" name="Freeform 300">
            <a:extLst>
              <a:ext uri="{FF2B5EF4-FFF2-40B4-BE49-F238E27FC236}">
                <a16:creationId xmlns:a16="http://schemas.microsoft.com/office/drawing/2014/main" id="{F45B0831-268E-E911-E762-E049E91DEF94}"/>
              </a:ext>
            </a:extLst>
          </p:cNvPr>
          <p:cNvSpPr>
            <a:spLocks/>
          </p:cNvSpPr>
          <p:nvPr userDrawn="1"/>
        </p:nvSpPr>
        <p:spPr bwMode="gray">
          <a:xfrm>
            <a:off x="2887841" y="3556632"/>
            <a:ext cx="253600" cy="283511"/>
          </a:xfrm>
          <a:custGeom>
            <a:avLst/>
            <a:gdLst/>
            <a:ahLst/>
            <a:cxnLst>
              <a:cxn ang="0">
                <a:pos x="189" y="124"/>
              </a:cxn>
              <a:cxn ang="0">
                <a:pos x="183" y="111"/>
              </a:cxn>
              <a:cxn ang="0">
                <a:pos x="172" y="107"/>
              </a:cxn>
              <a:cxn ang="0">
                <a:pos x="153" y="100"/>
              </a:cxn>
              <a:cxn ang="0">
                <a:pos x="151" y="88"/>
              </a:cxn>
              <a:cxn ang="0">
                <a:pos x="153" y="84"/>
              </a:cxn>
              <a:cxn ang="0">
                <a:pos x="149" y="74"/>
              </a:cxn>
              <a:cxn ang="0">
                <a:pos x="143" y="63"/>
              </a:cxn>
              <a:cxn ang="0">
                <a:pos x="126" y="60"/>
              </a:cxn>
              <a:cxn ang="0">
                <a:pos x="121" y="54"/>
              </a:cxn>
              <a:cxn ang="0">
                <a:pos x="109" y="50"/>
              </a:cxn>
              <a:cxn ang="0">
                <a:pos x="102" y="47"/>
              </a:cxn>
              <a:cxn ang="0">
                <a:pos x="95" y="44"/>
              </a:cxn>
              <a:cxn ang="0">
                <a:pos x="75" y="33"/>
              </a:cxn>
              <a:cxn ang="0">
                <a:pos x="69" y="16"/>
              </a:cxn>
              <a:cxn ang="0">
                <a:pos x="71" y="0"/>
              </a:cxn>
              <a:cxn ang="0">
                <a:pos x="55" y="2"/>
              </a:cxn>
              <a:cxn ang="0">
                <a:pos x="37" y="10"/>
              </a:cxn>
              <a:cxn ang="0">
                <a:pos x="23" y="17"/>
              </a:cxn>
              <a:cxn ang="0">
                <a:pos x="8" y="20"/>
              </a:cxn>
              <a:cxn ang="0">
                <a:pos x="14" y="41"/>
              </a:cxn>
              <a:cxn ang="0">
                <a:pos x="10" y="50"/>
              </a:cxn>
              <a:cxn ang="0">
                <a:pos x="11" y="73"/>
              </a:cxn>
              <a:cxn ang="0">
                <a:pos x="7" y="83"/>
              </a:cxn>
              <a:cxn ang="0">
                <a:pos x="8" y="88"/>
              </a:cxn>
              <a:cxn ang="0">
                <a:pos x="4" y="100"/>
              </a:cxn>
              <a:cxn ang="0">
                <a:pos x="10" y="107"/>
              </a:cxn>
              <a:cxn ang="0">
                <a:pos x="1" y="120"/>
              </a:cxn>
              <a:cxn ang="0">
                <a:pos x="0" y="127"/>
              </a:cxn>
              <a:cxn ang="0">
                <a:pos x="7" y="134"/>
              </a:cxn>
              <a:cxn ang="0">
                <a:pos x="8" y="147"/>
              </a:cxn>
              <a:cxn ang="0">
                <a:pos x="14" y="155"/>
              </a:cxn>
              <a:cxn ang="0">
                <a:pos x="17" y="161"/>
              </a:cxn>
              <a:cxn ang="0">
                <a:pos x="14" y="172"/>
              </a:cxn>
              <a:cxn ang="0">
                <a:pos x="14" y="179"/>
              </a:cxn>
              <a:cxn ang="0">
                <a:pos x="21" y="188"/>
              </a:cxn>
              <a:cxn ang="0">
                <a:pos x="25" y="199"/>
              </a:cxn>
              <a:cxn ang="0">
                <a:pos x="30" y="218"/>
              </a:cxn>
              <a:cxn ang="0">
                <a:pos x="44" y="211"/>
              </a:cxn>
              <a:cxn ang="0">
                <a:pos x="58" y="201"/>
              </a:cxn>
              <a:cxn ang="0">
                <a:pos x="75" y="205"/>
              </a:cxn>
              <a:cxn ang="0">
                <a:pos x="85" y="214"/>
              </a:cxn>
              <a:cxn ang="0">
                <a:pos x="94" y="202"/>
              </a:cxn>
              <a:cxn ang="0">
                <a:pos x="115" y="202"/>
              </a:cxn>
              <a:cxn ang="0">
                <a:pos x="119" y="178"/>
              </a:cxn>
              <a:cxn ang="0">
                <a:pos x="132" y="162"/>
              </a:cxn>
              <a:cxn ang="0">
                <a:pos x="151" y="159"/>
              </a:cxn>
              <a:cxn ang="0">
                <a:pos x="169" y="157"/>
              </a:cxn>
              <a:cxn ang="0">
                <a:pos x="182" y="162"/>
              </a:cxn>
              <a:cxn ang="0">
                <a:pos x="190" y="159"/>
              </a:cxn>
              <a:cxn ang="0">
                <a:pos x="192" y="147"/>
              </a:cxn>
              <a:cxn ang="0">
                <a:pos x="195" y="131"/>
              </a:cxn>
            </a:cxnLst>
            <a:rect l="0" t="0" r="r" b="b"/>
            <a:pathLst>
              <a:path w="195" h="218">
                <a:moveTo>
                  <a:pt x="195" y="131"/>
                </a:moveTo>
                <a:lnTo>
                  <a:pt x="195" y="131"/>
                </a:lnTo>
                <a:lnTo>
                  <a:pt x="192" y="127"/>
                </a:lnTo>
                <a:lnTo>
                  <a:pt x="189" y="124"/>
                </a:lnTo>
                <a:lnTo>
                  <a:pt x="186" y="120"/>
                </a:lnTo>
                <a:lnTo>
                  <a:pt x="185" y="115"/>
                </a:lnTo>
                <a:lnTo>
                  <a:pt x="185" y="115"/>
                </a:lnTo>
                <a:lnTo>
                  <a:pt x="183" y="111"/>
                </a:lnTo>
                <a:lnTo>
                  <a:pt x="182" y="108"/>
                </a:lnTo>
                <a:lnTo>
                  <a:pt x="178" y="107"/>
                </a:lnTo>
                <a:lnTo>
                  <a:pt x="172" y="107"/>
                </a:lnTo>
                <a:lnTo>
                  <a:pt x="172" y="107"/>
                </a:lnTo>
                <a:lnTo>
                  <a:pt x="165" y="107"/>
                </a:lnTo>
                <a:lnTo>
                  <a:pt x="159" y="105"/>
                </a:lnTo>
                <a:lnTo>
                  <a:pt x="155" y="103"/>
                </a:lnTo>
                <a:lnTo>
                  <a:pt x="153" y="100"/>
                </a:lnTo>
                <a:lnTo>
                  <a:pt x="153" y="100"/>
                </a:lnTo>
                <a:lnTo>
                  <a:pt x="152" y="95"/>
                </a:lnTo>
                <a:lnTo>
                  <a:pt x="151" y="91"/>
                </a:lnTo>
                <a:lnTo>
                  <a:pt x="151" y="88"/>
                </a:lnTo>
                <a:lnTo>
                  <a:pt x="152" y="85"/>
                </a:lnTo>
                <a:lnTo>
                  <a:pt x="152" y="85"/>
                </a:lnTo>
                <a:lnTo>
                  <a:pt x="153" y="85"/>
                </a:lnTo>
                <a:lnTo>
                  <a:pt x="153" y="84"/>
                </a:lnTo>
                <a:lnTo>
                  <a:pt x="152" y="81"/>
                </a:lnTo>
                <a:lnTo>
                  <a:pt x="151" y="77"/>
                </a:lnTo>
                <a:lnTo>
                  <a:pt x="149" y="74"/>
                </a:lnTo>
                <a:lnTo>
                  <a:pt x="149" y="74"/>
                </a:lnTo>
                <a:lnTo>
                  <a:pt x="149" y="70"/>
                </a:lnTo>
                <a:lnTo>
                  <a:pt x="148" y="67"/>
                </a:lnTo>
                <a:lnTo>
                  <a:pt x="143" y="63"/>
                </a:lnTo>
                <a:lnTo>
                  <a:pt x="143" y="63"/>
                </a:lnTo>
                <a:lnTo>
                  <a:pt x="139" y="61"/>
                </a:lnTo>
                <a:lnTo>
                  <a:pt x="133" y="61"/>
                </a:lnTo>
                <a:lnTo>
                  <a:pt x="128" y="61"/>
                </a:lnTo>
                <a:lnTo>
                  <a:pt x="126" y="60"/>
                </a:lnTo>
                <a:lnTo>
                  <a:pt x="126" y="58"/>
                </a:lnTo>
                <a:lnTo>
                  <a:pt x="126" y="58"/>
                </a:lnTo>
                <a:lnTo>
                  <a:pt x="125" y="56"/>
                </a:lnTo>
                <a:lnTo>
                  <a:pt x="121" y="54"/>
                </a:lnTo>
                <a:lnTo>
                  <a:pt x="112" y="53"/>
                </a:lnTo>
                <a:lnTo>
                  <a:pt x="112" y="53"/>
                </a:lnTo>
                <a:lnTo>
                  <a:pt x="111" y="51"/>
                </a:lnTo>
                <a:lnTo>
                  <a:pt x="109" y="50"/>
                </a:lnTo>
                <a:lnTo>
                  <a:pt x="108" y="47"/>
                </a:lnTo>
                <a:lnTo>
                  <a:pt x="106" y="47"/>
                </a:lnTo>
                <a:lnTo>
                  <a:pt x="106" y="47"/>
                </a:lnTo>
                <a:lnTo>
                  <a:pt x="102" y="47"/>
                </a:lnTo>
                <a:lnTo>
                  <a:pt x="101" y="46"/>
                </a:lnTo>
                <a:lnTo>
                  <a:pt x="98" y="44"/>
                </a:lnTo>
                <a:lnTo>
                  <a:pt x="95" y="44"/>
                </a:lnTo>
                <a:lnTo>
                  <a:pt x="95" y="44"/>
                </a:lnTo>
                <a:lnTo>
                  <a:pt x="89" y="44"/>
                </a:lnTo>
                <a:lnTo>
                  <a:pt x="85" y="43"/>
                </a:lnTo>
                <a:lnTo>
                  <a:pt x="81" y="39"/>
                </a:lnTo>
                <a:lnTo>
                  <a:pt x="75" y="33"/>
                </a:lnTo>
                <a:lnTo>
                  <a:pt x="75" y="33"/>
                </a:lnTo>
                <a:lnTo>
                  <a:pt x="72" y="30"/>
                </a:lnTo>
                <a:lnTo>
                  <a:pt x="71" y="26"/>
                </a:lnTo>
                <a:lnTo>
                  <a:pt x="69" y="16"/>
                </a:lnTo>
                <a:lnTo>
                  <a:pt x="69" y="7"/>
                </a:lnTo>
                <a:lnTo>
                  <a:pt x="71" y="2"/>
                </a:lnTo>
                <a:lnTo>
                  <a:pt x="71" y="2"/>
                </a:lnTo>
                <a:lnTo>
                  <a:pt x="71" y="0"/>
                </a:lnTo>
                <a:lnTo>
                  <a:pt x="69" y="0"/>
                </a:lnTo>
                <a:lnTo>
                  <a:pt x="65" y="0"/>
                </a:lnTo>
                <a:lnTo>
                  <a:pt x="55" y="2"/>
                </a:lnTo>
                <a:lnTo>
                  <a:pt x="55" y="2"/>
                </a:lnTo>
                <a:lnTo>
                  <a:pt x="51" y="2"/>
                </a:lnTo>
                <a:lnTo>
                  <a:pt x="45" y="4"/>
                </a:lnTo>
                <a:lnTo>
                  <a:pt x="37" y="10"/>
                </a:lnTo>
                <a:lnTo>
                  <a:pt x="37" y="10"/>
                </a:lnTo>
                <a:lnTo>
                  <a:pt x="28" y="13"/>
                </a:lnTo>
                <a:lnTo>
                  <a:pt x="25" y="14"/>
                </a:lnTo>
                <a:lnTo>
                  <a:pt x="23" y="17"/>
                </a:lnTo>
                <a:lnTo>
                  <a:pt x="23" y="17"/>
                </a:lnTo>
                <a:lnTo>
                  <a:pt x="20" y="19"/>
                </a:lnTo>
                <a:lnTo>
                  <a:pt x="17" y="20"/>
                </a:lnTo>
                <a:lnTo>
                  <a:pt x="13" y="20"/>
                </a:lnTo>
                <a:lnTo>
                  <a:pt x="8" y="20"/>
                </a:lnTo>
                <a:lnTo>
                  <a:pt x="8" y="20"/>
                </a:lnTo>
                <a:lnTo>
                  <a:pt x="3" y="19"/>
                </a:lnTo>
                <a:lnTo>
                  <a:pt x="3" y="19"/>
                </a:lnTo>
                <a:lnTo>
                  <a:pt x="14" y="41"/>
                </a:lnTo>
                <a:lnTo>
                  <a:pt x="14" y="41"/>
                </a:lnTo>
                <a:lnTo>
                  <a:pt x="14" y="44"/>
                </a:lnTo>
                <a:lnTo>
                  <a:pt x="14" y="47"/>
                </a:lnTo>
                <a:lnTo>
                  <a:pt x="10" y="50"/>
                </a:lnTo>
                <a:lnTo>
                  <a:pt x="10" y="50"/>
                </a:lnTo>
                <a:lnTo>
                  <a:pt x="10" y="54"/>
                </a:lnTo>
                <a:lnTo>
                  <a:pt x="10" y="60"/>
                </a:lnTo>
                <a:lnTo>
                  <a:pt x="11" y="73"/>
                </a:lnTo>
                <a:lnTo>
                  <a:pt x="11" y="73"/>
                </a:lnTo>
                <a:lnTo>
                  <a:pt x="11" y="76"/>
                </a:lnTo>
                <a:lnTo>
                  <a:pt x="8" y="80"/>
                </a:lnTo>
                <a:lnTo>
                  <a:pt x="7" y="83"/>
                </a:lnTo>
                <a:lnTo>
                  <a:pt x="7" y="84"/>
                </a:lnTo>
                <a:lnTo>
                  <a:pt x="8" y="85"/>
                </a:lnTo>
                <a:lnTo>
                  <a:pt x="8" y="85"/>
                </a:lnTo>
                <a:lnTo>
                  <a:pt x="8" y="88"/>
                </a:lnTo>
                <a:lnTo>
                  <a:pt x="7" y="93"/>
                </a:lnTo>
                <a:lnTo>
                  <a:pt x="5" y="95"/>
                </a:lnTo>
                <a:lnTo>
                  <a:pt x="4" y="100"/>
                </a:lnTo>
                <a:lnTo>
                  <a:pt x="4" y="100"/>
                </a:lnTo>
                <a:lnTo>
                  <a:pt x="5" y="103"/>
                </a:lnTo>
                <a:lnTo>
                  <a:pt x="7" y="104"/>
                </a:lnTo>
                <a:lnTo>
                  <a:pt x="10" y="105"/>
                </a:lnTo>
                <a:lnTo>
                  <a:pt x="10" y="107"/>
                </a:lnTo>
                <a:lnTo>
                  <a:pt x="10" y="107"/>
                </a:lnTo>
                <a:lnTo>
                  <a:pt x="10" y="110"/>
                </a:lnTo>
                <a:lnTo>
                  <a:pt x="7" y="114"/>
                </a:lnTo>
                <a:lnTo>
                  <a:pt x="1" y="120"/>
                </a:lnTo>
                <a:lnTo>
                  <a:pt x="1" y="120"/>
                </a:lnTo>
                <a:lnTo>
                  <a:pt x="0" y="122"/>
                </a:lnTo>
                <a:lnTo>
                  <a:pt x="0" y="127"/>
                </a:lnTo>
                <a:lnTo>
                  <a:pt x="0" y="127"/>
                </a:lnTo>
                <a:lnTo>
                  <a:pt x="3" y="130"/>
                </a:lnTo>
                <a:lnTo>
                  <a:pt x="4" y="131"/>
                </a:lnTo>
                <a:lnTo>
                  <a:pt x="7" y="134"/>
                </a:lnTo>
                <a:lnTo>
                  <a:pt x="7" y="134"/>
                </a:lnTo>
                <a:lnTo>
                  <a:pt x="8" y="135"/>
                </a:lnTo>
                <a:lnTo>
                  <a:pt x="8" y="138"/>
                </a:lnTo>
                <a:lnTo>
                  <a:pt x="8" y="142"/>
                </a:lnTo>
                <a:lnTo>
                  <a:pt x="8" y="147"/>
                </a:lnTo>
                <a:lnTo>
                  <a:pt x="10" y="150"/>
                </a:lnTo>
                <a:lnTo>
                  <a:pt x="11" y="151"/>
                </a:lnTo>
                <a:lnTo>
                  <a:pt x="11" y="151"/>
                </a:lnTo>
                <a:lnTo>
                  <a:pt x="14" y="155"/>
                </a:lnTo>
                <a:lnTo>
                  <a:pt x="17" y="157"/>
                </a:lnTo>
                <a:lnTo>
                  <a:pt x="18" y="158"/>
                </a:lnTo>
                <a:lnTo>
                  <a:pt x="17" y="161"/>
                </a:lnTo>
                <a:lnTo>
                  <a:pt x="17" y="161"/>
                </a:lnTo>
                <a:lnTo>
                  <a:pt x="15" y="162"/>
                </a:lnTo>
                <a:lnTo>
                  <a:pt x="15" y="167"/>
                </a:lnTo>
                <a:lnTo>
                  <a:pt x="15" y="169"/>
                </a:lnTo>
                <a:lnTo>
                  <a:pt x="14" y="172"/>
                </a:lnTo>
                <a:lnTo>
                  <a:pt x="14" y="172"/>
                </a:lnTo>
                <a:lnTo>
                  <a:pt x="13" y="174"/>
                </a:lnTo>
                <a:lnTo>
                  <a:pt x="13" y="175"/>
                </a:lnTo>
                <a:lnTo>
                  <a:pt x="14" y="179"/>
                </a:lnTo>
                <a:lnTo>
                  <a:pt x="17" y="182"/>
                </a:lnTo>
                <a:lnTo>
                  <a:pt x="20" y="185"/>
                </a:lnTo>
                <a:lnTo>
                  <a:pt x="20" y="185"/>
                </a:lnTo>
                <a:lnTo>
                  <a:pt x="21" y="188"/>
                </a:lnTo>
                <a:lnTo>
                  <a:pt x="23" y="191"/>
                </a:lnTo>
                <a:lnTo>
                  <a:pt x="23" y="196"/>
                </a:lnTo>
                <a:lnTo>
                  <a:pt x="25" y="199"/>
                </a:lnTo>
                <a:lnTo>
                  <a:pt x="25" y="199"/>
                </a:lnTo>
                <a:lnTo>
                  <a:pt x="27" y="204"/>
                </a:lnTo>
                <a:lnTo>
                  <a:pt x="28" y="209"/>
                </a:lnTo>
                <a:lnTo>
                  <a:pt x="30" y="218"/>
                </a:lnTo>
                <a:lnTo>
                  <a:pt x="30" y="218"/>
                </a:lnTo>
                <a:lnTo>
                  <a:pt x="30" y="218"/>
                </a:lnTo>
                <a:lnTo>
                  <a:pt x="32" y="218"/>
                </a:lnTo>
                <a:lnTo>
                  <a:pt x="38" y="215"/>
                </a:lnTo>
                <a:lnTo>
                  <a:pt x="44" y="211"/>
                </a:lnTo>
                <a:lnTo>
                  <a:pt x="51" y="205"/>
                </a:lnTo>
                <a:lnTo>
                  <a:pt x="51" y="205"/>
                </a:lnTo>
                <a:lnTo>
                  <a:pt x="55" y="201"/>
                </a:lnTo>
                <a:lnTo>
                  <a:pt x="58" y="201"/>
                </a:lnTo>
                <a:lnTo>
                  <a:pt x="61" y="202"/>
                </a:lnTo>
                <a:lnTo>
                  <a:pt x="65" y="204"/>
                </a:lnTo>
                <a:lnTo>
                  <a:pt x="65" y="204"/>
                </a:lnTo>
                <a:lnTo>
                  <a:pt x="75" y="205"/>
                </a:lnTo>
                <a:lnTo>
                  <a:pt x="81" y="208"/>
                </a:lnTo>
                <a:lnTo>
                  <a:pt x="84" y="212"/>
                </a:lnTo>
                <a:lnTo>
                  <a:pt x="84" y="212"/>
                </a:lnTo>
                <a:lnTo>
                  <a:pt x="85" y="214"/>
                </a:lnTo>
                <a:lnTo>
                  <a:pt x="87" y="214"/>
                </a:lnTo>
                <a:lnTo>
                  <a:pt x="88" y="211"/>
                </a:lnTo>
                <a:lnTo>
                  <a:pt x="94" y="202"/>
                </a:lnTo>
                <a:lnTo>
                  <a:pt x="94" y="202"/>
                </a:lnTo>
                <a:lnTo>
                  <a:pt x="96" y="201"/>
                </a:lnTo>
                <a:lnTo>
                  <a:pt x="104" y="201"/>
                </a:lnTo>
                <a:lnTo>
                  <a:pt x="115" y="202"/>
                </a:lnTo>
                <a:lnTo>
                  <a:pt x="115" y="202"/>
                </a:lnTo>
                <a:lnTo>
                  <a:pt x="116" y="198"/>
                </a:lnTo>
                <a:lnTo>
                  <a:pt x="118" y="191"/>
                </a:lnTo>
                <a:lnTo>
                  <a:pt x="119" y="178"/>
                </a:lnTo>
                <a:lnTo>
                  <a:pt x="119" y="178"/>
                </a:lnTo>
                <a:lnTo>
                  <a:pt x="119" y="174"/>
                </a:lnTo>
                <a:lnTo>
                  <a:pt x="124" y="169"/>
                </a:lnTo>
                <a:lnTo>
                  <a:pt x="132" y="162"/>
                </a:lnTo>
                <a:lnTo>
                  <a:pt x="132" y="162"/>
                </a:lnTo>
                <a:lnTo>
                  <a:pt x="136" y="161"/>
                </a:lnTo>
                <a:lnTo>
                  <a:pt x="142" y="159"/>
                </a:lnTo>
                <a:lnTo>
                  <a:pt x="146" y="159"/>
                </a:lnTo>
                <a:lnTo>
                  <a:pt x="151" y="159"/>
                </a:lnTo>
                <a:lnTo>
                  <a:pt x="151" y="159"/>
                </a:lnTo>
                <a:lnTo>
                  <a:pt x="155" y="158"/>
                </a:lnTo>
                <a:lnTo>
                  <a:pt x="159" y="157"/>
                </a:lnTo>
                <a:lnTo>
                  <a:pt x="169" y="157"/>
                </a:lnTo>
                <a:lnTo>
                  <a:pt x="169" y="157"/>
                </a:lnTo>
                <a:lnTo>
                  <a:pt x="173" y="158"/>
                </a:lnTo>
                <a:lnTo>
                  <a:pt x="178" y="161"/>
                </a:lnTo>
                <a:lnTo>
                  <a:pt x="182" y="162"/>
                </a:lnTo>
                <a:lnTo>
                  <a:pt x="185" y="164"/>
                </a:lnTo>
                <a:lnTo>
                  <a:pt x="185" y="164"/>
                </a:lnTo>
                <a:lnTo>
                  <a:pt x="188" y="162"/>
                </a:lnTo>
                <a:lnTo>
                  <a:pt x="190" y="159"/>
                </a:lnTo>
                <a:lnTo>
                  <a:pt x="192" y="157"/>
                </a:lnTo>
                <a:lnTo>
                  <a:pt x="192" y="152"/>
                </a:lnTo>
                <a:lnTo>
                  <a:pt x="192" y="152"/>
                </a:lnTo>
                <a:lnTo>
                  <a:pt x="192" y="147"/>
                </a:lnTo>
                <a:lnTo>
                  <a:pt x="193" y="142"/>
                </a:lnTo>
                <a:lnTo>
                  <a:pt x="195" y="137"/>
                </a:lnTo>
                <a:lnTo>
                  <a:pt x="195" y="131"/>
                </a:lnTo>
                <a:lnTo>
                  <a:pt x="195" y="131"/>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14" name="Freeform 301">
            <a:extLst>
              <a:ext uri="{FF2B5EF4-FFF2-40B4-BE49-F238E27FC236}">
                <a16:creationId xmlns:a16="http://schemas.microsoft.com/office/drawing/2014/main" id="{74FAA59A-DA84-D87F-7471-96CF5034BC1B}"/>
              </a:ext>
            </a:extLst>
          </p:cNvPr>
          <p:cNvSpPr>
            <a:spLocks/>
          </p:cNvSpPr>
          <p:nvPr userDrawn="1"/>
        </p:nvSpPr>
        <p:spPr bwMode="gray">
          <a:xfrm>
            <a:off x="2642044" y="3351151"/>
            <a:ext cx="264004" cy="390153"/>
          </a:xfrm>
          <a:custGeom>
            <a:avLst/>
            <a:gdLst/>
            <a:ahLst/>
            <a:cxnLst>
              <a:cxn ang="0">
                <a:pos x="189" y="285"/>
              </a:cxn>
              <a:cxn ang="0">
                <a:pos x="196" y="272"/>
              </a:cxn>
              <a:cxn ang="0">
                <a:pos x="199" y="263"/>
              </a:cxn>
              <a:cxn ang="0">
                <a:pos x="193" y="258"/>
              </a:cxn>
              <a:cxn ang="0">
                <a:pos x="197" y="243"/>
              </a:cxn>
              <a:cxn ang="0">
                <a:pos x="197" y="238"/>
              </a:cxn>
              <a:cxn ang="0">
                <a:pos x="199" y="218"/>
              </a:cxn>
              <a:cxn ang="0">
                <a:pos x="203" y="205"/>
              </a:cxn>
              <a:cxn ang="0">
                <a:pos x="192" y="177"/>
              </a:cxn>
              <a:cxn ang="0">
                <a:pos x="177" y="178"/>
              </a:cxn>
              <a:cxn ang="0">
                <a:pos x="173" y="157"/>
              </a:cxn>
              <a:cxn ang="0">
                <a:pos x="167" y="155"/>
              </a:cxn>
              <a:cxn ang="0">
                <a:pos x="159" y="161"/>
              </a:cxn>
              <a:cxn ang="0">
                <a:pos x="145" y="160"/>
              </a:cxn>
              <a:cxn ang="0">
                <a:pos x="140" y="151"/>
              </a:cxn>
              <a:cxn ang="0">
                <a:pos x="132" y="148"/>
              </a:cxn>
              <a:cxn ang="0">
                <a:pos x="130" y="138"/>
              </a:cxn>
              <a:cxn ang="0">
                <a:pos x="120" y="121"/>
              </a:cxn>
              <a:cxn ang="0">
                <a:pos x="122" y="113"/>
              </a:cxn>
              <a:cxn ang="0">
                <a:pos x="126" y="106"/>
              </a:cxn>
              <a:cxn ang="0">
                <a:pos x="130" y="98"/>
              </a:cxn>
              <a:cxn ang="0">
                <a:pos x="136" y="84"/>
              </a:cxn>
              <a:cxn ang="0">
                <a:pos x="145" y="77"/>
              </a:cxn>
              <a:cxn ang="0">
                <a:pos x="160" y="70"/>
              </a:cxn>
              <a:cxn ang="0">
                <a:pos x="173" y="66"/>
              </a:cxn>
              <a:cxn ang="0">
                <a:pos x="180" y="64"/>
              </a:cxn>
              <a:cxn ang="0">
                <a:pos x="173" y="59"/>
              </a:cxn>
              <a:cxn ang="0">
                <a:pos x="182" y="46"/>
              </a:cxn>
              <a:cxn ang="0">
                <a:pos x="170" y="36"/>
              </a:cxn>
              <a:cxn ang="0">
                <a:pos x="162" y="37"/>
              </a:cxn>
              <a:cxn ang="0">
                <a:pos x="155" y="36"/>
              </a:cxn>
              <a:cxn ang="0">
                <a:pos x="139" y="39"/>
              </a:cxn>
              <a:cxn ang="0">
                <a:pos x="130" y="34"/>
              </a:cxn>
              <a:cxn ang="0">
                <a:pos x="125" y="24"/>
              </a:cxn>
              <a:cxn ang="0">
                <a:pos x="119" y="16"/>
              </a:cxn>
              <a:cxn ang="0">
                <a:pos x="112" y="13"/>
              </a:cxn>
              <a:cxn ang="0">
                <a:pos x="105" y="2"/>
              </a:cxn>
              <a:cxn ang="0">
                <a:pos x="92" y="2"/>
              </a:cxn>
              <a:cxn ang="0">
                <a:pos x="95" y="13"/>
              </a:cxn>
              <a:cxn ang="0">
                <a:pos x="86" y="30"/>
              </a:cxn>
              <a:cxn ang="0">
                <a:pos x="71" y="41"/>
              </a:cxn>
              <a:cxn ang="0">
                <a:pos x="52" y="49"/>
              </a:cxn>
              <a:cxn ang="0">
                <a:pos x="41" y="73"/>
              </a:cxn>
              <a:cxn ang="0">
                <a:pos x="29" y="73"/>
              </a:cxn>
              <a:cxn ang="0">
                <a:pos x="19" y="71"/>
              </a:cxn>
              <a:cxn ang="0">
                <a:pos x="14" y="66"/>
              </a:cxn>
              <a:cxn ang="0">
                <a:pos x="17" y="59"/>
              </a:cxn>
              <a:cxn ang="0">
                <a:pos x="7" y="59"/>
              </a:cxn>
              <a:cxn ang="0">
                <a:pos x="0" y="73"/>
              </a:cxn>
              <a:cxn ang="0">
                <a:pos x="7" y="91"/>
              </a:cxn>
              <a:cxn ang="0">
                <a:pos x="1" y="94"/>
              </a:cxn>
              <a:cxn ang="0">
                <a:pos x="19" y="107"/>
              </a:cxn>
              <a:cxn ang="0">
                <a:pos x="31" y="124"/>
              </a:cxn>
              <a:cxn ang="0">
                <a:pos x="41" y="138"/>
              </a:cxn>
              <a:cxn ang="0">
                <a:pos x="65" y="192"/>
              </a:cxn>
              <a:cxn ang="0">
                <a:pos x="79" y="215"/>
              </a:cxn>
              <a:cxn ang="0">
                <a:pos x="81" y="225"/>
              </a:cxn>
              <a:cxn ang="0">
                <a:pos x="86" y="236"/>
              </a:cxn>
              <a:cxn ang="0">
                <a:pos x="112" y="255"/>
              </a:cxn>
              <a:cxn ang="0">
                <a:pos x="159" y="283"/>
              </a:cxn>
              <a:cxn ang="0">
                <a:pos x="177" y="298"/>
              </a:cxn>
              <a:cxn ang="0">
                <a:pos x="182" y="298"/>
              </a:cxn>
              <a:cxn ang="0">
                <a:pos x="189" y="285"/>
              </a:cxn>
            </a:cxnLst>
            <a:rect l="0" t="0" r="r" b="b"/>
            <a:pathLst>
              <a:path w="203" h="300">
                <a:moveTo>
                  <a:pt x="189" y="285"/>
                </a:moveTo>
                <a:lnTo>
                  <a:pt x="189" y="285"/>
                </a:lnTo>
                <a:lnTo>
                  <a:pt x="189" y="285"/>
                </a:lnTo>
                <a:lnTo>
                  <a:pt x="189" y="285"/>
                </a:lnTo>
                <a:lnTo>
                  <a:pt x="189" y="280"/>
                </a:lnTo>
                <a:lnTo>
                  <a:pt x="190" y="278"/>
                </a:lnTo>
                <a:lnTo>
                  <a:pt x="190" y="278"/>
                </a:lnTo>
                <a:lnTo>
                  <a:pt x="196" y="272"/>
                </a:lnTo>
                <a:lnTo>
                  <a:pt x="199" y="268"/>
                </a:lnTo>
                <a:lnTo>
                  <a:pt x="199" y="265"/>
                </a:lnTo>
                <a:lnTo>
                  <a:pt x="199" y="265"/>
                </a:lnTo>
                <a:lnTo>
                  <a:pt x="199" y="263"/>
                </a:lnTo>
                <a:lnTo>
                  <a:pt x="196" y="262"/>
                </a:lnTo>
                <a:lnTo>
                  <a:pt x="194" y="261"/>
                </a:lnTo>
                <a:lnTo>
                  <a:pt x="193" y="258"/>
                </a:lnTo>
                <a:lnTo>
                  <a:pt x="193" y="258"/>
                </a:lnTo>
                <a:lnTo>
                  <a:pt x="194" y="253"/>
                </a:lnTo>
                <a:lnTo>
                  <a:pt x="196" y="251"/>
                </a:lnTo>
                <a:lnTo>
                  <a:pt x="197" y="246"/>
                </a:lnTo>
                <a:lnTo>
                  <a:pt x="197" y="243"/>
                </a:lnTo>
                <a:lnTo>
                  <a:pt x="197" y="243"/>
                </a:lnTo>
                <a:lnTo>
                  <a:pt x="196" y="242"/>
                </a:lnTo>
                <a:lnTo>
                  <a:pt x="196" y="241"/>
                </a:lnTo>
                <a:lnTo>
                  <a:pt x="197" y="238"/>
                </a:lnTo>
                <a:lnTo>
                  <a:pt x="200" y="234"/>
                </a:lnTo>
                <a:lnTo>
                  <a:pt x="200" y="231"/>
                </a:lnTo>
                <a:lnTo>
                  <a:pt x="200" y="231"/>
                </a:lnTo>
                <a:lnTo>
                  <a:pt x="199" y="218"/>
                </a:lnTo>
                <a:lnTo>
                  <a:pt x="199" y="212"/>
                </a:lnTo>
                <a:lnTo>
                  <a:pt x="199" y="208"/>
                </a:lnTo>
                <a:lnTo>
                  <a:pt x="199" y="208"/>
                </a:lnTo>
                <a:lnTo>
                  <a:pt x="203" y="205"/>
                </a:lnTo>
                <a:lnTo>
                  <a:pt x="203" y="202"/>
                </a:lnTo>
                <a:lnTo>
                  <a:pt x="203" y="199"/>
                </a:lnTo>
                <a:lnTo>
                  <a:pt x="203" y="199"/>
                </a:lnTo>
                <a:lnTo>
                  <a:pt x="192" y="177"/>
                </a:lnTo>
                <a:lnTo>
                  <a:pt x="192" y="177"/>
                </a:lnTo>
                <a:lnTo>
                  <a:pt x="184" y="177"/>
                </a:lnTo>
                <a:lnTo>
                  <a:pt x="177" y="178"/>
                </a:lnTo>
                <a:lnTo>
                  <a:pt x="177" y="178"/>
                </a:lnTo>
                <a:lnTo>
                  <a:pt x="175" y="178"/>
                </a:lnTo>
                <a:lnTo>
                  <a:pt x="175" y="175"/>
                </a:lnTo>
                <a:lnTo>
                  <a:pt x="173" y="170"/>
                </a:lnTo>
                <a:lnTo>
                  <a:pt x="173" y="157"/>
                </a:lnTo>
                <a:lnTo>
                  <a:pt x="173" y="157"/>
                </a:lnTo>
                <a:lnTo>
                  <a:pt x="172" y="154"/>
                </a:lnTo>
                <a:lnTo>
                  <a:pt x="170" y="154"/>
                </a:lnTo>
                <a:lnTo>
                  <a:pt x="167" y="155"/>
                </a:lnTo>
                <a:lnTo>
                  <a:pt x="166" y="158"/>
                </a:lnTo>
                <a:lnTo>
                  <a:pt x="166" y="158"/>
                </a:lnTo>
                <a:lnTo>
                  <a:pt x="163" y="160"/>
                </a:lnTo>
                <a:lnTo>
                  <a:pt x="159" y="161"/>
                </a:lnTo>
                <a:lnTo>
                  <a:pt x="149" y="161"/>
                </a:lnTo>
                <a:lnTo>
                  <a:pt x="149" y="161"/>
                </a:lnTo>
                <a:lnTo>
                  <a:pt x="146" y="160"/>
                </a:lnTo>
                <a:lnTo>
                  <a:pt x="145" y="160"/>
                </a:lnTo>
                <a:lnTo>
                  <a:pt x="143" y="155"/>
                </a:lnTo>
                <a:lnTo>
                  <a:pt x="142" y="152"/>
                </a:lnTo>
                <a:lnTo>
                  <a:pt x="142" y="151"/>
                </a:lnTo>
                <a:lnTo>
                  <a:pt x="140" y="151"/>
                </a:lnTo>
                <a:lnTo>
                  <a:pt x="140" y="151"/>
                </a:lnTo>
                <a:lnTo>
                  <a:pt x="138" y="151"/>
                </a:lnTo>
                <a:lnTo>
                  <a:pt x="135" y="150"/>
                </a:lnTo>
                <a:lnTo>
                  <a:pt x="132" y="148"/>
                </a:lnTo>
                <a:lnTo>
                  <a:pt x="132" y="145"/>
                </a:lnTo>
                <a:lnTo>
                  <a:pt x="132" y="145"/>
                </a:lnTo>
                <a:lnTo>
                  <a:pt x="132" y="142"/>
                </a:lnTo>
                <a:lnTo>
                  <a:pt x="130" y="138"/>
                </a:lnTo>
                <a:lnTo>
                  <a:pt x="126" y="131"/>
                </a:lnTo>
                <a:lnTo>
                  <a:pt x="126" y="131"/>
                </a:lnTo>
                <a:lnTo>
                  <a:pt x="120" y="124"/>
                </a:lnTo>
                <a:lnTo>
                  <a:pt x="120" y="121"/>
                </a:lnTo>
                <a:lnTo>
                  <a:pt x="122" y="118"/>
                </a:lnTo>
                <a:lnTo>
                  <a:pt x="122" y="118"/>
                </a:lnTo>
                <a:lnTo>
                  <a:pt x="122" y="115"/>
                </a:lnTo>
                <a:lnTo>
                  <a:pt x="122" y="113"/>
                </a:lnTo>
                <a:lnTo>
                  <a:pt x="122" y="110"/>
                </a:lnTo>
                <a:lnTo>
                  <a:pt x="123" y="107"/>
                </a:lnTo>
                <a:lnTo>
                  <a:pt x="123" y="107"/>
                </a:lnTo>
                <a:lnTo>
                  <a:pt x="126" y="106"/>
                </a:lnTo>
                <a:lnTo>
                  <a:pt x="129" y="104"/>
                </a:lnTo>
                <a:lnTo>
                  <a:pt x="130" y="101"/>
                </a:lnTo>
                <a:lnTo>
                  <a:pt x="130" y="98"/>
                </a:lnTo>
                <a:lnTo>
                  <a:pt x="130" y="98"/>
                </a:lnTo>
                <a:lnTo>
                  <a:pt x="130" y="96"/>
                </a:lnTo>
                <a:lnTo>
                  <a:pt x="133" y="91"/>
                </a:lnTo>
                <a:lnTo>
                  <a:pt x="135" y="88"/>
                </a:lnTo>
                <a:lnTo>
                  <a:pt x="136" y="84"/>
                </a:lnTo>
                <a:lnTo>
                  <a:pt x="136" y="84"/>
                </a:lnTo>
                <a:lnTo>
                  <a:pt x="138" y="80"/>
                </a:lnTo>
                <a:lnTo>
                  <a:pt x="140" y="78"/>
                </a:lnTo>
                <a:lnTo>
                  <a:pt x="145" y="77"/>
                </a:lnTo>
                <a:lnTo>
                  <a:pt x="150" y="74"/>
                </a:lnTo>
                <a:lnTo>
                  <a:pt x="150" y="74"/>
                </a:lnTo>
                <a:lnTo>
                  <a:pt x="155" y="71"/>
                </a:lnTo>
                <a:lnTo>
                  <a:pt x="160" y="70"/>
                </a:lnTo>
                <a:lnTo>
                  <a:pt x="165" y="70"/>
                </a:lnTo>
                <a:lnTo>
                  <a:pt x="170" y="67"/>
                </a:lnTo>
                <a:lnTo>
                  <a:pt x="170" y="67"/>
                </a:lnTo>
                <a:lnTo>
                  <a:pt x="173" y="66"/>
                </a:lnTo>
                <a:lnTo>
                  <a:pt x="176" y="66"/>
                </a:lnTo>
                <a:lnTo>
                  <a:pt x="183" y="66"/>
                </a:lnTo>
                <a:lnTo>
                  <a:pt x="183" y="66"/>
                </a:lnTo>
                <a:lnTo>
                  <a:pt x="180" y="64"/>
                </a:lnTo>
                <a:lnTo>
                  <a:pt x="177" y="61"/>
                </a:lnTo>
                <a:lnTo>
                  <a:pt x="175" y="60"/>
                </a:lnTo>
                <a:lnTo>
                  <a:pt x="173" y="59"/>
                </a:lnTo>
                <a:lnTo>
                  <a:pt x="173" y="59"/>
                </a:lnTo>
                <a:lnTo>
                  <a:pt x="173" y="56"/>
                </a:lnTo>
                <a:lnTo>
                  <a:pt x="176" y="51"/>
                </a:lnTo>
                <a:lnTo>
                  <a:pt x="182" y="46"/>
                </a:lnTo>
                <a:lnTo>
                  <a:pt x="182" y="46"/>
                </a:lnTo>
                <a:lnTo>
                  <a:pt x="182" y="43"/>
                </a:lnTo>
                <a:lnTo>
                  <a:pt x="180" y="41"/>
                </a:lnTo>
                <a:lnTo>
                  <a:pt x="177" y="39"/>
                </a:lnTo>
                <a:lnTo>
                  <a:pt x="170" y="36"/>
                </a:lnTo>
                <a:lnTo>
                  <a:pt x="170" y="36"/>
                </a:lnTo>
                <a:lnTo>
                  <a:pt x="167" y="36"/>
                </a:lnTo>
                <a:lnTo>
                  <a:pt x="165" y="36"/>
                </a:lnTo>
                <a:lnTo>
                  <a:pt x="162" y="37"/>
                </a:lnTo>
                <a:lnTo>
                  <a:pt x="159" y="36"/>
                </a:lnTo>
                <a:lnTo>
                  <a:pt x="159" y="36"/>
                </a:lnTo>
                <a:lnTo>
                  <a:pt x="156" y="36"/>
                </a:lnTo>
                <a:lnTo>
                  <a:pt x="155" y="36"/>
                </a:lnTo>
                <a:lnTo>
                  <a:pt x="149" y="37"/>
                </a:lnTo>
                <a:lnTo>
                  <a:pt x="149" y="37"/>
                </a:lnTo>
                <a:lnTo>
                  <a:pt x="146" y="39"/>
                </a:lnTo>
                <a:lnTo>
                  <a:pt x="139" y="39"/>
                </a:lnTo>
                <a:lnTo>
                  <a:pt x="133" y="37"/>
                </a:lnTo>
                <a:lnTo>
                  <a:pt x="132" y="37"/>
                </a:lnTo>
                <a:lnTo>
                  <a:pt x="130" y="34"/>
                </a:lnTo>
                <a:lnTo>
                  <a:pt x="130" y="34"/>
                </a:lnTo>
                <a:lnTo>
                  <a:pt x="130" y="32"/>
                </a:lnTo>
                <a:lnTo>
                  <a:pt x="128" y="29"/>
                </a:lnTo>
                <a:lnTo>
                  <a:pt x="126" y="27"/>
                </a:lnTo>
                <a:lnTo>
                  <a:pt x="125" y="24"/>
                </a:lnTo>
                <a:lnTo>
                  <a:pt x="125" y="24"/>
                </a:lnTo>
                <a:lnTo>
                  <a:pt x="125" y="22"/>
                </a:lnTo>
                <a:lnTo>
                  <a:pt x="122" y="19"/>
                </a:lnTo>
                <a:lnTo>
                  <a:pt x="119" y="16"/>
                </a:lnTo>
                <a:lnTo>
                  <a:pt x="115" y="14"/>
                </a:lnTo>
                <a:lnTo>
                  <a:pt x="115" y="14"/>
                </a:lnTo>
                <a:lnTo>
                  <a:pt x="113" y="14"/>
                </a:lnTo>
                <a:lnTo>
                  <a:pt x="112" y="13"/>
                </a:lnTo>
                <a:lnTo>
                  <a:pt x="109" y="9"/>
                </a:lnTo>
                <a:lnTo>
                  <a:pt x="108" y="5"/>
                </a:lnTo>
                <a:lnTo>
                  <a:pt x="105" y="2"/>
                </a:lnTo>
                <a:lnTo>
                  <a:pt x="105" y="2"/>
                </a:lnTo>
                <a:lnTo>
                  <a:pt x="103" y="0"/>
                </a:lnTo>
                <a:lnTo>
                  <a:pt x="99" y="0"/>
                </a:lnTo>
                <a:lnTo>
                  <a:pt x="92" y="2"/>
                </a:lnTo>
                <a:lnTo>
                  <a:pt x="92" y="2"/>
                </a:lnTo>
                <a:lnTo>
                  <a:pt x="96" y="9"/>
                </a:lnTo>
                <a:lnTo>
                  <a:pt x="98" y="12"/>
                </a:lnTo>
                <a:lnTo>
                  <a:pt x="95" y="13"/>
                </a:lnTo>
                <a:lnTo>
                  <a:pt x="95" y="13"/>
                </a:lnTo>
                <a:lnTo>
                  <a:pt x="93" y="16"/>
                </a:lnTo>
                <a:lnTo>
                  <a:pt x="92" y="19"/>
                </a:lnTo>
                <a:lnTo>
                  <a:pt x="91" y="23"/>
                </a:lnTo>
                <a:lnTo>
                  <a:pt x="86" y="30"/>
                </a:lnTo>
                <a:lnTo>
                  <a:pt x="86" y="30"/>
                </a:lnTo>
                <a:lnTo>
                  <a:pt x="83" y="34"/>
                </a:lnTo>
                <a:lnTo>
                  <a:pt x="79" y="37"/>
                </a:lnTo>
                <a:lnTo>
                  <a:pt x="71" y="41"/>
                </a:lnTo>
                <a:lnTo>
                  <a:pt x="62" y="44"/>
                </a:lnTo>
                <a:lnTo>
                  <a:pt x="55" y="47"/>
                </a:lnTo>
                <a:lnTo>
                  <a:pt x="55" y="47"/>
                </a:lnTo>
                <a:lnTo>
                  <a:pt x="52" y="49"/>
                </a:lnTo>
                <a:lnTo>
                  <a:pt x="51" y="50"/>
                </a:lnTo>
                <a:lnTo>
                  <a:pt x="46" y="57"/>
                </a:lnTo>
                <a:lnTo>
                  <a:pt x="41" y="73"/>
                </a:lnTo>
                <a:lnTo>
                  <a:pt x="41" y="73"/>
                </a:lnTo>
                <a:lnTo>
                  <a:pt x="38" y="77"/>
                </a:lnTo>
                <a:lnTo>
                  <a:pt x="35" y="78"/>
                </a:lnTo>
                <a:lnTo>
                  <a:pt x="32" y="77"/>
                </a:lnTo>
                <a:lnTo>
                  <a:pt x="29" y="73"/>
                </a:lnTo>
                <a:lnTo>
                  <a:pt x="29" y="73"/>
                </a:lnTo>
                <a:lnTo>
                  <a:pt x="27" y="71"/>
                </a:lnTo>
                <a:lnTo>
                  <a:pt x="24" y="71"/>
                </a:lnTo>
                <a:lnTo>
                  <a:pt x="19" y="71"/>
                </a:lnTo>
                <a:lnTo>
                  <a:pt x="17" y="70"/>
                </a:lnTo>
                <a:lnTo>
                  <a:pt x="17" y="70"/>
                </a:lnTo>
                <a:lnTo>
                  <a:pt x="14" y="67"/>
                </a:lnTo>
                <a:lnTo>
                  <a:pt x="14" y="66"/>
                </a:lnTo>
                <a:lnTo>
                  <a:pt x="17" y="61"/>
                </a:lnTo>
                <a:lnTo>
                  <a:pt x="17" y="61"/>
                </a:lnTo>
                <a:lnTo>
                  <a:pt x="17" y="60"/>
                </a:lnTo>
                <a:lnTo>
                  <a:pt x="17" y="59"/>
                </a:lnTo>
                <a:lnTo>
                  <a:pt x="14" y="53"/>
                </a:lnTo>
                <a:lnTo>
                  <a:pt x="14" y="53"/>
                </a:lnTo>
                <a:lnTo>
                  <a:pt x="10" y="56"/>
                </a:lnTo>
                <a:lnTo>
                  <a:pt x="7" y="59"/>
                </a:lnTo>
                <a:lnTo>
                  <a:pt x="1" y="67"/>
                </a:lnTo>
                <a:lnTo>
                  <a:pt x="1" y="67"/>
                </a:lnTo>
                <a:lnTo>
                  <a:pt x="0" y="70"/>
                </a:lnTo>
                <a:lnTo>
                  <a:pt x="0" y="73"/>
                </a:lnTo>
                <a:lnTo>
                  <a:pt x="2" y="78"/>
                </a:lnTo>
                <a:lnTo>
                  <a:pt x="7" y="90"/>
                </a:lnTo>
                <a:lnTo>
                  <a:pt x="7" y="90"/>
                </a:lnTo>
                <a:lnTo>
                  <a:pt x="7" y="91"/>
                </a:lnTo>
                <a:lnTo>
                  <a:pt x="5" y="91"/>
                </a:lnTo>
                <a:lnTo>
                  <a:pt x="2" y="91"/>
                </a:lnTo>
                <a:lnTo>
                  <a:pt x="1" y="94"/>
                </a:lnTo>
                <a:lnTo>
                  <a:pt x="1" y="94"/>
                </a:lnTo>
                <a:lnTo>
                  <a:pt x="2" y="96"/>
                </a:lnTo>
                <a:lnTo>
                  <a:pt x="2" y="97"/>
                </a:lnTo>
                <a:lnTo>
                  <a:pt x="8" y="100"/>
                </a:lnTo>
                <a:lnTo>
                  <a:pt x="19" y="107"/>
                </a:lnTo>
                <a:lnTo>
                  <a:pt x="19" y="107"/>
                </a:lnTo>
                <a:lnTo>
                  <a:pt x="24" y="113"/>
                </a:lnTo>
                <a:lnTo>
                  <a:pt x="27" y="118"/>
                </a:lnTo>
                <a:lnTo>
                  <a:pt x="31" y="124"/>
                </a:lnTo>
                <a:lnTo>
                  <a:pt x="35" y="130"/>
                </a:lnTo>
                <a:lnTo>
                  <a:pt x="35" y="130"/>
                </a:lnTo>
                <a:lnTo>
                  <a:pt x="38" y="134"/>
                </a:lnTo>
                <a:lnTo>
                  <a:pt x="41" y="138"/>
                </a:lnTo>
                <a:lnTo>
                  <a:pt x="46" y="154"/>
                </a:lnTo>
                <a:lnTo>
                  <a:pt x="46" y="154"/>
                </a:lnTo>
                <a:lnTo>
                  <a:pt x="58" y="179"/>
                </a:lnTo>
                <a:lnTo>
                  <a:pt x="65" y="192"/>
                </a:lnTo>
                <a:lnTo>
                  <a:pt x="71" y="201"/>
                </a:lnTo>
                <a:lnTo>
                  <a:pt x="71" y="201"/>
                </a:lnTo>
                <a:lnTo>
                  <a:pt x="76" y="208"/>
                </a:lnTo>
                <a:lnTo>
                  <a:pt x="79" y="215"/>
                </a:lnTo>
                <a:lnTo>
                  <a:pt x="81" y="219"/>
                </a:lnTo>
                <a:lnTo>
                  <a:pt x="81" y="222"/>
                </a:lnTo>
                <a:lnTo>
                  <a:pt x="81" y="222"/>
                </a:lnTo>
                <a:lnTo>
                  <a:pt x="81" y="225"/>
                </a:lnTo>
                <a:lnTo>
                  <a:pt x="81" y="229"/>
                </a:lnTo>
                <a:lnTo>
                  <a:pt x="83" y="234"/>
                </a:lnTo>
                <a:lnTo>
                  <a:pt x="86" y="236"/>
                </a:lnTo>
                <a:lnTo>
                  <a:pt x="86" y="236"/>
                </a:lnTo>
                <a:lnTo>
                  <a:pt x="96" y="243"/>
                </a:lnTo>
                <a:lnTo>
                  <a:pt x="102" y="249"/>
                </a:lnTo>
                <a:lnTo>
                  <a:pt x="112" y="255"/>
                </a:lnTo>
                <a:lnTo>
                  <a:pt x="112" y="255"/>
                </a:lnTo>
                <a:lnTo>
                  <a:pt x="139" y="269"/>
                </a:lnTo>
                <a:lnTo>
                  <a:pt x="152" y="276"/>
                </a:lnTo>
                <a:lnTo>
                  <a:pt x="156" y="280"/>
                </a:lnTo>
                <a:lnTo>
                  <a:pt x="159" y="283"/>
                </a:lnTo>
                <a:lnTo>
                  <a:pt x="159" y="283"/>
                </a:lnTo>
                <a:lnTo>
                  <a:pt x="163" y="288"/>
                </a:lnTo>
                <a:lnTo>
                  <a:pt x="169" y="292"/>
                </a:lnTo>
                <a:lnTo>
                  <a:pt x="177" y="298"/>
                </a:lnTo>
                <a:lnTo>
                  <a:pt x="177" y="298"/>
                </a:lnTo>
                <a:lnTo>
                  <a:pt x="179" y="300"/>
                </a:lnTo>
                <a:lnTo>
                  <a:pt x="179" y="300"/>
                </a:lnTo>
                <a:lnTo>
                  <a:pt x="182" y="298"/>
                </a:lnTo>
                <a:lnTo>
                  <a:pt x="182" y="298"/>
                </a:lnTo>
                <a:lnTo>
                  <a:pt x="184" y="295"/>
                </a:lnTo>
                <a:lnTo>
                  <a:pt x="186" y="292"/>
                </a:lnTo>
                <a:lnTo>
                  <a:pt x="189" y="285"/>
                </a:lnTo>
                <a:lnTo>
                  <a:pt x="189" y="285"/>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15" name="Freeform 302">
            <a:extLst>
              <a:ext uri="{FF2B5EF4-FFF2-40B4-BE49-F238E27FC236}">
                <a16:creationId xmlns:a16="http://schemas.microsoft.com/office/drawing/2014/main" id="{85F13DE4-B43F-14DA-3141-5012A8C27B22}"/>
              </a:ext>
            </a:extLst>
          </p:cNvPr>
          <p:cNvSpPr>
            <a:spLocks/>
          </p:cNvSpPr>
          <p:nvPr userDrawn="1"/>
        </p:nvSpPr>
        <p:spPr bwMode="gray">
          <a:xfrm>
            <a:off x="2809810" y="3092351"/>
            <a:ext cx="286112" cy="240595"/>
          </a:xfrm>
          <a:custGeom>
            <a:avLst/>
            <a:gdLst/>
            <a:ahLst/>
            <a:cxnLst>
              <a:cxn ang="0">
                <a:pos x="6" y="30"/>
              </a:cxn>
              <a:cxn ang="0">
                <a:pos x="0" y="47"/>
              </a:cxn>
              <a:cxn ang="0">
                <a:pos x="7" y="50"/>
              </a:cxn>
              <a:cxn ang="0">
                <a:pos x="14" y="60"/>
              </a:cxn>
              <a:cxn ang="0">
                <a:pos x="17" y="80"/>
              </a:cxn>
              <a:cxn ang="0">
                <a:pos x="43" y="83"/>
              </a:cxn>
              <a:cxn ang="0">
                <a:pos x="58" y="91"/>
              </a:cxn>
              <a:cxn ang="0">
                <a:pos x="83" y="95"/>
              </a:cxn>
              <a:cxn ang="0">
                <a:pos x="94" y="101"/>
              </a:cxn>
              <a:cxn ang="0">
                <a:pos x="90" y="128"/>
              </a:cxn>
              <a:cxn ang="0">
                <a:pos x="97" y="144"/>
              </a:cxn>
              <a:cxn ang="0">
                <a:pos x="97" y="155"/>
              </a:cxn>
              <a:cxn ang="0">
                <a:pos x="100" y="164"/>
              </a:cxn>
              <a:cxn ang="0">
                <a:pos x="107" y="178"/>
              </a:cxn>
              <a:cxn ang="0">
                <a:pos x="119" y="185"/>
              </a:cxn>
              <a:cxn ang="0">
                <a:pos x="128" y="184"/>
              </a:cxn>
              <a:cxn ang="0">
                <a:pos x="142" y="176"/>
              </a:cxn>
              <a:cxn ang="0">
                <a:pos x="151" y="169"/>
              </a:cxn>
              <a:cxn ang="0">
                <a:pos x="161" y="162"/>
              </a:cxn>
              <a:cxn ang="0">
                <a:pos x="155" y="158"/>
              </a:cxn>
              <a:cxn ang="0">
                <a:pos x="149" y="149"/>
              </a:cxn>
              <a:cxn ang="0">
                <a:pos x="145" y="135"/>
              </a:cxn>
              <a:cxn ang="0">
                <a:pos x="144" y="130"/>
              </a:cxn>
              <a:cxn ang="0">
                <a:pos x="159" y="132"/>
              </a:cxn>
              <a:cxn ang="0">
                <a:pos x="168" y="138"/>
              </a:cxn>
              <a:cxn ang="0">
                <a:pos x="174" y="132"/>
              </a:cxn>
              <a:cxn ang="0">
                <a:pos x="188" y="130"/>
              </a:cxn>
              <a:cxn ang="0">
                <a:pos x="208" y="117"/>
              </a:cxn>
              <a:cxn ang="0">
                <a:pos x="196" y="101"/>
              </a:cxn>
              <a:cxn ang="0">
                <a:pos x="199" y="93"/>
              </a:cxn>
              <a:cxn ang="0">
                <a:pos x="211" y="87"/>
              </a:cxn>
              <a:cxn ang="0">
                <a:pos x="208" y="78"/>
              </a:cxn>
              <a:cxn ang="0">
                <a:pos x="215" y="68"/>
              </a:cxn>
              <a:cxn ang="0">
                <a:pos x="208" y="58"/>
              </a:cxn>
              <a:cxn ang="0">
                <a:pos x="196" y="54"/>
              </a:cxn>
              <a:cxn ang="0">
                <a:pos x="199" y="41"/>
              </a:cxn>
              <a:cxn ang="0">
                <a:pos x="174" y="31"/>
              </a:cxn>
              <a:cxn ang="0">
                <a:pos x="182" y="26"/>
              </a:cxn>
              <a:cxn ang="0">
                <a:pos x="158" y="24"/>
              </a:cxn>
              <a:cxn ang="0">
                <a:pos x="128" y="34"/>
              </a:cxn>
              <a:cxn ang="0">
                <a:pos x="105" y="26"/>
              </a:cxn>
              <a:cxn ang="0">
                <a:pos x="84" y="21"/>
              </a:cxn>
              <a:cxn ang="0">
                <a:pos x="71" y="9"/>
              </a:cxn>
              <a:cxn ang="0">
                <a:pos x="61" y="1"/>
              </a:cxn>
              <a:cxn ang="0">
                <a:pos x="55" y="1"/>
              </a:cxn>
              <a:cxn ang="0">
                <a:pos x="53" y="10"/>
              </a:cxn>
              <a:cxn ang="0">
                <a:pos x="31" y="23"/>
              </a:cxn>
              <a:cxn ang="0">
                <a:pos x="37" y="47"/>
              </a:cxn>
              <a:cxn ang="0">
                <a:pos x="23" y="46"/>
              </a:cxn>
              <a:cxn ang="0">
                <a:pos x="23" y="30"/>
              </a:cxn>
              <a:cxn ang="0">
                <a:pos x="24" y="14"/>
              </a:cxn>
              <a:cxn ang="0">
                <a:pos x="20" y="11"/>
              </a:cxn>
            </a:cxnLst>
            <a:rect l="0" t="0" r="r" b="b"/>
            <a:pathLst>
              <a:path w="220" h="185">
                <a:moveTo>
                  <a:pt x="20" y="11"/>
                </a:moveTo>
                <a:lnTo>
                  <a:pt x="20" y="11"/>
                </a:lnTo>
                <a:lnTo>
                  <a:pt x="11" y="21"/>
                </a:lnTo>
                <a:lnTo>
                  <a:pt x="7" y="26"/>
                </a:lnTo>
                <a:lnTo>
                  <a:pt x="6" y="30"/>
                </a:lnTo>
                <a:lnTo>
                  <a:pt x="6" y="30"/>
                </a:lnTo>
                <a:lnTo>
                  <a:pt x="6" y="37"/>
                </a:lnTo>
                <a:lnTo>
                  <a:pt x="3" y="41"/>
                </a:lnTo>
                <a:lnTo>
                  <a:pt x="3" y="41"/>
                </a:lnTo>
                <a:lnTo>
                  <a:pt x="0" y="47"/>
                </a:lnTo>
                <a:lnTo>
                  <a:pt x="0" y="48"/>
                </a:lnTo>
                <a:lnTo>
                  <a:pt x="1" y="50"/>
                </a:lnTo>
                <a:lnTo>
                  <a:pt x="1" y="50"/>
                </a:lnTo>
                <a:lnTo>
                  <a:pt x="6" y="50"/>
                </a:lnTo>
                <a:lnTo>
                  <a:pt x="7" y="50"/>
                </a:lnTo>
                <a:lnTo>
                  <a:pt x="9" y="53"/>
                </a:lnTo>
                <a:lnTo>
                  <a:pt x="9" y="53"/>
                </a:lnTo>
                <a:lnTo>
                  <a:pt x="10" y="56"/>
                </a:lnTo>
                <a:lnTo>
                  <a:pt x="13" y="57"/>
                </a:lnTo>
                <a:lnTo>
                  <a:pt x="14" y="60"/>
                </a:lnTo>
                <a:lnTo>
                  <a:pt x="16" y="63"/>
                </a:lnTo>
                <a:lnTo>
                  <a:pt x="16" y="63"/>
                </a:lnTo>
                <a:lnTo>
                  <a:pt x="14" y="70"/>
                </a:lnTo>
                <a:lnTo>
                  <a:pt x="16" y="77"/>
                </a:lnTo>
                <a:lnTo>
                  <a:pt x="17" y="80"/>
                </a:lnTo>
                <a:lnTo>
                  <a:pt x="18" y="83"/>
                </a:lnTo>
                <a:lnTo>
                  <a:pt x="21" y="84"/>
                </a:lnTo>
                <a:lnTo>
                  <a:pt x="26" y="84"/>
                </a:lnTo>
                <a:lnTo>
                  <a:pt x="26" y="84"/>
                </a:lnTo>
                <a:lnTo>
                  <a:pt x="43" y="83"/>
                </a:lnTo>
                <a:lnTo>
                  <a:pt x="48" y="84"/>
                </a:lnTo>
                <a:lnTo>
                  <a:pt x="51" y="84"/>
                </a:lnTo>
                <a:lnTo>
                  <a:pt x="53" y="87"/>
                </a:lnTo>
                <a:lnTo>
                  <a:pt x="53" y="87"/>
                </a:lnTo>
                <a:lnTo>
                  <a:pt x="58" y="91"/>
                </a:lnTo>
                <a:lnTo>
                  <a:pt x="64" y="95"/>
                </a:lnTo>
                <a:lnTo>
                  <a:pt x="70" y="97"/>
                </a:lnTo>
                <a:lnTo>
                  <a:pt x="75" y="97"/>
                </a:lnTo>
                <a:lnTo>
                  <a:pt x="75" y="97"/>
                </a:lnTo>
                <a:lnTo>
                  <a:pt x="83" y="95"/>
                </a:lnTo>
                <a:lnTo>
                  <a:pt x="91" y="95"/>
                </a:lnTo>
                <a:lnTo>
                  <a:pt x="92" y="97"/>
                </a:lnTo>
                <a:lnTo>
                  <a:pt x="95" y="97"/>
                </a:lnTo>
                <a:lnTo>
                  <a:pt x="95" y="100"/>
                </a:lnTo>
                <a:lnTo>
                  <a:pt x="94" y="101"/>
                </a:lnTo>
                <a:lnTo>
                  <a:pt x="94" y="101"/>
                </a:lnTo>
                <a:lnTo>
                  <a:pt x="91" y="110"/>
                </a:lnTo>
                <a:lnTo>
                  <a:pt x="90" y="118"/>
                </a:lnTo>
                <a:lnTo>
                  <a:pt x="88" y="125"/>
                </a:lnTo>
                <a:lnTo>
                  <a:pt x="90" y="128"/>
                </a:lnTo>
                <a:lnTo>
                  <a:pt x="91" y="131"/>
                </a:lnTo>
                <a:lnTo>
                  <a:pt x="91" y="131"/>
                </a:lnTo>
                <a:lnTo>
                  <a:pt x="97" y="138"/>
                </a:lnTo>
                <a:lnTo>
                  <a:pt x="98" y="141"/>
                </a:lnTo>
                <a:lnTo>
                  <a:pt x="97" y="144"/>
                </a:lnTo>
                <a:lnTo>
                  <a:pt x="97" y="144"/>
                </a:lnTo>
                <a:lnTo>
                  <a:pt x="95" y="147"/>
                </a:lnTo>
                <a:lnTo>
                  <a:pt x="94" y="149"/>
                </a:lnTo>
                <a:lnTo>
                  <a:pt x="94" y="152"/>
                </a:lnTo>
                <a:lnTo>
                  <a:pt x="97" y="155"/>
                </a:lnTo>
                <a:lnTo>
                  <a:pt x="97" y="155"/>
                </a:lnTo>
                <a:lnTo>
                  <a:pt x="98" y="158"/>
                </a:lnTo>
                <a:lnTo>
                  <a:pt x="100" y="161"/>
                </a:lnTo>
                <a:lnTo>
                  <a:pt x="100" y="164"/>
                </a:lnTo>
                <a:lnTo>
                  <a:pt x="100" y="164"/>
                </a:lnTo>
                <a:lnTo>
                  <a:pt x="97" y="165"/>
                </a:lnTo>
                <a:lnTo>
                  <a:pt x="97" y="165"/>
                </a:lnTo>
                <a:lnTo>
                  <a:pt x="101" y="169"/>
                </a:lnTo>
                <a:lnTo>
                  <a:pt x="104" y="174"/>
                </a:lnTo>
                <a:lnTo>
                  <a:pt x="107" y="178"/>
                </a:lnTo>
                <a:lnTo>
                  <a:pt x="110" y="181"/>
                </a:lnTo>
                <a:lnTo>
                  <a:pt x="110" y="181"/>
                </a:lnTo>
                <a:lnTo>
                  <a:pt x="115" y="185"/>
                </a:lnTo>
                <a:lnTo>
                  <a:pt x="117" y="185"/>
                </a:lnTo>
                <a:lnTo>
                  <a:pt x="119" y="185"/>
                </a:lnTo>
                <a:lnTo>
                  <a:pt x="119" y="185"/>
                </a:lnTo>
                <a:lnTo>
                  <a:pt x="124" y="182"/>
                </a:lnTo>
                <a:lnTo>
                  <a:pt x="125" y="182"/>
                </a:lnTo>
                <a:lnTo>
                  <a:pt x="128" y="184"/>
                </a:lnTo>
                <a:lnTo>
                  <a:pt x="128" y="184"/>
                </a:lnTo>
                <a:lnTo>
                  <a:pt x="129" y="184"/>
                </a:lnTo>
                <a:lnTo>
                  <a:pt x="132" y="182"/>
                </a:lnTo>
                <a:lnTo>
                  <a:pt x="138" y="178"/>
                </a:lnTo>
                <a:lnTo>
                  <a:pt x="138" y="178"/>
                </a:lnTo>
                <a:lnTo>
                  <a:pt x="142" y="176"/>
                </a:lnTo>
                <a:lnTo>
                  <a:pt x="145" y="175"/>
                </a:lnTo>
                <a:lnTo>
                  <a:pt x="148" y="175"/>
                </a:lnTo>
                <a:lnTo>
                  <a:pt x="149" y="172"/>
                </a:lnTo>
                <a:lnTo>
                  <a:pt x="149" y="172"/>
                </a:lnTo>
                <a:lnTo>
                  <a:pt x="151" y="169"/>
                </a:lnTo>
                <a:lnTo>
                  <a:pt x="152" y="167"/>
                </a:lnTo>
                <a:lnTo>
                  <a:pt x="155" y="165"/>
                </a:lnTo>
                <a:lnTo>
                  <a:pt x="158" y="164"/>
                </a:lnTo>
                <a:lnTo>
                  <a:pt x="158" y="164"/>
                </a:lnTo>
                <a:lnTo>
                  <a:pt x="161" y="162"/>
                </a:lnTo>
                <a:lnTo>
                  <a:pt x="162" y="159"/>
                </a:lnTo>
                <a:lnTo>
                  <a:pt x="162" y="158"/>
                </a:lnTo>
                <a:lnTo>
                  <a:pt x="161" y="157"/>
                </a:lnTo>
                <a:lnTo>
                  <a:pt x="161" y="157"/>
                </a:lnTo>
                <a:lnTo>
                  <a:pt x="155" y="158"/>
                </a:lnTo>
                <a:lnTo>
                  <a:pt x="152" y="158"/>
                </a:lnTo>
                <a:lnTo>
                  <a:pt x="152" y="155"/>
                </a:lnTo>
                <a:lnTo>
                  <a:pt x="152" y="155"/>
                </a:lnTo>
                <a:lnTo>
                  <a:pt x="151" y="152"/>
                </a:lnTo>
                <a:lnTo>
                  <a:pt x="149" y="149"/>
                </a:lnTo>
                <a:lnTo>
                  <a:pt x="148" y="148"/>
                </a:lnTo>
                <a:lnTo>
                  <a:pt x="148" y="145"/>
                </a:lnTo>
                <a:lnTo>
                  <a:pt x="148" y="145"/>
                </a:lnTo>
                <a:lnTo>
                  <a:pt x="147" y="138"/>
                </a:lnTo>
                <a:lnTo>
                  <a:pt x="145" y="135"/>
                </a:lnTo>
                <a:lnTo>
                  <a:pt x="141" y="132"/>
                </a:lnTo>
                <a:lnTo>
                  <a:pt x="141" y="132"/>
                </a:lnTo>
                <a:lnTo>
                  <a:pt x="141" y="132"/>
                </a:lnTo>
                <a:lnTo>
                  <a:pt x="141" y="131"/>
                </a:lnTo>
                <a:lnTo>
                  <a:pt x="144" y="130"/>
                </a:lnTo>
                <a:lnTo>
                  <a:pt x="148" y="130"/>
                </a:lnTo>
                <a:lnTo>
                  <a:pt x="152" y="131"/>
                </a:lnTo>
                <a:lnTo>
                  <a:pt x="152" y="131"/>
                </a:lnTo>
                <a:lnTo>
                  <a:pt x="155" y="132"/>
                </a:lnTo>
                <a:lnTo>
                  <a:pt x="159" y="132"/>
                </a:lnTo>
                <a:lnTo>
                  <a:pt x="164" y="134"/>
                </a:lnTo>
                <a:lnTo>
                  <a:pt x="165" y="135"/>
                </a:lnTo>
                <a:lnTo>
                  <a:pt x="166" y="135"/>
                </a:lnTo>
                <a:lnTo>
                  <a:pt x="166" y="135"/>
                </a:lnTo>
                <a:lnTo>
                  <a:pt x="168" y="138"/>
                </a:lnTo>
                <a:lnTo>
                  <a:pt x="169" y="139"/>
                </a:lnTo>
                <a:lnTo>
                  <a:pt x="172" y="139"/>
                </a:lnTo>
                <a:lnTo>
                  <a:pt x="172" y="137"/>
                </a:lnTo>
                <a:lnTo>
                  <a:pt x="172" y="137"/>
                </a:lnTo>
                <a:lnTo>
                  <a:pt x="174" y="132"/>
                </a:lnTo>
                <a:lnTo>
                  <a:pt x="176" y="131"/>
                </a:lnTo>
                <a:lnTo>
                  <a:pt x="179" y="130"/>
                </a:lnTo>
                <a:lnTo>
                  <a:pt x="184" y="130"/>
                </a:lnTo>
                <a:lnTo>
                  <a:pt x="184" y="130"/>
                </a:lnTo>
                <a:lnTo>
                  <a:pt x="188" y="130"/>
                </a:lnTo>
                <a:lnTo>
                  <a:pt x="193" y="127"/>
                </a:lnTo>
                <a:lnTo>
                  <a:pt x="203" y="122"/>
                </a:lnTo>
                <a:lnTo>
                  <a:pt x="203" y="122"/>
                </a:lnTo>
                <a:lnTo>
                  <a:pt x="206" y="120"/>
                </a:lnTo>
                <a:lnTo>
                  <a:pt x="208" y="117"/>
                </a:lnTo>
                <a:lnTo>
                  <a:pt x="208" y="117"/>
                </a:lnTo>
                <a:lnTo>
                  <a:pt x="202" y="110"/>
                </a:lnTo>
                <a:lnTo>
                  <a:pt x="196" y="104"/>
                </a:lnTo>
                <a:lnTo>
                  <a:pt x="196" y="104"/>
                </a:lnTo>
                <a:lnTo>
                  <a:pt x="196" y="101"/>
                </a:lnTo>
                <a:lnTo>
                  <a:pt x="196" y="100"/>
                </a:lnTo>
                <a:lnTo>
                  <a:pt x="198" y="98"/>
                </a:lnTo>
                <a:lnTo>
                  <a:pt x="199" y="95"/>
                </a:lnTo>
                <a:lnTo>
                  <a:pt x="199" y="95"/>
                </a:lnTo>
                <a:lnTo>
                  <a:pt x="199" y="93"/>
                </a:lnTo>
                <a:lnTo>
                  <a:pt x="199" y="90"/>
                </a:lnTo>
                <a:lnTo>
                  <a:pt x="202" y="88"/>
                </a:lnTo>
                <a:lnTo>
                  <a:pt x="206" y="88"/>
                </a:lnTo>
                <a:lnTo>
                  <a:pt x="206" y="88"/>
                </a:lnTo>
                <a:lnTo>
                  <a:pt x="211" y="87"/>
                </a:lnTo>
                <a:lnTo>
                  <a:pt x="212" y="84"/>
                </a:lnTo>
                <a:lnTo>
                  <a:pt x="211" y="81"/>
                </a:lnTo>
                <a:lnTo>
                  <a:pt x="209" y="78"/>
                </a:lnTo>
                <a:lnTo>
                  <a:pt x="209" y="78"/>
                </a:lnTo>
                <a:lnTo>
                  <a:pt x="208" y="78"/>
                </a:lnTo>
                <a:lnTo>
                  <a:pt x="208" y="77"/>
                </a:lnTo>
                <a:lnTo>
                  <a:pt x="208" y="74"/>
                </a:lnTo>
                <a:lnTo>
                  <a:pt x="211" y="70"/>
                </a:lnTo>
                <a:lnTo>
                  <a:pt x="215" y="68"/>
                </a:lnTo>
                <a:lnTo>
                  <a:pt x="215" y="68"/>
                </a:lnTo>
                <a:lnTo>
                  <a:pt x="218" y="66"/>
                </a:lnTo>
                <a:lnTo>
                  <a:pt x="220" y="60"/>
                </a:lnTo>
                <a:lnTo>
                  <a:pt x="220" y="60"/>
                </a:lnTo>
                <a:lnTo>
                  <a:pt x="213" y="58"/>
                </a:lnTo>
                <a:lnTo>
                  <a:pt x="208" y="58"/>
                </a:lnTo>
                <a:lnTo>
                  <a:pt x="196" y="58"/>
                </a:lnTo>
                <a:lnTo>
                  <a:pt x="196" y="58"/>
                </a:lnTo>
                <a:lnTo>
                  <a:pt x="195" y="58"/>
                </a:lnTo>
                <a:lnTo>
                  <a:pt x="195" y="57"/>
                </a:lnTo>
                <a:lnTo>
                  <a:pt x="196" y="54"/>
                </a:lnTo>
                <a:lnTo>
                  <a:pt x="199" y="50"/>
                </a:lnTo>
                <a:lnTo>
                  <a:pt x="201" y="44"/>
                </a:lnTo>
                <a:lnTo>
                  <a:pt x="201" y="44"/>
                </a:lnTo>
                <a:lnTo>
                  <a:pt x="201" y="43"/>
                </a:lnTo>
                <a:lnTo>
                  <a:pt x="199" y="41"/>
                </a:lnTo>
                <a:lnTo>
                  <a:pt x="192" y="38"/>
                </a:lnTo>
                <a:lnTo>
                  <a:pt x="178" y="36"/>
                </a:lnTo>
                <a:lnTo>
                  <a:pt x="178" y="36"/>
                </a:lnTo>
                <a:lnTo>
                  <a:pt x="174" y="34"/>
                </a:lnTo>
                <a:lnTo>
                  <a:pt x="174" y="31"/>
                </a:lnTo>
                <a:lnTo>
                  <a:pt x="175" y="29"/>
                </a:lnTo>
                <a:lnTo>
                  <a:pt x="179" y="27"/>
                </a:lnTo>
                <a:lnTo>
                  <a:pt x="179" y="27"/>
                </a:lnTo>
                <a:lnTo>
                  <a:pt x="181" y="27"/>
                </a:lnTo>
                <a:lnTo>
                  <a:pt x="182" y="26"/>
                </a:lnTo>
                <a:lnTo>
                  <a:pt x="179" y="24"/>
                </a:lnTo>
                <a:lnTo>
                  <a:pt x="174" y="23"/>
                </a:lnTo>
                <a:lnTo>
                  <a:pt x="166" y="23"/>
                </a:lnTo>
                <a:lnTo>
                  <a:pt x="166" y="23"/>
                </a:lnTo>
                <a:lnTo>
                  <a:pt x="158" y="24"/>
                </a:lnTo>
                <a:lnTo>
                  <a:pt x="149" y="27"/>
                </a:lnTo>
                <a:lnTo>
                  <a:pt x="135" y="34"/>
                </a:lnTo>
                <a:lnTo>
                  <a:pt x="135" y="34"/>
                </a:lnTo>
                <a:lnTo>
                  <a:pt x="132" y="34"/>
                </a:lnTo>
                <a:lnTo>
                  <a:pt x="128" y="34"/>
                </a:lnTo>
                <a:lnTo>
                  <a:pt x="121" y="30"/>
                </a:lnTo>
                <a:lnTo>
                  <a:pt x="112" y="26"/>
                </a:lnTo>
                <a:lnTo>
                  <a:pt x="108" y="24"/>
                </a:lnTo>
                <a:lnTo>
                  <a:pt x="105" y="26"/>
                </a:lnTo>
                <a:lnTo>
                  <a:pt x="105" y="26"/>
                </a:lnTo>
                <a:lnTo>
                  <a:pt x="98" y="27"/>
                </a:lnTo>
                <a:lnTo>
                  <a:pt x="91" y="27"/>
                </a:lnTo>
                <a:lnTo>
                  <a:pt x="85" y="26"/>
                </a:lnTo>
                <a:lnTo>
                  <a:pt x="84" y="24"/>
                </a:lnTo>
                <a:lnTo>
                  <a:pt x="84" y="21"/>
                </a:lnTo>
                <a:lnTo>
                  <a:pt x="84" y="21"/>
                </a:lnTo>
                <a:lnTo>
                  <a:pt x="83" y="17"/>
                </a:lnTo>
                <a:lnTo>
                  <a:pt x="81" y="13"/>
                </a:lnTo>
                <a:lnTo>
                  <a:pt x="77" y="10"/>
                </a:lnTo>
                <a:lnTo>
                  <a:pt x="71" y="9"/>
                </a:lnTo>
                <a:lnTo>
                  <a:pt x="71" y="9"/>
                </a:lnTo>
                <a:lnTo>
                  <a:pt x="68" y="9"/>
                </a:lnTo>
                <a:lnTo>
                  <a:pt x="67" y="9"/>
                </a:lnTo>
                <a:lnTo>
                  <a:pt x="64" y="4"/>
                </a:lnTo>
                <a:lnTo>
                  <a:pt x="61" y="1"/>
                </a:lnTo>
                <a:lnTo>
                  <a:pt x="60" y="0"/>
                </a:lnTo>
                <a:lnTo>
                  <a:pt x="58" y="0"/>
                </a:lnTo>
                <a:lnTo>
                  <a:pt x="58" y="0"/>
                </a:lnTo>
                <a:lnTo>
                  <a:pt x="55" y="0"/>
                </a:lnTo>
                <a:lnTo>
                  <a:pt x="55" y="1"/>
                </a:lnTo>
                <a:lnTo>
                  <a:pt x="54" y="4"/>
                </a:lnTo>
                <a:lnTo>
                  <a:pt x="55" y="9"/>
                </a:lnTo>
                <a:lnTo>
                  <a:pt x="54" y="10"/>
                </a:lnTo>
                <a:lnTo>
                  <a:pt x="53" y="10"/>
                </a:lnTo>
                <a:lnTo>
                  <a:pt x="53" y="10"/>
                </a:lnTo>
                <a:lnTo>
                  <a:pt x="41" y="16"/>
                </a:lnTo>
                <a:lnTo>
                  <a:pt x="34" y="19"/>
                </a:lnTo>
                <a:lnTo>
                  <a:pt x="33" y="21"/>
                </a:lnTo>
                <a:lnTo>
                  <a:pt x="31" y="23"/>
                </a:lnTo>
                <a:lnTo>
                  <a:pt x="31" y="23"/>
                </a:lnTo>
                <a:lnTo>
                  <a:pt x="33" y="29"/>
                </a:lnTo>
                <a:lnTo>
                  <a:pt x="36" y="34"/>
                </a:lnTo>
                <a:lnTo>
                  <a:pt x="37" y="41"/>
                </a:lnTo>
                <a:lnTo>
                  <a:pt x="37" y="44"/>
                </a:lnTo>
                <a:lnTo>
                  <a:pt x="37" y="47"/>
                </a:lnTo>
                <a:lnTo>
                  <a:pt x="37" y="47"/>
                </a:lnTo>
                <a:lnTo>
                  <a:pt x="36" y="48"/>
                </a:lnTo>
                <a:lnTo>
                  <a:pt x="33" y="50"/>
                </a:lnTo>
                <a:lnTo>
                  <a:pt x="28" y="48"/>
                </a:lnTo>
                <a:lnTo>
                  <a:pt x="23" y="46"/>
                </a:lnTo>
                <a:lnTo>
                  <a:pt x="20" y="41"/>
                </a:lnTo>
                <a:lnTo>
                  <a:pt x="20" y="41"/>
                </a:lnTo>
                <a:lnTo>
                  <a:pt x="18" y="38"/>
                </a:lnTo>
                <a:lnTo>
                  <a:pt x="20" y="36"/>
                </a:lnTo>
                <a:lnTo>
                  <a:pt x="23" y="30"/>
                </a:lnTo>
                <a:lnTo>
                  <a:pt x="26" y="24"/>
                </a:lnTo>
                <a:lnTo>
                  <a:pt x="27" y="21"/>
                </a:lnTo>
                <a:lnTo>
                  <a:pt x="27" y="20"/>
                </a:lnTo>
                <a:lnTo>
                  <a:pt x="27" y="20"/>
                </a:lnTo>
                <a:lnTo>
                  <a:pt x="24" y="14"/>
                </a:lnTo>
                <a:lnTo>
                  <a:pt x="24" y="11"/>
                </a:lnTo>
                <a:lnTo>
                  <a:pt x="24" y="9"/>
                </a:lnTo>
                <a:lnTo>
                  <a:pt x="24" y="9"/>
                </a:lnTo>
                <a:lnTo>
                  <a:pt x="21" y="10"/>
                </a:lnTo>
                <a:lnTo>
                  <a:pt x="20" y="11"/>
                </a:lnTo>
                <a:lnTo>
                  <a:pt x="20" y="11"/>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16" name="Freeform 303">
            <a:extLst>
              <a:ext uri="{FF2B5EF4-FFF2-40B4-BE49-F238E27FC236}">
                <a16:creationId xmlns:a16="http://schemas.microsoft.com/office/drawing/2014/main" id="{D322411F-5ABD-616E-3D0C-21187F3E9EFF}"/>
              </a:ext>
            </a:extLst>
          </p:cNvPr>
          <p:cNvSpPr>
            <a:spLocks/>
          </p:cNvSpPr>
          <p:nvPr userDrawn="1"/>
        </p:nvSpPr>
        <p:spPr bwMode="gray">
          <a:xfrm>
            <a:off x="3133637" y="3218499"/>
            <a:ext cx="87135" cy="92336"/>
          </a:xfrm>
          <a:custGeom>
            <a:avLst/>
            <a:gdLst/>
            <a:ahLst/>
            <a:cxnLst>
              <a:cxn ang="0">
                <a:pos x="14" y="14"/>
              </a:cxn>
              <a:cxn ang="0">
                <a:pos x="13" y="18"/>
              </a:cxn>
              <a:cxn ang="0">
                <a:pos x="7" y="21"/>
              </a:cxn>
              <a:cxn ang="0">
                <a:pos x="6" y="21"/>
              </a:cxn>
              <a:cxn ang="0">
                <a:pos x="3" y="27"/>
              </a:cxn>
              <a:cxn ang="0">
                <a:pos x="0" y="35"/>
              </a:cxn>
              <a:cxn ang="0">
                <a:pos x="0" y="37"/>
              </a:cxn>
              <a:cxn ang="0">
                <a:pos x="6" y="42"/>
              </a:cxn>
              <a:cxn ang="0">
                <a:pos x="14" y="51"/>
              </a:cxn>
              <a:cxn ang="0">
                <a:pos x="23" y="70"/>
              </a:cxn>
              <a:cxn ang="0">
                <a:pos x="27" y="71"/>
              </a:cxn>
              <a:cxn ang="0">
                <a:pos x="31" y="70"/>
              </a:cxn>
              <a:cxn ang="0">
                <a:pos x="34" y="64"/>
              </a:cxn>
              <a:cxn ang="0">
                <a:pos x="36" y="60"/>
              </a:cxn>
              <a:cxn ang="0">
                <a:pos x="38" y="60"/>
              </a:cxn>
              <a:cxn ang="0">
                <a:pos x="53" y="60"/>
              </a:cxn>
              <a:cxn ang="0">
                <a:pos x="55" y="61"/>
              </a:cxn>
              <a:cxn ang="0">
                <a:pos x="57" y="62"/>
              </a:cxn>
              <a:cxn ang="0">
                <a:pos x="63" y="55"/>
              </a:cxn>
              <a:cxn ang="0">
                <a:pos x="63" y="40"/>
              </a:cxn>
              <a:cxn ang="0">
                <a:pos x="60" y="34"/>
              </a:cxn>
              <a:cxn ang="0">
                <a:pos x="60" y="23"/>
              </a:cxn>
              <a:cxn ang="0">
                <a:pos x="63" y="15"/>
              </a:cxn>
              <a:cxn ang="0">
                <a:pos x="67" y="7"/>
              </a:cxn>
              <a:cxn ang="0">
                <a:pos x="58" y="4"/>
              </a:cxn>
              <a:cxn ang="0">
                <a:pos x="50" y="3"/>
              </a:cxn>
              <a:cxn ang="0">
                <a:pos x="33" y="6"/>
              </a:cxn>
              <a:cxn ang="0">
                <a:pos x="30" y="3"/>
              </a:cxn>
              <a:cxn ang="0">
                <a:pos x="27" y="1"/>
              </a:cxn>
              <a:cxn ang="0">
                <a:pos x="21" y="1"/>
              </a:cxn>
              <a:cxn ang="0">
                <a:pos x="17" y="3"/>
              </a:cxn>
              <a:cxn ang="0">
                <a:pos x="16" y="3"/>
              </a:cxn>
              <a:cxn ang="0">
                <a:pos x="14" y="14"/>
              </a:cxn>
            </a:cxnLst>
            <a:rect l="0" t="0" r="r" b="b"/>
            <a:pathLst>
              <a:path w="67" h="71">
                <a:moveTo>
                  <a:pt x="14" y="14"/>
                </a:moveTo>
                <a:lnTo>
                  <a:pt x="14" y="14"/>
                </a:lnTo>
                <a:lnTo>
                  <a:pt x="14" y="17"/>
                </a:lnTo>
                <a:lnTo>
                  <a:pt x="13" y="18"/>
                </a:lnTo>
                <a:lnTo>
                  <a:pt x="10" y="20"/>
                </a:lnTo>
                <a:lnTo>
                  <a:pt x="7" y="21"/>
                </a:lnTo>
                <a:lnTo>
                  <a:pt x="7" y="21"/>
                </a:lnTo>
                <a:lnTo>
                  <a:pt x="6" y="21"/>
                </a:lnTo>
                <a:lnTo>
                  <a:pt x="4" y="23"/>
                </a:lnTo>
                <a:lnTo>
                  <a:pt x="3" y="27"/>
                </a:lnTo>
                <a:lnTo>
                  <a:pt x="1" y="31"/>
                </a:lnTo>
                <a:lnTo>
                  <a:pt x="0" y="35"/>
                </a:lnTo>
                <a:lnTo>
                  <a:pt x="0" y="35"/>
                </a:lnTo>
                <a:lnTo>
                  <a:pt x="0" y="37"/>
                </a:lnTo>
                <a:lnTo>
                  <a:pt x="1" y="38"/>
                </a:lnTo>
                <a:lnTo>
                  <a:pt x="6" y="42"/>
                </a:lnTo>
                <a:lnTo>
                  <a:pt x="10" y="47"/>
                </a:lnTo>
                <a:lnTo>
                  <a:pt x="14" y="51"/>
                </a:lnTo>
                <a:lnTo>
                  <a:pt x="14" y="51"/>
                </a:lnTo>
                <a:lnTo>
                  <a:pt x="23" y="70"/>
                </a:lnTo>
                <a:lnTo>
                  <a:pt x="23" y="70"/>
                </a:lnTo>
                <a:lnTo>
                  <a:pt x="27" y="71"/>
                </a:lnTo>
                <a:lnTo>
                  <a:pt x="31" y="70"/>
                </a:lnTo>
                <a:lnTo>
                  <a:pt x="31" y="70"/>
                </a:lnTo>
                <a:lnTo>
                  <a:pt x="33" y="68"/>
                </a:lnTo>
                <a:lnTo>
                  <a:pt x="34" y="64"/>
                </a:lnTo>
                <a:lnTo>
                  <a:pt x="34" y="61"/>
                </a:lnTo>
                <a:lnTo>
                  <a:pt x="36" y="60"/>
                </a:lnTo>
                <a:lnTo>
                  <a:pt x="38" y="60"/>
                </a:lnTo>
                <a:lnTo>
                  <a:pt x="38" y="60"/>
                </a:lnTo>
                <a:lnTo>
                  <a:pt x="48" y="60"/>
                </a:lnTo>
                <a:lnTo>
                  <a:pt x="53" y="60"/>
                </a:lnTo>
                <a:lnTo>
                  <a:pt x="55" y="61"/>
                </a:lnTo>
                <a:lnTo>
                  <a:pt x="55" y="61"/>
                </a:lnTo>
                <a:lnTo>
                  <a:pt x="57" y="62"/>
                </a:lnTo>
                <a:lnTo>
                  <a:pt x="57" y="62"/>
                </a:lnTo>
                <a:lnTo>
                  <a:pt x="63" y="55"/>
                </a:lnTo>
                <a:lnTo>
                  <a:pt x="63" y="55"/>
                </a:lnTo>
                <a:lnTo>
                  <a:pt x="63" y="47"/>
                </a:lnTo>
                <a:lnTo>
                  <a:pt x="63" y="40"/>
                </a:lnTo>
                <a:lnTo>
                  <a:pt x="60" y="34"/>
                </a:lnTo>
                <a:lnTo>
                  <a:pt x="60" y="34"/>
                </a:lnTo>
                <a:lnTo>
                  <a:pt x="60" y="28"/>
                </a:lnTo>
                <a:lnTo>
                  <a:pt x="60" y="23"/>
                </a:lnTo>
                <a:lnTo>
                  <a:pt x="61" y="18"/>
                </a:lnTo>
                <a:lnTo>
                  <a:pt x="63" y="15"/>
                </a:lnTo>
                <a:lnTo>
                  <a:pt x="63" y="15"/>
                </a:lnTo>
                <a:lnTo>
                  <a:pt x="67" y="7"/>
                </a:lnTo>
                <a:lnTo>
                  <a:pt x="67" y="7"/>
                </a:lnTo>
                <a:lnTo>
                  <a:pt x="58" y="4"/>
                </a:lnTo>
                <a:lnTo>
                  <a:pt x="50" y="3"/>
                </a:lnTo>
                <a:lnTo>
                  <a:pt x="50" y="3"/>
                </a:lnTo>
                <a:lnTo>
                  <a:pt x="38" y="6"/>
                </a:lnTo>
                <a:lnTo>
                  <a:pt x="33" y="6"/>
                </a:lnTo>
                <a:lnTo>
                  <a:pt x="31" y="4"/>
                </a:lnTo>
                <a:lnTo>
                  <a:pt x="30" y="3"/>
                </a:lnTo>
                <a:lnTo>
                  <a:pt x="30" y="3"/>
                </a:lnTo>
                <a:lnTo>
                  <a:pt x="27" y="1"/>
                </a:lnTo>
                <a:lnTo>
                  <a:pt x="24" y="0"/>
                </a:lnTo>
                <a:lnTo>
                  <a:pt x="21" y="1"/>
                </a:lnTo>
                <a:lnTo>
                  <a:pt x="17" y="3"/>
                </a:lnTo>
                <a:lnTo>
                  <a:pt x="17" y="3"/>
                </a:lnTo>
                <a:lnTo>
                  <a:pt x="16" y="3"/>
                </a:lnTo>
                <a:lnTo>
                  <a:pt x="16" y="3"/>
                </a:lnTo>
                <a:lnTo>
                  <a:pt x="14" y="10"/>
                </a:lnTo>
                <a:lnTo>
                  <a:pt x="14" y="14"/>
                </a:lnTo>
                <a:lnTo>
                  <a:pt x="14" y="1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17" name="Freeform 304">
            <a:extLst>
              <a:ext uri="{FF2B5EF4-FFF2-40B4-BE49-F238E27FC236}">
                <a16:creationId xmlns:a16="http://schemas.microsoft.com/office/drawing/2014/main" id="{17A3A838-5201-F148-37DC-FBD68A06A744}"/>
              </a:ext>
            </a:extLst>
          </p:cNvPr>
          <p:cNvSpPr>
            <a:spLocks/>
          </p:cNvSpPr>
          <p:nvPr userDrawn="1"/>
        </p:nvSpPr>
        <p:spPr bwMode="gray">
          <a:xfrm>
            <a:off x="3064710" y="3170381"/>
            <a:ext cx="98839" cy="150859"/>
          </a:xfrm>
          <a:custGeom>
            <a:avLst/>
            <a:gdLst/>
            <a:ahLst/>
            <a:cxnLst>
              <a:cxn ang="0">
                <a:pos x="19" y="8"/>
              </a:cxn>
              <a:cxn ang="0">
                <a:pos x="12" y="14"/>
              </a:cxn>
              <a:cxn ang="0">
                <a:pos x="12" y="18"/>
              </a:cxn>
              <a:cxn ang="0">
                <a:pos x="13" y="18"/>
              </a:cxn>
              <a:cxn ang="0">
                <a:pos x="16" y="24"/>
              </a:cxn>
              <a:cxn ang="0">
                <a:pos x="10" y="28"/>
              </a:cxn>
              <a:cxn ang="0">
                <a:pos x="6" y="28"/>
              </a:cxn>
              <a:cxn ang="0">
                <a:pos x="3" y="33"/>
              </a:cxn>
              <a:cxn ang="0">
                <a:pos x="3" y="35"/>
              </a:cxn>
              <a:cxn ang="0">
                <a:pos x="0" y="40"/>
              </a:cxn>
              <a:cxn ang="0">
                <a:pos x="0" y="44"/>
              </a:cxn>
              <a:cxn ang="0">
                <a:pos x="6" y="50"/>
              </a:cxn>
              <a:cxn ang="0">
                <a:pos x="12" y="57"/>
              </a:cxn>
              <a:cxn ang="0">
                <a:pos x="17" y="54"/>
              </a:cxn>
              <a:cxn ang="0">
                <a:pos x="19" y="54"/>
              </a:cxn>
              <a:cxn ang="0">
                <a:pos x="22" y="60"/>
              </a:cxn>
              <a:cxn ang="0">
                <a:pos x="23" y="65"/>
              </a:cxn>
              <a:cxn ang="0">
                <a:pos x="24" y="67"/>
              </a:cxn>
              <a:cxn ang="0">
                <a:pos x="29" y="74"/>
              </a:cxn>
              <a:cxn ang="0">
                <a:pos x="26" y="79"/>
              </a:cxn>
              <a:cxn ang="0">
                <a:pos x="23" y="85"/>
              </a:cxn>
              <a:cxn ang="0">
                <a:pos x="24" y="101"/>
              </a:cxn>
              <a:cxn ang="0">
                <a:pos x="29" y="108"/>
              </a:cxn>
              <a:cxn ang="0">
                <a:pos x="34" y="114"/>
              </a:cxn>
              <a:cxn ang="0">
                <a:pos x="44" y="116"/>
              </a:cxn>
              <a:cxn ang="0">
                <a:pos x="46" y="115"/>
              </a:cxn>
              <a:cxn ang="0">
                <a:pos x="52" y="114"/>
              </a:cxn>
              <a:cxn ang="0">
                <a:pos x="57" y="111"/>
              </a:cxn>
              <a:cxn ang="0">
                <a:pos x="59" y="109"/>
              </a:cxn>
              <a:cxn ang="0">
                <a:pos x="63" y="108"/>
              </a:cxn>
              <a:cxn ang="0">
                <a:pos x="64" y="107"/>
              </a:cxn>
              <a:cxn ang="0">
                <a:pos x="70" y="105"/>
              </a:cxn>
              <a:cxn ang="0">
                <a:pos x="76" y="107"/>
              </a:cxn>
              <a:cxn ang="0">
                <a:pos x="67" y="88"/>
              </a:cxn>
              <a:cxn ang="0">
                <a:pos x="59" y="79"/>
              </a:cxn>
              <a:cxn ang="0">
                <a:pos x="53" y="74"/>
              </a:cxn>
              <a:cxn ang="0">
                <a:pos x="53" y="72"/>
              </a:cxn>
              <a:cxn ang="0">
                <a:pos x="56" y="64"/>
              </a:cxn>
              <a:cxn ang="0">
                <a:pos x="59" y="58"/>
              </a:cxn>
              <a:cxn ang="0">
                <a:pos x="60" y="58"/>
              </a:cxn>
              <a:cxn ang="0">
                <a:pos x="66" y="55"/>
              </a:cxn>
              <a:cxn ang="0">
                <a:pos x="67" y="51"/>
              </a:cxn>
              <a:cxn ang="0">
                <a:pos x="67" y="47"/>
              </a:cxn>
              <a:cxn ang="0">
                <a:pos x="69" y="40"/>
              </a:cxn>
              <a:cxn ang="0">
                <a:pos x="61" y="34"/>
              </a:cxn>
              <a:cxn ang="0">
                <a:pos x="54" y="27"/>
              </a:cxn>
              <a:cxn ang="0">
                <a:pos x="52" y="27"/>
              </a:cxn>
              <a:cxn ang="0">
                <a:pos x="46" y="21"/>
              </a:cxn>
              <a:cxn ang="0">
                <a:pos x="46" y="17"/>
              </a:cxn>
              <a:cxn ang="0">
                <a:pos x="44" y="14"/>
              </a:cxn>
              <a:cxn ang="0">
                <a:pos x="36" y="8"/>
              </a:cxn>
              <a:cxn ang="0">
                <a:pos x="30" y="4"/>
              </a:cxn>
              <a:cxn ang="0">
                <a:pos x="24" y="0"/>
              </a:cxn>
              <a:cxn ang="0">
                <a:pos x="22" y="6"/>
              </a:cxn>
              <a:cxn ang="0">
                <a:pos x="19" y="8"/>
              </a:cxn>
            </a:cxnLst>
            <a:rect l="0" t="0" r="r" b="b"/>
            <a:pathLst>
              <a:path w="76" h="116">
                <a:moveTo>
                  <a:pt x="19" y="8"/>
                </a:moveTo>
                <a:lnTo>
                  <a:pt x="19" y="8"/>
                </a:lnTo>
                <a:lnTo>
                  <a:pt x="15" y="10"/>
                </a:lnTo>
                <a:lnTo>
                  <a:pt x="12" y="14"/>
                </a:lnTo>
                <a:lnTo>
                  <a:pt x="12" y="17"/>
                </a:lnTo>
                <a:lnTo>
                  <a:pt x="12" y="18"/>
                </a:lnTo>
                <a:lnTo>
                  <a:pt x="13" y="18"/>
                </a:lnTo>
                <a:lnTo>
                  <a:pt x="13" y="18"/>
                </a:lnTo>
                <a:lnTo>
                  <a:pt x="15" y="21"/>
                </a:lnTo>
                <a:lnTo>
                  <a:pt x="16" y="24"/>
                </a:lnTo>
                <a:lnTo>
                  <a:pt x="15" y="27"/>
                </a:lnTo>
                <a:lnTo>
                  <a:pt x="10" y="28"/>
                </a:lnTo>
                <a:lnTo>
                  <a:pt x="10" y="28"/>
                </a:lnTo>
                <a:lnTo>
                  <a:pt x="6" y="28"/>
                </a:lnTo>
                <a:lnTo>
                  <a:pt x="3" y="30"/>
                </a:lnTo>
                <a:lnTo>
                  <a:pt x="3" y="33"/>
                </a:lnTo>
                <a:lnTo>
                  <a:pt x="3" y="35"/>
                </a:lnTo>
                <a:lnTo>
                  <a:pt x="3" y="35"/>
                </a:lnTo>
                <a:lnTo>
                  <a:pt x="2" y="38"/>
                </a:lnTo>
                <a:lnTo>
                  <a:pt x="0" y="40"/>
                </a:lnTo>
                <a:lnTo>
                  <a:pt x="0" y="41"/>
                </a:lnTo>
                <a:lnTo>
                  <a:pt x="0" y="44"/>
                </a:lnTo>
                <a:lnTo>
                  <a:pt x="0" y="44"/>
                </a:lnTo>
                <a:lnTo>
                  <a:pt x="6" y="50"/>
                </a:lnTo>
                <a:lnTo>
                  <a:pt x="12" y="57"/>
                </a:lnTo>
                <a:lnTo>
                  <a:pt x="12" y="57"/>
                </a:lnTo>
                <a:lnTo>
                  <a:pt x="13" y="54"/>
                </a:lnTo>
                <a:lnTo>
                  <a:pt x="17" y="54"/>
                </a:lnTo>
                <a:lnTo>
                  <a:pt x="17" y="54"/>
                </a:lnTo>
                <a:lnTo>
                  <a:pt x="19" y="54"/>
                </a:lnTo>
                <a:lnTo>
                  <a:pt x="20" y="55"/>
                </a:lnTo>
                <a:lnTo>
                  <a:pt x="22" y="60"/>
                </a:lnTo>
                <a:lnTo>
                  <a:pt x="22" y="64"/>
                </a:lnTo>
                <a:lnTo>
                  <a:pt x="23" y="65"/>
                </a:lnTo>
                <a:lnTo>
                  <a:pt x="24" y="67"/>
                </a:lnTo>
                <a:lnTo>
                  <a:pt x="24" y="67"/>
                </a:lnTo>
                <a:lnTo>
                  <a:pt x="27" y="70"/>
                </a:lnTo>
                <a:lnTo>
                  <a:pt x="29" y="74"/>
                </a:lnTo>
                <a:lnTo>
                  <a:pt x="27" y="77"/>
                </a:lnTo>
                <a:lnTo>
                  <a:pt x="26" y="79"/>
                </a:lnTo>
                <a:lnTo>
                  <a:pt x="26" y="79"/>
                </a:lnTo>
                <a:lnTo>
                  <a:pt x="23" y="85"/>
                </a:lnTo>
                <a:lnTo>
                  <a:pt x="23" y="92"/>
                </a:lnTo>
                <a:lnTo>
                  <a:pt x="24" y="101"/>
                </a:lnTo>
                <a:lnTo>
                  <a:pt x="26" y="105"/>
                </a:lnTo>
                <a:lnTo>
                  <a:pt x="29" y="108"/>
                </a:lnTo>
                <a:lnTo>
                  <a:pt x="29" y="108"/>
                </a:lnTo>
                <a:lnTo>
                  <a:pt x="34" y="114"/>
                </a:lnTo>
                <a:lnTo>
                  <a:pt x="40" y="116"/>
                </a:lnTo>
                <a:lnTo>
                  <a:pt x="44" y="116"/>
                </a:lnTo>
                <a:lnTo>
                  <a:pt x="46" y="115"/>
                </a:lnTo>
                <a:lnTo>
                  <a:pt x="46" y="115"/>
                </a:lnTo>
                <a:lnTo>
                  <a:pt x="49" y="114"/>
                </a:lnTo>
                <a:lnTo>
                  <a:pt x="52" y="114"/>
                </a:lnTo>
                <a:lnTo>
                  <a:pt x="54" y="112"/>
                </a:lnTo>
                <a:lnTo>
                  <a:pt x="57" y="111"/>
                </a:lnTo>
                <a:lnTo>
                  <a:pt x="57" y="111"/>
                </a:lnTo>
                <a:lnTo>
                  <a:pt x="59" y="109"/>
                </a:lnTo>
                <a:lnTo>
                  <a:pt x="60" y="109"/>
                </a:lnTo>
                <a:lnTo>
                  <a:pt x="63" y="108"/>
                </a:lnTo>
                <a:lnTo>
                  <a:pt x="64" y="107"/>
                </a:lnTo>
                <a:lnTo>
                  <a:pt x="64" y="107"/>
                </a:lnTo>
                <a:lnTo>
                  <a:pt x="67" y="105"/>
                </a:lnTo>
                <a:lnTo>
                  <a:pt x="70" y="105"/>
                </a:lnTo>
                <a:lnTo>
                  <a:pt x="76" y="107"/>
                </a:lnTo>
                <a:lnTo>
                  <a:pt x="76" y="107"/>
                </a:lnTo>
                <a:lnTo>
                  <a:pt x="67" y="88"/>
                </a:lnTo>
                <a:lnTo>
                  <a:pt x="67" y="88"/>
                </a:lnTo>
                <a:lnTo>
                  <a:pt x="63" y="84"/>
                </a:lnTo>
                <a:lnTo>
                  <a:pt x="59" y="79"/>
                </a:lnTo>
                <a:lnTo>
                  <a:pt x="54" y="75"/>
                </a:lnTo>
                <a:lnTo>
                  <a:pt x="53" y="74"/>
                </a:lnTo>
                <a:lnTo>
                  <a:pt x="53" y="72"/>
                </a:lnTo>
                <a:lnTo>
                  <a:pt x="53" y="72"/>
                </a:lnTo>
                <a:lnTo>
                  <a:pt x="54" y="68"/>
                </a:lnTo>
                <a:lnTo>
                  <a:pt x="56" y="64"/>
                </a:lnTo>
                <a:lnTo>
                  <a:pt x="57" y="60"/>
                </a:lnTo>
                <a:lnTo>
                  <a:pt x="59" y="58"/>
                </a:lnTo>
                <a:lnTo>
                  <a:pt x="60" y="58"/>
                </a:lnTo>
                <a:lnTo>
                  <a:pt x="60" y="58"/>
                </a:lnTo>
                <a:lnTo>
                  <a:pt x="63" y="57"/>
                </a:lnTo>
                <a:lnTo>
                  <a:pt x="66" y="55"/>
                </a:lnTo>
                <a:lnTo>
                  <a:pt x="67" y="54"/>
                </a:lnTo>
                <a:lnTo>
                  <a:pt x="67" y="51"/>
                </a:lnTo>
                <a:lnTo>
                  <a:pt x="67" y="51"/>
                </a:lnTo>
                <a:lnTo>
                  <a:pt x="67" y="47"/>
                </a:lnTo>
                <a:lnTo>
                  <a:pt x="69" y="40"/>
                </a:lnTo>
                <a:lnTo>
                  <a:pt x="69" y="40"/>
                </a:lnTo>
                <a:lnTo>
                  <a:pt x="66" y="38"/>
                </a:lnTo>
                <a:lnTo>
                  <a:pt x="61" y="34"/>
                </a:lnTo>
                <a:lnTo>
                  <a:pt x="57" y="30"/>
                </a:lnTo>
                <a:lnTo>
                  <a:pt x="54" y="27"/>
                </a:lnTo>
                <a:lnTo>
                  <a:pt x="54" y="27"/>
                </a:lnTo>
                <a:lnTo>
                  <a:pt x="52" y="27"/>
                </a:lnTo>
                <a:lnTo>
                  <a:pt x="49" y="24"/>
                </a:lnTo>
                <a:lnTo>
                  <a:pt x="46" y="21"/>
                </a:lnTo>
                <a:lnTo>
                  <a:pt x="46" y="17"/>
                </a:lnTo>
                <a:lnTo>
                  <a:pt x="46" y="17"/>
                </a:lnTo>
                <a:lnTo>
                  <a:pt x="46" y="15"/>
                </a:lnTo>
                <a:lnTo>
                  <a:pt x="44" y="14"/>
                </a:lnTo>
                <a:lnTo>
                  <a:pt x="40" y="11"/>
                </a:lnTo>
                <a:lnTo>
                  <a:pt x="36" y="8"/>
                </a:lnTo>
                <a:lnTo>
                  <a:pt x="30" y="4"/>
                </a:lnTo>
                <a:lnTo>
                  <a:pt x="30" y="4"/>
                </a:lnTo>
                <a:lnTo>
                  <a:pt x="27" y="1"/>
                </a:lnTo>
                <a:lnTo>
                  <a:pt x="24" y="0"/>
                </a:lnTo>
                <a:lnTo>
                  <a:pt x="24" y="0"/>
                </a:lnTo>
                <a:lnTo>
                  <a:pt x="22" y="6"/>
                </a:lnTo>
                <a:lnTo>
                  <a:pt x="19" y="8"/>
                </a:lnTo>
                <a:lnTo>
                  <a:pt x="19" y="8"/>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18" name="Freeform 305">
            <a:extLst>
              <a:ext uri="{FF2B5EF4-FFF2-40B4-BE49-F238E27FC236}">
                <a16:creationId xmlns:a16="http://schemas.microsoft.com/office/drawing/2014/main" id="{4F0C36FC-1FB4-CD7E-FDBF-D4F569FAAE3A}"/>
              </a:ext>
            </a:extLst>
          </p:cNvPr>
          <p:cNvSpPr>
            <a:spLocks/>
          </p:cNvSpPr>
          <p:nvPr userDrawn="1"/>
        </p:nvSpPr>
        <p:spPr bwMode="gray">
          <a:xfrm>
            <a:off x="3207766" y="3227603"/>
            <a:ext cx="66327" cy="78031"/>
          </a:xfrm>
          <a:custGeom>
            <a:avLst/>
            <a:gdLst/>
            <a:ahLst/>
            <a:cxnLst>
              <a:cxn ang="0">
                <a:pos x="3" y="27"/>
              </a:cxn>
              <a:cxn ang="0">
                <a:pos x="3" y="27"/>
              </a:cxn>
              <a:cxn ang="0">
                <a:pos x="6" y="33"/>
              </a:cxn>
              <a:cxn ang="0">
                <a:pos x="6" y="40"/>
              </a:cxn>
              <a:cxn ang="0">
                <a:pos x="6" y="48"/>
              </a:cxn>
              <a:cxn ang="0">
                <a:pos x="6" y="48"/>
              </a:cxn>
              <a:cxn ang="0">
                <a:pos x="0" y="55"/>
              </a:cxn>
              <a:cxn ang="0">
                <a:pos x="0" y="55"/>
              </a:cxn>
              <a:cxn ang="0">
                <a:pos x="3" y="58"/>
              </a:cxn>
              <a:cxn ang="0">
                <a:pos x="6" y="60"/>
              </a:cxn>
              <a:cxn ang="0">
                <a:pos x="10" y="60"/>
              </a:cxn>
              <a:cxn ang="0">
                <a:pos x="14" y="58"/>
              </a:cxn>
              <a:cxn ang="0">
                <a:pos x="14" y="58"/>
              </a:cxn>
              <a:cxn ang="0">
                <a:pos x="21" y="57"/>
              </a:cxn>
              <a:cxn ang="0">
                <a:pos x="25" y="57"/>
              </a:cxn>
              <a:cxn ang="0">
                <a:pos x="28" y="55"/>
              </a:cxn>
              <a:cxn ang="0">
                <a:pos x="31" y="51"/>
              </a:cxn>
              <a:cxn ang="0">
                <a:pos x="31" y="51"/>
              </a:cxn>
              <a:cxn ang="0">
                <a:pos x="34" y="45"/>
              </a:cxn>
              <a:cxn ang="0">
                <a:pos x="40" y="38"/>
              </a:cxn>
              <a:cxn ang="0">
                <a:pos x="51" y="26"/>
              </a:cxn>
              <a:cxn ang="0">
                <a:pos x="51" y="26"/>
              </a:cxn>
              <a:cxn ang="0">
                <a:pos x="50" y="26"/>
              </a:cxn>
              <a:cxn ang="0">
                <a:pos x="50" y="26"/>
              </a:cxn>
              <a:cxn ang="0">
                <a:pos x="44" y="21"/>
              </a:cxn>
              <a:cxn ang="0">
                <a:pos x="38" y="14"/>
              </a:cxn>
              <a:cxn ang="0">
                <a:pos x="30" y="8"/>
              </a:cxn>
              <a:cxn ang="0">
                <a:pos x="27" y="6"/>
              </a:cxn>
              <a:cxn ang="0">
                <a:pos x="23" y="4"/>
              </a:cxn>
              <a:cxn ang="0">
                <a:pos x="23" y="4"/>
              </a:cxn>
              <a:cxn ang="0">
                <a:pos x="10" y="0"/>
              </a:cxn>
              <a:cxn ang="0">
                <a:pos x="10" y="0"/>
              </a:cxn>
              <a:cxn ang="0">
                <a:pos x="6" y="8"/>
              </a:cxn>
              <a:cxn ang="0">
                <a:pos x="6" y="8"/>
              </a:cxn>
              <a:cxn ang="0">
                <a:pos x="4" y="11"/>
              </a:cxn>
              <a:cxn ang="0">
                <a:pos x="3" y="16"/>
              </a:cxn>
              <a:cxn ang="0">
                <a:pos x="3" y="21"/>
              </a:cxn>
              <a:cxn ang="0">
                <a:pos x="3" y="27"/>
              </a:cxn>
              <a:cxn ang="0">
                <a:pos x="3" y="27"/>
              </a:cxn>
            </a:cxnLst>
            <a:rect l="0" t="0" r="r" b="b"/>
            <a:pathLst>
              <a:path w="51" h="60">
                <a:moveTo>
                  <a:pt x="3" y="27"/>
                </a:moveTo>
                <a:lnTo>
                  <a:pt x="3" y="27"/>
                </a:lnTo>
                <a:lnTo>
                  <a:pt x="6" y="33"/>
                </a:lnTo>
                <a:lnTo>
                  <a:pt x="6" y="40"/>
                </a:lnTo>
                <a:lnTo>
                  <a:pt x="6" y="48"/>
                </a:lnTo>
                <a:lnTo>
                  <a:pt x="6" y="48"/>
                </a:lnTo>
                <a:lnTo>
                  <a:pt x="0" y="55"/>
                </a:lnTo>
                <a:lnTo>
                  <a:pt x="0" y="55"/>
                </a:lnTo>
                <a:lnTo>
                  <a:pt x="3" y="58"/>
                </a:lnTo>
                <a:lnTo>
                  <a:pt x="6" y="60"/>
                </a:lnTo>
                <a:lnTo>
                  <a:pt x="10" y="60"/>
                </a:lnTo>
                <a:lnTo>
                  <a:pt x="14" y="58"/>
                </a:lnTo>
                <a:lnTo>
                  <a:pt x="14" y="58"/>
                </a:lnTo>
                <a:lnTo>
                  <a:pt x="21" y="57"/>
                </a:lnTo>
                <a:lnTo>
                  <a:pt x="25" y="57"/>
                </a:lnTo>
                <a:lnTo>
                  <a:pt x="28" y="55"/>
                </a:lnTo>
                <a:lnTo>
                  <a:pt x="31" y="51"/>
                </a:lnTo>
                <a:lnTo>
                  <a:pt x="31" y="51"/>
                </a:lnTo>
                <a:lnTo>
                  <a:pt x="34" y="45"/>
                </a:lnTo>
                <a:lnTo>
                  <a:pt x="40" y="38"/>
                </a:lnTo>
                <a:lnTo>
                  <a:pt x="51" y="26"/>
                </a:lnTo>
                <a:lnTo>
                  <a:pt x="51" y="26"/>
                </a:lnTo>
                <a:lnTo>
                  <a:pt x="50" y="26"/>
                </a:lnTo>
                <a:lnTo>
                  <a:pt x="50" y="26"/>
                </a:lnTo>
                <a:lnTo>
                  <a:pt x="44" y="21"/>
                </a:lnTo>
                <a:lnTo>
                  <a:pt x="38" y="14"/>
                </a:lnTo>
                <a:lnTo>
                  <a:pt x="30" y="8"/>
                </a:lnTo>
                <a:lnTo>
                  <a:pt x="27" y="6"/>
                </a:lnTo>
                <a:lnTo>
                  <a:pt x="23" y="4"/>
                </a:lnTo>
                <a:lnTo>
                  <a:pt x="23" y="4"/>
                </a:lnTo>
                <a:lnTo>
                  <a:pt x="10" y="0"/>
                </a:lnTo>
                <a:lnTo>
                  <a:pt x="10" y="0"/>
                </a:lnTo>
                <a:lnTo>
                  <a:pt x="6" y="8"/>
                </a:lnTo>
                <a:lnTo>
                  <a:pt x="6" y="8"/>
                </a:lnTo>
                <a:lnTo>
                  <a:pt x="4" y="11"/>
                </a:lnTo>
                <a:lnTo>
                  <a:pt x="3" y="16"/>
                </a:lnTo>
                <a:lnTo>
                  <a:pt x="3" y="21"/>
                </a:lnTo>
                <a:lnTo>
                  <a:pt x="3" y="27"/>
                </a:lnTo>
                <a:lnTo>
                  <a:pt x="3" y="27"/>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19" name="Freeform 306">
            <a:extLst>
              <a:ext uri="{FF2B5EF4-FFF2-40B4-BE49-F238E27FC236}">
                <a16:creationId xmlns:a16="http://schemas.microsoft.com/office/drawing/2014/main" id="{3DCD826A-D47B-892A-937E-991D7DFF5CEC}"/>
              </a:ext>
            </a:extLst>
          </p:cNvPr>
          <p:cNvSpPr>
            <a:spLocks/>
          </p:cNvSpPr>
          <p:nvPr userDrawn="1"/>
        </p:nvSpPr>
        <p:spPr bwMode="gray">
          <a:xfrm>
            <a:off x="2574418" y="2851756"/>
            <a:ext cx="214584" cy="70228"/>
          </a:xfrm>
          <a:custGeom>
            <a:avLst/>
            <a:gdLst/>
            <a:ahLst/>
            <a:cxnLst>
              <a:cxn ang="0">
                <a:pos x="135" y="33"/>
              </a:cxn>
              <a:cxn ang="0">
                <a:pos x="135" y="33"/>
              </a:cxn>
              <a:cxn ang="0">
                <a:pos x="130" y="33"/>
              </a:cxn>
              <a:cxn ang="0">
                <a:pos x="123" y="30"/>
              </a:cxn>
              <a:cxn ang="0">
                <a:pos x="104" y="20"/>
              </a:cxn>
              <a:cxn ang="0">
                <a:pos x="81" y="10"/>
              </a:cxn>
              <a:cxn ang="0">
                <a:pos x="70" y="6"/>
              </a:cxn>
              <a:cxn ang="0">
                <a:pos x="57" y="2"/>
              </a:cxn>
              <a:cxn ang="0">
                <a:pos x="57" y="2"/>
              </a:cxn>
              <a:cxn ang="0">
                <a:pos x="46" y="0"/>
              </a:cxn>
              <a:cxn ang="0">
                <a:pos x="34" y="2"/>
              </a:cxn>
              <a:cxn ang="0">
                <a:pos x="25" y="4"/>
              </a:cxn>
              <a:cxn ang="0">
                <a:pos x="16" y="7"/>
              </a:cxn>
              <a:cxn ang="0">
                <a:pos x="9" y="12"/>
              </a:cxn>
              <a:cxn ang="0">
                <a:pos x="5" y="16"/>
              </a:cxn>
              <a:cxn ang="0">
                <a:pos x="2" y="20"/>
              </a:cxn>
              <a:cxn ang="0">
                <a:pos x="0" y="21"/>
              </a:cxn>
              <a:cxn ang="0">
                <a:pos x="0" y="21"/>
              </a:cxn>
              <a:cxn ang="0">
                <a:pos x="3" y="23"/>
              </a:cxn>
              <a:cxn ang="0">
                <a:pos x="6" y="23"/>
              </a:cxn>
              <a:cxn ang="0">
                <a:pos x="13" y="20"/>
              </a:cxn>
              <a:cxn ang="0">
                <a:pos x="29" y="9"/>
              </a:cxn>
              <a:cxn ang="0">
                <a:pos x="29" y="9"/>
              </a:cxn>
              <a:cxn ang="0">
                <a:pos x="32" y="7"/>
              </a:cxn>
              <a:cxn ang="0">
                <a:pos x="34" y="7"/>
              </a:cxn>
              <a:cxn ang="0">
                <a:pos x="39" y="9"/>
              </a:cxn>
              <a:cxn ang="0">
                <a:pos x="43" y="13"/>
              </a:cxn>
              <a:cxn ang="0">
                <a:pos x="44" y="16"/>
              </a:cxn>
              <a:cxn ang="0">
                <a:pos x="44" y="16"/>
              </a:cxn>
              <a:cxn ang="0">
                <a:pos x="46" y="19"/>
              </a:cxn>
              <a:cxn ang="0">
                <a:pos x="52" y="20"/>
              </a:cxn>
              <a:cxn ang="0">
                <a:pos x="71" y="21"/>
              </a:cxn>
              <a:cxn ang="0">
                <a:pos x="71" y="21"/>
              </a:cxn>
              <a:cxn ang="0">
                <a:pos x="77" y="23"/>
              </a:cxn>
              <a:cxn ang="0">
                <a:pos x="81" y="24"/>
              </a:cxn>
              <a:cxn ang="0">
                <a:pos x="89" y="30"/>
              </a:cxn>
              <a:cxn ang="0">
                <a:pos x="96" y="36"/>
              </a:cxn>
              <a:cxn ang="0">
                <a:pos x="100" y="39"/>
              </a:cxn>
              <a:cxn ang="0">
                <a:pos x="106" y="40"/>
              </a:cxn>
              <a:cxn ang="0">
                <a:pos x="106" y="40"/>
              </a:cxn>
              <a:cxn ang="0">
                <a:pos x="110" y="41"/>
              </a:cxn>
              <a:cxn ang="0">
                <a:pos x="113" y="43"/>
              </a:cxn>
              <a:cxn ang="0">
                <a:pos x="113" y="44"/>
              </a:cxn>
              <a:cxn ang="0">
                <a:pos x="113" y="47"/>
              </a:cxn>
              <a:cxn ang="0">
                <a:pos x="111" y="50"/>
              </a:cxn>
              <a:cxn ang="0">
                <a:pos x="111" y="51"/>
              </a:cxn>
              <a:cxn ang="0">
                <a:pos x="113" y="53"/>
              </a:cxn>
              <a:cxn ang="0">
                <a:pos x="113" y="53"/>
              </a:cxn>
              <a:cxn ang="0">
                <a:pos x="124" y="54"/>
              </a:cxn>
              <a:cxn ang="0">
                <a:pos x="141" y="54"/>
              </a:cxn>
              <a:cxn ang="0">
                <a:pos x="157" y="53"/>
              </a:cxn>
              <a:cxn ang="0">
                <a:pos x="163" y="53"/>
              </a:cxn>
              <a:cxn ang="0">
                <a:pos x="165" y="51"/>
              </a:cxn>
              <a:cxn ang="0">
                <a:pos x="165" y="51"/>
              </a:cxn>
              <a:cxn ang="0">
                <a:pos x="165" y="50"/>
              </a:cxn>
              <a:cxn ang="0">
                <a:pos x="163" y="47"/>
              </a:cxn>
              <a:cxn ang="0">
                <a:pos x="155" y="41"/>
              </a:cxn>
              <a:cxn ang="0">
                <a:pos x="145" y="36"/>
              </a:cxn>
              <a:cxn ang="0">
                <a:pos x="140" y="34"/>
              </a:cxn>
              <a:cxn ang="0">
                <a:pos x="135" y="33"/>
              </a:cxn>
              <a:cxn ang="0">
                <a:pos x="135" y="33"/>
              </a:cxn>
            </a:cxnLst>
            <a:rect l="0" t="0" r="r" b="b"/>
            <a:pathLst>
              <a:path w="165" h="54">
                <a:moveTo>
                  <a:pt x="135" y="33"/>
                </a:moveTo>
                <a:lnTo>
                  <a:pt x="135" y="33"/>
                </a:lnTo>
                <a:lnTo>
                  <a:pt x="130" y="33"/>
                </a:lnTo>
                <a:lnTo>
                  <a:pt x="123" y="30"/>
                </a:lnTo>
                <a:lnTo>
                  <a:pt x="104" y="20"/>
                </a:lnTo>
                <a:lnTo>
                  <a:pt x="81" y="10"/>
                </a:lnTo>
                <a:lnTo>
                  <a:pt x="70" y="6"/>
                </a:lnTo>
                <a:lnTo>
                  <a:pt x="57" y="2"/>
                </a:lnTo>
                <a:lnTo>
                  <a:pt x="57" y="2"/>
                </a:lnTo>
                <a:lnTo>
                  <a:pt x="46" y="0"/>
                </a:lnTo>
                <a:lnTo>
                  <a:pt x="34" y="2"/>
                </a:lnTo>
                <a:lnTo>
                  <a:pt x="25" y="4"/>
                </a:lnTo>
                <a:lnTo>
                  <a:pt x="16" y="7"/>
                </a:lnTo>
                <a:lnTo>
                  <a:pt x="9" y="12"/>
                </a:lnTo>
                <a:lnTo>
                  <a:pt x="5" y="16"/>
                </a:lnTo>
                <a:lnTo>
                  <a:pt x="2" y="20"/>
                </a:lnTo>
                <a:lnTo>
                  <a:pt x="0" y="21"/>
                </a:lnTo>
                <a:lnTo>
                  <a:pt x="0" y="21"/>
                </a:lnTo>
                <a:lnTo>
                  <a:pt x="3" y="23"/>
                </a:lnTo>
                <a:lnTo>
                  <a:pt x="6" y="23"/>
                </a:lnTo>
                <a:lnTo>
                  <a:pt x="13" y="20"/>
                </a:lnTo>
                <a:lnTo>
                  <a:pt x="29" y="9"/>
                </a:lnTo>
                <a:lnTo>
                  <a:pt x="29" y="9"/>
                </a:lnTo>
                <a:lnTo>
                  <a:pt x="32" y="7"/>
                </a:lnTo>
                <a:lnTo>
                  <a:pt x="34" y="7"/>
                </a:lnTo>
                <a:lnTo>
                  <a:pt x="39" y="9"/>
                </a:lnTo>
                <a:lnTo>
                  <a:pt x="43" y="13"/>
                </a:lnTo>
                <a:lnTo>
                  <a:pt x="44" y="16"/>
                </a:lnTo>
                <a:lnTo>
                  <a:pt x="44" y="16"/>
                </a:lnTo>
                <a:lnTo>
                  <a:pt x="46" y="19"/>
                </a:lnTo>
                <a:lnTo>
                  <a:pt x="52" y="20"/>
                </a:lnTo>
                <a:lnTo>
                  <a:pt x="71" y="21"/>
                </a:lnTo>
                <a:lnTo>
                  <a:pt x="71" y="21"/>
                </a:lnTo>
                <a:lnTo>
                  <a:pt x="77" y="23"/>
                </a:lnTo>
                <a:lnTo>
                  <a:pt x="81" y="24"/>
                </a:lnTo>
                <a:lnTo>
                  <a:pt x="89" y="30"/>
                </a:lnTo>
                <a:lnTo>
                  <a:pt x="96" y="36"/>
                </a:lnTo>
                <a:lnTo>
                  <a:pt x="100" y="39"/>
                </a:lnTo>
                <a:lnTo>
                  <a:pt x="106" y="40"/>
                </a:lnTo>
                <a:lnTo>
                  <a:pt x="106" y="40"/>
                </a:lnTo>
                <a:lnTo>
                  <a:pt x="110" y="41"/>
                </a:lnTo>
                <a:lnTo>
                  <a:pt x="113" y="43"/>
                </a:lnTo>
                <a:lnTo>
                  <a:pt x="113" y="44"/>
                </a:lnTo>
                <a:lnTo>
                  <a:pt x="113" y="47"/>
                </a:lnTo>
                <a:lnTo>
                  <a:pt x="111" y="50"/>
                </a:lnTo>
                <a:lnTo>
                  <a:pt x="111" y="51"/>
                </a:lnTo>
                <a:lnTo>
                  <a:pt x="113" y="53"/>
                </a:lnTo>
                <a:lnTo>
                  <a:pt x="113" y="53"/>
                </a:lnTo>
                <a:lnTo>
                  <a:pt x="124" y="54"/>
                </a:lnTo>
                <a:lnTo>
                  <a:pt x="141" y="54"/>
                </a:lnTo>
                <a:lnTo>
                  <a:pt x="157" y="53"/>
                </a:lnTo>
                <a:lnTo>
                  <a:pt x="163" y="53"/>
                </a:lnTo>
                <a:lnTo>
                  <a:pt x="165" y="51"/>
                </a:lnTo>
                <a:lnTo>
                  <a:pt x="165" y="51"/>
                </a:lnTo>
                <a:lnTo>
                  <a:pt x="165" y="50"/>
                </a:lnTo>
                <a:lnTo>
                  <a:pt x="163" y="47"/>
                </a:lnTo>
                <a:lnTo>
                  <a:pt x="155" y="41"/>
                </a:lnTo>
                <a:lnTo>
                  <a:pt x="145" y="36"/>
                </a:lnTo>
                <a:lnTo>
                  <a:pt x="140" y="34"/>
                </a:lnTo>
                <a:lnTo>
                  <a:pt x="135" y="33"/>
                </a:lnTo>
                <a:lnTo>
                  <a:pt x="135" y="33"/>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20" name="Freeform 307">
            <a:extLst>
              <a:ext uri="{FF2B5EF4-FFF2-40B4-BE49-F238E27FC236}">
                <a16:creationId xmlns:a16="http://schemas.microsoft.com/office/drawing/2014/main" id="{FCA5F8B5-3B49-D296-E643-783D912B6C28}"/>
              </a:ext>
            </a:extLst>
          </p:cNvPr>
          <p:cNvSpPr>
            <a:spLocks/>
          </p:cNvSpPr>
          <p:nvPr userDrawn="1"/>
        </p:nvSpPr>
        <p:spPr bwMode="gray">
          <a:xfrm>
            <a:off x="2701868" y="2955796"/>
            <a:ext cx="42917" cy="14306"/>
          </a:xfrm>
          <a:custGeom>
            <a:avLst/>
            <a:gdLst/>
            <a:ahLst/>
            <a:cxnLst>
              <a:cxn ang="0">
                <a:pos x="0" y="3"/>
              </a:cxn>
              <a:cxn ang="0">
                <a:pos x="0" y="3"/>
              </a:cxn>
              <a:cxn ang="0">
                <a:pos x="3" y="4"/>
              </a:cxn>
              <a:cxn ang="0">
                <a:pos x="8" y="7"/>
              </a:cxn>
              <a:cxn ang="0">
                <a:pos x="18" y="10"/>
              </a:cxn>
              <a:cxn ang="0">
                <a:pos x="28" y="11"/>
              </a:cxn>
              <a:cxn ang="0">
                <a:pos x="32" y="10"/>
              </a:cxn>
              <a:cxn ang="0">
                <a:pos x="33" y="8"/>
              </a:cxn>
              <a:cxn ang="0">
                <a:pos x="33" y="8"/>
              </a:cxn>
              <a:cxn ang="0">
                <a:pos x="33" y="7"/>
              </a:cxn>
              <a:cxn ang="0">
                <a:pos x="33" y="5"/>
              </a:cxn>
              <a:cxn ang="0">
                <a:pos x="29" y="4"/>
              </a:cxn>
              <a:cxn ang="0">
                <a:pos x="18" y="1"/>
              </a:cxn>
              <a:cxn ang="0">
                <a:pos x="5" y="0"/>
              </a:cxn>
              <a:cxn ang="0">
                <a:pos x="2" y="1"/>
              </a:cxn>
              <a:cxn ang="0">
                <a:pos x="0" y="1"/>
              </a:cxn>
              <a:cxn ang="0">
                <a:pos x="0" y="3"/>
              </a:cxn>
              <a:cxn ang="0">
                <a:pos x="0" y="3"/>
              </a:cxn>
            </a:cxnLst>
            <a:rect l="0" t="0" r="r" b="b"/>
            <a:pathLst>
              <a:path w="33" h="11">
                <a:moveTo>
                  <a:pt x="0" y="3"/>
                </a:moveTo>
                <a:lnTo>
                  <a:pt x="0" y="3"/>
                </a:lnTo>
                <a:lnTo>
                  <a:pt x="3" y="4"/>
                </a:lnTo>
                <a:lnTo>
                  <a:pt x="8" y="7"/>
                </a:lnTo>
                <a:lnTo>
                  <a:pt x="18" y="10"/>
                </a:lnTo>
                <a:lnTo>
                  <a:pt x="28" y="11"/>
                </a:lnTo>
                <a:lnTo>
                  <a:pt x="32" y="10"/>
                </a:lnTo>
                <a:lnTo>
                  <a:pt x="33" y="8"/>
                </a:lnTo>
                <a:lnTo>
                  <a:pt x="33" y="8"/>
                </a:lnTo>
                <a:lnTo>
                  <a:pt x="33" y="7"/>
                </a:lnTo>
                <a:lnTo>
                  <a:pt x="33" y="5"/>
                </a:lnTo>
                <a:lnTo>
                  <a:pt x="29" y="4"/>
                </a:lnTo>
                <a:lnTo>
                  <a:pt x="18" y="1"/>
                </a:lnTo>
                <a:lnTo>
                  <a:pt x="5" y="0"/>
                </a:lnTo>
                <a:lnTo>
                  <a:pt x="2" y="1"/>
                </a:lnTo>
                <a:lnTo>
                  <a:pt x="0" y="1"/>
                </a:lnTo>
                <a:lnTo>
                  <a:pt x="0" y="3"/>
                </a:lnTo>
                <a:lnTo>
                  <a:pt x="0" y="3"/>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21" name="Freeform 308">
            <a:extLst>
              <a:ext uri="{FF2B5EF4-FFF2-40B4-BE49-F238E27FC236}">
                <a16:creationId xmlns:a16="http://schemas.microsoft.com/office/drawing/2014/main" id="{137FFB24-5B94-660D-07DE-637BB98E6A4F}"/>
              </a:ext>
            </a:extLst>
          </p:cNvPr>
          <p:cNvSpPr>
            <a:spLocks/>
          </p:cNvSpPr>
          <p:nvPr userDrawn="1"/>
        </p:nvSpPr>
        <p:spPr bwMode="gray">
          <a:xfrm>
            <a:off x="2939861" y="2951896"/>
            <a:ext cx="35114" cy="16907"/>
          </a:xfrm>
          <a:custGeom>
            <a:avLst/>
            <a:gdLst/>
            <a:ahLst/>
            <a:cxnLst>
              <a:cxn ang="0">
                <a:pos x="1" y="7"/>
              </a:cxn>
              <a:cxn ang="0">
                <a:pos x="1" y="7"/>
              </a:cxn>
              <a:cxn ang="0">
                <a:pos x="4" y="10"/>
              </a:cxn>
              <a:cxn ang="0">
                <a:pos x="7" y="11"/>
              </a:cxn>
              <a:cxn ang="0">
                <a:pos x="11" y="13"/>
              </a:cxn>
              <a:cxn ang="0">
                <a:pos x="15" y="13"/>
              </a:cxn>
              <a:cxn ang="0">
                <a:pos x="24" y="10"/>
              </a:cxn>
              <a:cxn ang="0">
                <a:pos x="27" y="7"/>
              </a:cxn>
              <a:cxn ang="0">
                <a:pos x="27" y="7"/>
              </a:cxn>
              <a:cxn ang="0">
                <a:pos x="27" y="4"/>
              </a:cxn>
              <a:cxn ang="0">
                <a:pos x="24" y="3"/>
              </a:cxn>
              <a:cxn ang="0">
                <a:pos x="18" y="1"/>
              </a:cxn>
              <a:cxn ang="0">
                <a:pos x="12" y="0"/>
              </a:cxn>
              <a:cxn ang="0">
                <a:pos x="7" y="1"/>
              </a:cxn>
              <a:cxn ang="0">
                <a:pos x="2" y="1"/>
              </a:cxn>
              <a:cxn ang="0">
                <a:pos x="0" y="4"/>
              </a:cxn>
              <a:cxn ang="0">
                <a:pos x="1" y="7"/>
              </a:cxn>
              <a:cxn ang="0">
                <a:pos x="1" y="7"/>
              </a:cxn>
            </a:cxnLst>
            <a:rect l="0" t="0" r="r" b="b"/>
            <a:pathLst>
              <a:path w="27" h="13">
                <a:moveTo>
                  <a:pt x="1" y="7"/>
                </a:moveTo>
                <a:lnTo>
                  <a:pt x="1" y="7"/>
                </a:lnTo>
                <a:lnTo>
                  <a:pt x="4" y="10"/>
                </a:lnTo>
                <a:lnTo>
                  <a:pt x="7" y="11"/>
                </a:lnTo>
                <a:lnTo>
                  <a:pt x="11" y="13"/>
                </a:lnTo>
                <a:lnTo>
                  <a:pt x="15" y="13"/>
                </a:lnTo>
                <a:lnTo>
                  <a:pt x="24" y="10"/>
                </a:lnTo>
                <a:lnTo>
                  <a:pt x="27" y="7"/>
                </a:lnTo>
                <a:lnTo>
                  <a:pt x="27" y="7"/>
                </a:lnTo>
                <a:lnTo>
                  <a:pt x="27" y="4"/>
                </a:lnTo>
                <a:lnTo>
                  <a:pt x="24" y="3"/>
                </a:lnTo>
                <a:lnTo>
                  <a:pt x="18" y="1"/>
                </a:lnTo>
                <a:lnTo>
                  <a:pt x="12" y="0"/>
                </a:lnTo>
                <a:lnTo>
                  <a:pt x="7" y="1"/>
                </a:lnTo>
                <a:lnTo>
                  <a:pt x="2" y="1"/>
                </a:lnTo>
                <a:lnTo>
                  <a:pt x="0" y="4"/>
                </a:lnTo>
                <a:lnTo>
                  <a:pt x="1" y="7"/>
                </a:lnTo>
                <a:lnTo>
                  <a:pt x="1" y="7"/>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22" name="Freeform 309">
            <a:extLst>
              <a:ext uri="{FF2B5EF4-FFF2-40B4-BE49-F238E27FC236}">
                <a16:creationId xmlns:a16="http://schemas.microsoft.com/office/drawing/2014/main" id="{3431458D-0387-1EB7-CEFF-B3CD61241F49}"/>
              </a:ext>
            </a:extLst>
          </p:cNvPr>
          <p:cNvSpPr>
            <a:spLocks/>
          </p:cNvSpPr>
          <p:nvPr userDrawn="1"/>
        </p:nvSpPr>
        <p:spPr bwMode="gray">
          <a:xfrm>
            <a:off x="2648547" y="3316038"/>
            <a:ext cx="120948" cy="136553"/>
          </a:xfrm>
          <a:custGeom>
            <a:avLst/>
            <a:gdLst/>
            <a:ahLst/>
            <a:cxnLst>
              <a:cxn ang="0">
                <a:pos x="86" y="29"/>
              </a:cxn>
              <a:cxn ang="0">
                <a:pos x="76" y="19"/>
              </a:cxn>
              <a:cxn ang="0">
                <a:pos x="74" y="19"/>
              </a:cxn>
              <a:cxn ang="0">
                <a:pos x="70" y="22"/>
              </a:cxn>
              <a:cxn ang="0">
                <a:pos x="63" y="19"/>
              </a:cxn>
              <a:cxn ang="0">
                <a:pos x="57" y="14"/>
              </a:cxn>
              <a:cxn ang="0">
                <a:pos x="53" y="12"/>
              </a:cxn>
              <a:cxn ang="0">
                <a:pos x="49" y="10"/>
              </a:cxn>
              <a:cxn ang="0">
                <a:pos x="33" y="0"/>
              </a:cxn>
              <a:cxn ang="0">
                <a:pos x="33" y="3"/>
              </a:cxn>
              <a:cxn ang="0">
                <a:pos x="32" y="4"/>
              </a:cxn>
              <a:cxn ang="0">
                <a:pos x="22" y="9"/>
              </a:cxn>
              <a:cxn ang="0">
                <a:pos x="17" y="10"/>
              </a:cxn>
              <a:cxn ang="0">
                <a:pos x="16" y="20"/>
              </a:cxn>
              <a:cxn ang="0">
                <a:pos x="16" y="23"/>
              </a:cxn>
              <a:cxn ang="0">
                <a:pos x="12" y="27"/>
              </a:cxn>
              <a:cxn ang="0">
                <a:pos x="9" y="30"/>
              </a:cxn>
              <a:cxn ang="0">
                <a:pos x="7" y="37"/>
              </a:cxn>
              <a:cxn ang="0">
                <a:pos x="5" y="39"/>
              </a:cxn>
              <a:cxn ang="0">
                <a:pos x="0" y="43"/>
              </a:cxn>
              <a:cxn ang="0">
                <a:pos x="2" y="50"/>
              </a:cxn>
              <a:cxn ang="0">
                <a:pos x="2" y="53"/>
              </a:cxn>
              <a:cxn ang="0">
                <a:pos x="0" y="60"/>
              </a:cxn>
              <a:cxn ang="0">
                <a:pos x="0" y="61"/>
              </a:cxn>
              <a:cxn ang="0">
                <a:pos x="9" y="68"/>
              </a:cxn>
              <a:cxn ang="0">
                <a:pos x="12" y="70"/>
              </a:cxn>
              <a:cxn ang="0">
                <a:pos x="16" y="68"/>
              </a:cxn>
              <a:cxn ang="0">
                <a:pos x="17" y="70"/>
              </a:cxn>
              <a:cxn ang="0">
                <a:pos x="16" y="77"/>
              </a:cxn>
              <a:cxn ang="0">
                <a:pos x="10" y="80"/>
              </a:cxn>
              <a:cxn ang="0">
                <a:pos x="9" y="80"/>
              </a:cxn>
              <a:cxn ang="0">
                <a:pos x="12" y="86"/>
              </a:cxn>
              <a:cxn ang="0">
                <a:pos x="12" y="88"/>
              </a:cxn>
              <a:cxn ang="0">
                <a:pos x="9" y="93"/>
              </a:cxn>
              <a:cxn ang="0">
                <a:pos x="12" y="97"/>
              </a:cxn>
              <a:cxn ang="0">
                <a:pos x="14" y="98"/>
              </a:cxn>
              <a:cxn ang="0">
                <a:pos x="22" y="98"/>
              </a:cxn>
              <a:cxn ang="0">
                <a:pos x="24" y="100"/>
              </a:cxn>
              <a:cxn ang="0">
                <a:pos x="30" y="105"/>
              </a:cxn>
              <a:cxn ang="0">
                <a:pos x="36" y="100"/>
              </a:cxn>
              <a:cxn ang="0">
                <a:pos x="41" y="84"/>
              </a:cxn>
              <a:cxn ang="0">
                <a:pos x="47" y="76"/>
              </a:cxn>
              <a:cxn ang="0">
                <a:pos x="50" y="74"/>
              </a:cxn>
              <a:cxn ang="0">
                <a:pos x="66" y="68"/>
              </a:cxn>
              <a:cxn ang="0">
                <a:pos x="78" y="61"/>
              </a:cxn>
              <a:cxn ang="0">
                <a:pos x="81" y="57"/>
              </a:cxn>
              <a:cxn ang="0">
                <a:pos x="87" y="46"/>
              </a:cxn>
              <a:cxn ang="0">
                <a:pos x="90" y="40"/>
              </a:cxn>
              <a:cxn ang="0">
                <a:pos x="93" y="39"/>
              </a:cxn>
              <a:cxn ang="0">
                <a:pos x="86" y="29"/>
              </a:cxn>
            </a:cxnLst>
            <a:rect l="0" t="0" r="r" b="b"/>
            <a:pathLst>
              <a:path w="93" h="105">
                <a:moveTo>
                  <a:pt x="86" y="29"/>
                </a:moveTo>
                <a:lnTo>
                  <a:pt x="86" y="29"/>
                </a:lnTo>
                <a:lnTo>
                  <a:pt x="78" y="20"/>
                </a:lnTo>
                <a:lnTo>
                  <a:pt x="76" y="19"/>
                </a:lnTo>
                <a:lnTo>
                  <a:pt x="74" y="19"/>
                </a:lnTo>
                <a:lnTo>
                  <a:pt x="74" y="19"/>
                </a:lnTo>
                <a:lnTo>
                  <a:pt x="73" y="20"/>
                </a:lnTo>
                <a:lnTo>
                  <a:pt x="70" y="22"/>
                </a:lnTo>
                <a:lnTo>
                  <a:pt x="66" y="20"/>
                </a:lnTo>
                <a:lnTo>
                  <a:pt x="63" y="19"/>
                </a:lnTo>
                <a:lnTo>
                  <a:pt x="63" y="19"/>
                </a:lnTo>
                <a:lnTo>
                  <a:pt x="57" y="14"/>
                </a:lnTo>
                <a:lnTo>
                  <a:pt x="54" y="13"/>
                </a:lnTo>
                <a:lnTo>
                  <a:pt x="53" y="12"/>
                </a:lnTo>
                <a:lnTo>
                  <a:pt x="53" y="12"/>
                </a:lnTo>
                <a:lnTo>
                  <a:pt x="49" y="10"/>
                </a:lnTo>
                <a:lnTo>
                  <a:pt x="43" y="9"/>
                </a:lnTo>
                <a:lnTo>
                  <a:pt x="33" y="0"/>
                </a:lnTo>
                <a:lnTo>
                  <a:pt x="33" y="0"/>
                </a:lnTo>
                <a:lnTo>
                  <a:pt x="33" y="3"/>
                </a:lnTo>
                <a:lnTo>
                  <a:pt x="33" y="3"/>
                </a:lnTo>
                <a:lnTo>
                  <a:pt x="32" y="4"/>
                </a:lnTo>
                <a:lnTo>
                  <a:pt x="29" y="7"/>
                </a:lnTo>
                <a:lnTo>
                  <a:pt x="22" y="9"/>
                </a:lnTo>
                <a:lnTo>
                  <a:pt x="22" y="9"/>
                </a:lnTo>
                <a:lnTo>
                  <a:pt x="17" y="10"/>
                </a:lnTo>
                <a:lnTo>
                  <a:pt x="16" y="13"/>
                </a:lnTo>
                <a:lnTo>
                  <a:pt x="16" y="20"/>
                </a:lnTo>
                <a:lnTo>
                  <a:pt x="16" y="20"/>
                </a:lnTo>
                <a:lnTo>
                  <a:pt x="16" y="23"/>
                </a:lnTo>
                <a:lnTo>
                  <a:pt x="13" y="24"/>
                </a:lnTo>
                <a:lnTo>
                  <a:pt x="12" y="27"/>
                </a:lnTo>
                <a:lnTo>
                  <a:pt x="9" y="30"/>
                </a:lnTo>
                <a:lnTo>
                  <a:pt x="9" y="30"/>
                </a:lnTo>
                <a:lnTo>
                  <a:pt x="7" y="36"/>
                </a:lnTo>
                <a:lnTo>
                  <a:pt x="7" y="37"/>
                </a:lnTo>
                <a:lnTo>
                  <a:pt x="5" y="39"/>
                </a:lnTo>
                <a:lnTo>
                  <a:pt x="5" y="39"/>
                </a:lnTo>
                <a:lnTo>
                  <a:pt x="2" y="40"/>
                </a:lnTo>
                <a:lnTo>
                  <a:pt x="0" y="43"/>
                </a:lnTo>
                <a:lnTo>
                  <a:pt x="0" y="46"/>
                </a:lnTo>
                <a:lnTo>
                  <a:pt x="2" y="50"/>
                </a:lnTo>
                <a:lnTo>
                  <a:pt x="2" y="50"/>
                </a:lnTo>
                <a:lnTo>
                  <a:pt x="2" y="53"/>
                </a:lnTo>
                <a:lnTo>
                  <a:pt x="2" y="56"/>
                </a:lnTo>
                <a:lnTo>
                  <a:pt x="0" y="60"/>
                </a:lnTo>
                <a:lnTo>
                  <a:pt x="0" y="60"/>
                </a:lnTo>
                <a:lnTo>
                  <a:pt x="0" y="61"/>
                </a:lnTo>
                <a:lnTo>
                  <a:pt x="3" y="63"/>
                </a:lnTo>
                <a:lnTo>
                  <a:pt x="9" y="68"/>
                </a:lnTo>
                <a:lnTo>
                  <a:pt x="9" y="68"/>
                </a:lnTo>
                <a:lnTo>
                  <a:pt x="12" y="70"/>
                </a:lnTo>
                <a:lnTo>
                  <a:pt x="14" y="70"/>
                </a:lnTo>
                <a:lnTo>
                  <a:pt x="16" y="68"/>
                </a:lnTo>
                <a:lnTo>
                  <a:pt x="17" y="70"/>
                </a:lnTo>
                <a:lnTo>
                  <a:pt x="17" y="70"/>
                </a:lnTo>
                <a:lnTo>
                  <a:pt x="17" y="73"/>
                </a:lnTo>
                <a:lnTo>
                  <a:pt x="16" y="77"/>
                </a:lnTo>
                <a:lnTo>
                  <a:pt x="14" y="78"/>
                </a:lnTo>
                <a:lnTo>
                  <a:pt x="10" y="80"/>
                </a:lnTo>
                <a:lnTo>
                  <a:pt x="10" y="80"/>
                </a:lnTo>
                <a:lnTo>
                  <a:pt x="9" y="80"/>
                </a:lnTo>
                <a:lnTo>
                  <a:pt x="9" y="80"/>
                </a:lnTo>
                <a:lnTo>
                  <a:pt x="12" y="86"/>
                </a:lnTo>
                <a:lnTo>
                  <a:pt x="12" y="87"/>
                </a:lnTo>
                <a:lnTo>
                  <a:pt x="12" y="88"/>
                </a:lnTo>
                <a:lnTo>
                  <a:pt x="12" y="88"/>
                </a:lnTo>
                <a:lnTo>
                  <a:pt x="9" y="93"/>
                </a:lnTo>
                <a:lnTo>
                  <a:pt x="9" y="94"/>
                </a:lnTo>
                <a:lnTo>
                  <a:pt x="12" y="97"/>
                </a:lnTo>
                <a:lnTo>
                  <a:pt x="12" y="97"/>
                </a:lnTo>
                <a:lnTo>
                  <a:pt x="14" y="98"/>
                </a:lnTo>
                <a:lnTo>
                  <a:pt x="19" y="98"/>
                </a:lnTo>
                <a:lnTo>
                  <a:pt x="22" y="98"/>
                </a:lnTo>
                <a:lnTo>
                  <a:pt x="24" y="100"/>
                </a:lnTo>
                <a:lnTo>
                  <a:pt x="24" y="100"/>
                </a:lnTo>
                <a:lnTo>
                  <a:pt x="27" y="104"/>
                </a:lnTo>
                <a:lnTo>
                  <a:pt x="30" y="105"/>
                </a:lnTo>
                <a:lnTo>
                  <a:pt x="33" y="104"/>
                </a:lnTo>
                <a:lnTo>
                  <a:pt x="36" y="100"/>
                </a:lnTo>
                <a:lnTo>
                  <a:pt x="36" y="100"/>
                </a:lnTo>
                <a:lnTo>
                  <a:pt x="41" y="84"/>
                </a:lnTo>
                <a:lnTo>
                  <a:pt x="46" y="77"/>
                </a:lnTo>
                <a:lnTo>
                  <a:pt x="47" y="76"/>
                </a:lnTo>
                <a:lnTo>
                  <a:pt x="50" y="74"/>
                </a:lnTo>
                <a:lnTo>
                  <a:pt x="50" y="74"/>
                </a:lnTo>
                <a:lnTo>
                  <a:pt x="57" y="71"/>
                </a:lnTo>
                <a:lnTo>
                  <a:pt x="66" y="68"/>
                </a:lnTo>
                <a:lnTo>
                  <a:pt x="74" y="64"/>
                </a:lnTo>
                <a:lnTo>
                  <a:pt x="78" y="61"/>
                </a:lnTo>
                <a:lnTo>
                  <a:pt x="81" y="57"/>
                </a:lnTo>
                <a:lnTo>
                  <a:pt x="81" y="57"/>
                </a:lnTo>
                <a:lnTo>
                  <a:pt x="86" y="50"/>
                </a:lnTo>
                <a:lnTo>
                  <a:pt x="87" y="46"/>
                </a:lnTo>
                <a:lnTo>
                  <a:pt x="88" y="43"/>
                </a:lnTo>
                <a:lnTo>
                  <a:pt x="90" y="40"/>
                </a:lnTo>
                <a:lnTo>
                  <a:pt x="90" y="40"/>
                </a:lnTo>
                <a:lnTo>
                  <a:pt x="93" y="39"/>
                </a:lnTo>
                <a:lnTo>
                  <a:pt x="91" y="36"/>
                </a:lnTo>
                <a:lnTo>
                  <a:pt x="86" y="29"/>
                </a:lnTo>
                <a:lnTo>
                  <a:pt x="86" y="29"/>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23" name="Freeform 310">
            <a:extLst>
              <a:ext uri="{FF2B5EF4-FFF2-40B4-BE49-F238E27FC236}">
                <a16:creationId xmlns:a16="http://schemas.microsoft.com/office/drawing/2014/main" id="{BC8A59F5-05A7-5EAA-10BE-18048D28C1EA}"/>
              </a:ext>
            </a:extLst>
          </p:cNvPr>
          <p:cNvSpPr>
            <a:spLocks noEditPoints="1"/>
          </p:cNvSpPr>
          <p:nvPr userDrawn="1"/>
        </p:nvSpPr>
        <p:spPr bwMode="gray">
          <a:xfrm>
            <a:off x="2824115" y="955614"/>
            <a:ext cx="1277100" cy="950672"/>
          </a:xfrm>
          <a:custGeom>
            <a:avLst/>
            <a:gdLst/>
            <a:ahLst/>
            <a:cxnLst>
              <a:cxn ang="0">
                <a:pos x="862" y="84"/>
              </a:cxn>
              <a:cxn ang="0">
                <a:pos x="790" y="117"/>
              </a:cxn>
              <a:cxn ang="0">
                <a:pos x="793" y="67"/>
              </a:cxn>
              <a:cxn ang="0">
                <a:pos x="767" y="68"/>
              </a:cxn>
              <a:cxn ang="0">
                <a:pos x="690" y="61"/>
              </a:cxn>
              <a:cxn ang="0">
                <a:pos x="820" y="33"/>
              </a:cxn>
              <a:cxn ang="0">
                <a:pos x="756" y="10"/>
              </a:cxn>
              <a:cxn ang="0">
                <a:pos x="574" y="6"/>
              </a:cxn>
              <a:cxn ang="0">
                <a:pos x="545" y="14"/>
              </a:cxn>
              <a:cxn ang="0">
                <a:pos x="426" y="20"/>
              </a:cxn>
              <a:cxn ang="0">
                <a:pos x="421" y="50"/>
              </a:cxn>
              <a:cxn ang="0">
                <a:pos x="397" y="53"/>
              </a:cxn>
              <a:cxn ang="0">
                <a:pos x="370" y="67"/>
              </a:cxn>
              <a:cxn ang="0">
                <a:pos x="320" y="70"/>
              </a:cxn>
              <a:cxn ang="0">
                <a:pos x="289" y="48"/>
              </a:cxn>
              <a:cxn ang="0">
                <a:pos x="224" y="71"/>
              </a:cxn>
              <a:cxn ang="0">
                <a:pos x="177" y="98"/>
              </a:cxn>
              <a:cxn ang="0">
                <a:pos x="116" y="138"/>
              </a:cxn>
              <a:cxn ang="0">
                <a:pos x="62" y="178"/>
              </a:cxn>
              <a:cxn ang="0">
                <a:pos x="30" y="216"/>
              </a:cxn>
              <a:cxn ang="0">
                <a:pos x="106" y="233"/>
              </a:cxn>
              <a:cxn ang="0">
                <a:pos x="26" y="248"/>
              </a:cxn>
              <a:cxn ang="0">
                <a:pos x="91" y="282"/>
              </a:cxn>
              <a:cxn ang="0">
                <a:pos x="134" y="272"/>
              </a:cxn>
              <a:cxn ang="0">
                <a:pos x="231" y="296"/>
              </a:cxn>
              <a:cxn ang="0">
                <a:pos x="275" y="357"/>
              </a:cxn>
              <a:cxn ang="0">
                <a:pos x="281" y="403"/>
              </a:cxn>
              <a:cxn ang="0">
                <a:pos x="316" y="415"/>
              </a:cxn>
              <a:cxn ang="0">
                <a:pos x="342" y="450"/>
              </a:cxn>
              <a:cxn ang="0">
                <a:pos x="353" y="471"/>
              </a:cxn>
              <a:cxn ang="0">
                <a:pos x="320" y="512"/>
              </a:cxn>
              <a:cxn ang="0">
                <a:pos x="322" y="558"/>
              </a:cxn>
              <a:cxn ang="0">
                <a:pos x="335" y="619"/>
              </a:cxn>
              <a:cxn ang="0">
                <a:pos x="363" y="653"/>
              </a:cxn>
              <a:cxn ang="0">
                <a:pos x="409" y="708"/>
              </a:cxn>
              <a:cxn ang="0">
                <a:pos x="474" y="730"/>
              </a:cxn>
              <a:cxn ang="0">
                <a:pos x="490" y="669"/>
              </a:cxn>
              <a:cxn ang="0">
                <a:pos x="514" y="640"/>
              </a:cxn>
              <a:cxn ang="0">
                <a:pos x="520" y="607"/>
              </a:cxn>
              <a:cxn ang="0">
                <a:pos x="547" y="588"/>
              </a:cxn>
              <a:cxn ang="0">
                <a:pos x="571" y="582"/>
              </a:cxn>
              <a:cxn ang="0">
                <a:pos x="656" y="528"/>
              </a:cxn>
              <a:cxn ang="0">
                <a:pos x="699" y="512"/>
              </a:cxn>
              <a:cxn ang="0">
                <a:pos x="823" y="461"/>
              </a:cxn>
              <a:cxn ang="0">
                <a:pos x="754" y="451"/>
              </a:cxn>
              <a:cxn ang="0">
                <a:pos x="801" y="452"/>
              </a:cxn>
              <a:cxn ang="0">
                <a:pos x="787" y="398"/>
              </a:cxn>
              <a:cxn ang="0">
                <a:pos x="820" y="377"/>
              </a:cxn>
              <a:cxn ang="0">
                <a:pos x="786" y="366"/>
              </a:cxn>
              <a:cxn ang="0">
                <a:pos x="847" y="360"/>
              </a:cxn>
              <a:cxn ang="0">
                <a:pos x="870" y="327"/>
              </a:cxn>
              <a:cxn ang="0">
                <a:pos x="865" y="303"/>
              </a:cxn>
              <a:cxn ang="0">
                <a:pos x="825" y="263"/>
              </a:cxn>
              <a:cxn ang="0">
                <a:pos x="882" y="252"/>
              </a:cxn>
              <a:cxn ang="0">
                <a:pos x="845" y="226"/>
              </a:cxn>
              <a:cxn ang="0">
                <a:pos x="827" y="223"/>
              </a:cxn>
              <a:cxn ang="0">
                <a:pos x="858" y="174"/>
              </a:cxn>
              <a:cxn ang="0">
                <a:pos x="877" y="138"/>
              </a:cxn>
              <a:cxn ang="0">
                <a:pos x="912" y="127"/>
              </a:cxn>
              <a:cxn ang="0">
                <a:pos x="925" y="108"/>
              </a:cxn>
              <a:cxn ang="0">
                <a:pos x="928" y="67"/>
              </a:cxn>
              <a:cxn ang="0">
                <a:pos x="292" y="462"/>
              </a:cxn>
              <a:cxn ang="0">
                <a:pos x="336" y="479"/>
              </a:cxn>
            </a:cxnLst>
            <a:rect l="0" t="0" r="r" b="b"/>
            <a:pathLst>
              <a:path w="982" h="731">
                <a:moveTo>
                  <a:pt x="928" y="67"/>
                </a:moveTo>
                <a:lnTo>
                  <a:pt x="928" y="67"/>
                </a:lnTo>
                <a:lnTo>
                  <a:pt x="915" y="67"/>
                </a:lnTo>
                <a:lnTo>
                  <a:pt x="905" y="70"/>
                </a:lnTo>
                <a:lnTo>
                  <a:pt x="901" y="71"/>
                </a:lnTo>
                <a:lnTo>
                  <a:pt x="898" y="74"/>
                </a:lnTo>
                <a:lnTo>
                  <a:pt x="895" y="77"/>
                </a:lnTo>
                <a:lnTo>
                  <a:pt x="895" y="81"/>
                </a:lnTo>
                <a:lnTo>
                  <a:pt x="895" y="81"/>
                </a:lnTo>
                <a:lnTo>
                  <a:pt x="894" y="85"/>
                </a:lnTo>
                <a:lnTo>
                  <a:pt x="891" y="87"/>
                </a:lnTo>
                <a:lnTo>
                  <a:pt x="887" y="87"/>
                </a:lnTo>
                <a:lnTo>
                  <a:pt x="881" y="85"/>
                </a:lnTo>
                <a:lnTo>
                  <a:pt x="871" y="83"/>
                </a:lnTo>
                <a:lnTo>
                  <a:pt x="865" y="83"/>
                </a:lnTo>
                <a:lnTo>
                  <a:pt x="862" y="84"/>
                </a:lnTo>
                <a:lnTo>
                  <a:pt x="862" y="84"/>
                </a:lnTo>
                <a:lnTo>
                  <a:pt x="858" y="84"/>
                </a:lnTo>
                <a:lnTo>
                  <a:pt x="857" y="84"/>
                </a:lnTo>
                <a:lnTo>
                  <a:pt x="855" y="81"/>
                </a:lnTo>
                <a:lnTo>
                  <a:pt x="853" y="78"/>
                </a:lnTo>
                <a:lnTo>
                  <a:pt x="851" y="77"/>
                </a:lnTo>
                <a:lnTo>
                  <a:pt x="848" y="78"/>
                </a:lnTo>
                <a:lnTo>
                  <a:pt x="848" y="78"/>
                </a:lnTo>
                <a:lnTo>
                  <a:pt x="840" y="83"/>
                </a:lnTo>
                <a:lnTo>
                  <a:pt x="833" y="88"/>
                </a:lnTo>
                <a:lnTo>
                  <a:pt x="824" y="94"/>
                </a:lnTo>
                <a:lnTo>
                  <a:pt x="817" y="100"/>
                </a:lnTo>
                <a:lnTo>
                  <a:pt x="817" y="100"/>
                </a:lnTo>
                <a:lnTo>
                  <a:pt x="808" y="104"/>
                </a:lnTo>
                <a:lnTo>
                  <a:pt x="801" y="110"/>
                </a:lnTo>
                <a:lnTo>
                  <a:pt x="794" y="114"/>
                </a:lnTo>
                <a:lnTo>
                  <a:pt x="790" y="117"/>
                </a:lnTo>
                <a:lnTo>
                  <a:pt x="790" y="117"/>
                </a:lnTo>
                <a:lnTo>
                  <a:pt x="788" y="115"/>
                </a:lnTo>
                <a:lnTo>
                  <a:pt x="788" y="114"/>
                </a:lnTo>
                <a:lnTo>
                  <a:pt x="796" y="105"/>
                </a:lnTo>
                <a:lnTo>
                  <a:pt x="816" y="84"/>
                </a:lnTo>
                <a:lnTo>
                  <a:pt x="816" y="84"/>
                </a:lnTo>
                <a:lnTo>
                  <a:pt x="820" y="80"/>
                </a:lnTo>
                <a:lnTo>
                  <a:pt x="821" y="75"/>
                </a:lnTo>
                <a:lnTo>
                  <a:pt x="821" y="71"/>
                </a:lnTo>
                <a:lnTo>
                  <a:pt x="821" y="67"/>
                </a:lnTo>
                <a:lnTo>
                  <a:pt x="818" y="64"/>
                </a:lnTo>
                <a:lnTo>
                  <a:pt x="816" y="61"/>
                </a:lnTo>
                <a:lnTo>
                  <a:pt x="811" y="60"/>
                </a:lnTo>
                <a:lnTo>
                  <a:pt x="806" y="60"/>
                </a:lnTo>
                <a:lnTo>
                  <a:pt x="806" y="60"/>
                </a:lnTo>
                <a:lnTo>
                  <a:pt x="801" y="61"/>
                </a:lnTo>
                <a:lnTo>
                  <a:pt x="797" y="63"/>
                </a:lnTo>
                <a:lnTo>
                  <a:pt x="793" y="67"/>
                </a:lnTo>
                <a:lnTo>
                  <a:pt x="790" y="70"/>
                </a:lnTo>
                <a:lnTo>
                  <a:pt x="788" y="73"/>
                </a:lnTo>
                <a:lnTo>
                  <a:pt x="786" y="73"/>
                </a:lnTo>
                <a:lnTo>
                  <a:pt x="786" y="73"/>
                </a:lnTo>
                <a:lnTo>
                  <a:pt x="774" y="77"/>
                </a:lnTo>
                <a:lnTo>
                  <a:pt x="757" y="84"/>
                </a:lnTo>
                <a:lnTo>
                  <a:pt x="742" y="90"/>
                </a:lnTo>
                <a:lnTo>
                  <a:pt x="737" y="90"/>
                </a:lnTo>
                <a:lnTo>
                  <a:pt x="734" y="90"/>
                </a:lnTo>
                <a:lnTo>
                  <a:pt x="734" y="90"/>
                </a:lnTo>
                <a:lnTo>
                  <a:pt x="734" y="90"/>
                </a:lnTo>
                <a:lnTo>
                  <a:pt x="734" y="87"/>
                </a:lnTo>
                <a:lnTo>
                  <a:pt x="739" y="84"/>
                </a:lnTo>
                <a:lnTo>
                  <a:pt x="750" y="78"/>
                </a:lnTo>
                <a:lnTo>
                  <a:pt x="761" y="73"/>
                </a:lnTo>
                <a:lnTo>
                  <a:pt x="766" y="70"/>
                </a:lnTo>
                <a:lnTo>
                  <a:pt x="767" y="68"/>
                </a:lnTo>
                <a:lnTo>
                  <a:pt x="767" y="68"/>
                </a:lnTo>
                <a:lnTo>
                  <a:pt x="766" y="67"/>
                </a:lnTo>
                <a:lnTo>
                  <a:pt x="760" y="65"/>
                </a:lnTo>
                <a:lnTo>
                  <a:pt x="742" y="64"/>
                </a:lnTo>
                <a:lnTo>
                  <a:pt x="722" y="65"/>
                </a:lnTo>
                <a:lnTo>
                  <a:pt x="703" y="67"/>
                </a:lnTo>
                <a:lnTo>
                  <a:pt x="703" y="67"/>
                </a:lnTo>
                <a:lnTo>
                  <a:pt x="686" y="70"/>
                </a:lnTo>
                <a:lnTo>
                  <a:pt x="668" y="74"/>
                </a:lnTo>
                <a:lnTo>
                  <a:pt x="653" y="77"/>
                </a:lnTo>
                <a:lnTo>
                  <a:pt x="649" y="77"/>
                </a:lnTo>
                <a:lnTo>
                  <a:pt x="648" y="75"/>
                </a:lnTo>
                <a:lnTo>
                  <a:pt x="648" y="75"/>
                </a:lnTo>
                <a:lnTo>
                  <a:pt x="649" y="73"/>
                </a:lnTo>
                <a:lnTo>
                  <a:pt x="653" y="70"/>
                </a:lnTo>
                <a:lnTo>
                  <a:pt x="670" y="65"/>
                </a:lnTo>
                <a:lnTo>
                  <a:pt x="690" y="61"/>
                </a:lnTo>
                <a:lnTo>
                  <a:pt x="709" y="58"/>
                </a:lnTo>
                <a:lnTo>
                  <a:pt x="709" y="58"/>
                </a:lnTo>
                <a:lnTo>
                  <a:pt x="727" y="58"/>
                </a:lnTo>
                <a:lnTo>
                  <a:pt x="749" y="58"/>
                </a:lnTo>
                <a:lnTo>
                  <a:pt x="769" y="57"/>
                </a:lnTo>
                <a:lnTo>
                  <a:pt x="777" y="55"/>
                </a:lnTo>
                <a:lnTo>
                  <a:pt x="784" y="54"/>
                </a:lnTo>
                <a:lnTo>
                  <a:pt x="784" y="54"/>
                </a:lnTo>
                <a:lnTo>
                  <a:pt x="797" y="50"/>
                </a:lnTo>
                <a:lnTo>
                  <a:pt x="811" y="47"/>
                </a:lnTo>
                <a:lnTo>
                  <a:pt x="823" y="44"/>
                </a:lnTo>
                <a:lnTo>
                  <a:pt x="825" y="43"/>
                </a:lnTo>
                <a:lnTo>
                  <a:pt x="828" y="41"/>
                </a:lnTo>
                <a:lnTo>
                  <a:pt x="828" y="41"/>
                </a:lnTo>
                <a:lnTo>
                  <a:pt x="828" y="38"/>
                </a:lnTo>
                <a:lnTo>
                  <a:pt x="827" y="37"/>
                </a:lnTo>
                <a:lnTo>
                  <a:pt x="820" y="33"/>
                </a:lnTo>
                <a:lnTo>
                  <a:pt x="808" y="30"/>
                </a:lnTo>
                <a:lnTo>
                  <a:pt x="798" y="30"/>
                </a:lnTo>
                <a:lnTo>
                  <a:pt x="798" y="30"/>
                </a:lnTo>
                <a:lnTo>
                  <a:pt x="790" y="30"/>
                </a:lnTo>
                <a:lnTo>
                  <a:pt x="783" y="28"/>
                </a:lnTo>
                <a:lnTo>
                  <a:pt x="779" y="26"/>
                </a:lnTo>
                <a:lnTo>
                  <a:pt x="777" y="24"/>
                </a:lnTo>
                <a:lnTo>
                  <a:pt x="777" y="23"/>
                </a:lnTo>
                <a:lnTo>
                  <a:pt x="777" y="23"/>
                </a:lnTo>
                <a:lnTo>
                  <a:pt x="777" y="21"/>
                </a:lnTo>
                <a:lnTo>
                  <a:pt x="774" y="18"/>
                </a:lnTo>
                <a:lnTo>
                  <a:pt x="769" y="17"/>
                </a:lnTo>
                <a:lnTo>
                  <a:pt x="761" y="14"/>
                </a:lnTo>
                <a:lnTo>
                  <a:pt x="759" y="13"/>
                </a:lnTo>
                <a:lnTo>
                  <a:pt x="757" y="11"/>
                </a:lnTo>
                <a:lnTo>
                  <a:pt x="757" y="11"/>
                </a:lnTo>
                <a:lnTo>
                  <a:pt x="756" y="10"/>
                </a:lnTo>
                <a:lnTo>
                  <a:pt x="750" y="9"/>
                </a:lnTo>
                <a:lnTo>
                  <a:pt x="737" y="9"/>
                </a:lnTo>
                <a:lnTo>
                  <a:pt x="723" y="9"/>
                </a:lnTo>
                <a:lnTo>
                  <a:pt x="716" y="7"/>
                </a:lnTo>
                <a:lnTo>
                  <a:pt x="713" y="6"/>
                </a:lnTo>
                <a:lnTo>
                  <a:pt x="713" y="6"/>
                </a:lnTo>
                <a:lnTo>
                  <a:pt x="705" y="3"/>
                </a:lnTo>
                <a:lnTo>
                  <a:pt x="692" y="0"/>
                </a:lnTo>
                <a:lnTo>
                  <a:pt x="678" y="0"/>
                </a:lnTo>
                <a:lnTo>
                  <a:pt x="663" y="0"/>
                </a:lnTo>
                <a:lnTo>
                  <a:pt x="663" y="0"/>
                </a:lnTo>
                <a:lnTo>
                  <a:pt x="626" y="1"/>
                </a:lnTo>
                <a:lnTo>
                  <a:pt x="596" y="1"/>
                </a:lnTo>
                <a:lnTo>
                  <a:pt x="596" y="1"/>
                </a:lnTo>
                <a:lnTo>
                  <a:pt x="585" y="4"/>
                </a:lnTo>
                <a:lnTo>
                  <a:pt x="579" y="6"/>
                </a:lnTo>
                <a:lnTo>
                  <a:pt x="574" y="6"/>
                </a:lnTo>
                <a:lnTo>
                  <a:pt x="574" y="6"/>
                </a:lnTo>
                <a:lnTo>
                  <a:pt x="568" y="6"/>
                </a:lnTo>
                <a:lnTo>
                  <a:pt x="561" y="7"/>
                </a:lnTo>
                <a:lnTo>
                  <a:pt x="558" y="10"/>
                </a:lnTo>
                <a:lnTo>
                  <a:pt x="557" y="11"/>
                </a:lnTo>
                <a:lnTo>
                  <a:pt x="558" y="13"/>
                </a:lnTo>
                <a:lnTo>
                  <a:pt x="558" y="13"/>
                </a:lnTo>
                <a:lnTo>
                  <a:pt x="561" y="17"/>
                </a:lnTo>
                <a:lnTo>
                  <a:pt x="559" y="18"/>
                </a:lnTo>
                <a:lnTo>
                  <a:pt x="558" y="21"/>
                </a:lnTo>
                <a:lnTo>
                  <a:pt x="555" y="23"/>
                </a:lnTo>
                <a:lnTo>
                  <a:pt x="549" y="23"/>
                </a:lnTo>
                <a:lnTo>
                  <a:pt x="547" y="21"/>
                </a:lnTo>
                <a:lnTo>
                  <a:pt x="547" y="20"/>
                </a:lnTo>
                <a:lnTo>
                  <a:pt x="547" y="20"/>
                </a:lnTo>
                <a:lnTo>
                  <a:pt x="547" y="17"/>
                </a:lnTo>
                <a:lnTo>
                  <a:pt x="545" y="14"/>
                </a:lnTo>
                <a:lnTo>
                  <a:pt x="538" y="13"/>
                </a:lnTo>
                <a:lnTo>
                  <a:pt x="530" y="11"/>
                </a:lnTo>
                <a:lnTo>
                  <a:pt x="525" y="13"/>
                </a:lnTo>
                <a:lnTo>
                  <a:pt x="522" y="14"/>
                </a:lnTo>
                <a:lnTo>
                  <a:pt x="522" y="14"/>
                </a:lnTo>
                <a:lnTo>
                  <a:pt x="518" y="16"/>
                </a:lnTo>
                <a:lnTo>
                  <a:pt x="513" y="16"/>
                </a:lnTo>
                <a:lnTo>
                  <a:pt x="500" y="14"/>
                </a:lnTo>
                <a:lnTo>
                  <a:pt x="487" y="13"/>
                </a:lnTo>
                <a:lnTo>
                  <a:pt x="481" y="13"/>
                </a:lnTo>
                <a:lnTo>
                  <a:pt x="478" y="14"/>
                </a:lnTo>
                <a:lnTo>
                  <a:pt x="478" y="14"/>
                </a:lnTo>
                <a:lnTo>
                  <a:pt x="476" y="16"/>
                </a:lnTo>
                <a:lnTo>
                  <a:pt x="470" y="17"/>
                </a:lnTo>
                <a:lnTo>
                  <a:pt x="454" y="18"/>
                </a:lnTo>
                <a:lnTo>
                  <a:pt x="437" y="20"/>
                </a:lnTo>
                <a:lnTo>
                  <a:pt x="426" y="20"/>
                </a:lnTo>
                <a:lnTo>
                  <a:pt x="426" y="20"/>
                </a:lnTo>
                <a:lnTo>
                  <a:pt x="423" y="21"/>
                </a:lnTo>
                <a:lnTo>
                  <a:pt x="423" y="23"/>
                </a:lnTo>
                <a:lnTo>
                  <a:pt x="430" y="27"/>
                </a:lnTo>
                <a:lnTo>
                  <a:pt x="439" y="31"/>
                </a:lnTo>
                <a:lnTo>
                  <a:pt x="441" y="33"/>
                </a:lnTo>
                <a:lnTo>
                  <a:pt x="441" y="36"/>
                </a:lnTo>
                <a:lnTo>
                  <a:pt x="441" y="36"/>
                </a:lnTo>
                <a:lnTo>
                  <a:pt x="440" y="37"/>
                </a:lnTo>
                <a:lnTo>
                  <a:pt x="436" y="37"/>
                </a:lnTo>
                <a:lnTo>
                  <a:pt x="424" y="38"/>
                </a:lnTo>
                <a:lnTo>
                  <a:pt x="414" y="40"/>
                </a:lnTo>
                <a:lnTo>
                  <a:pt x="413" y="41"/>
                </a:lnTo>
                <a:lnTo>
                  <a:pt x="413" y="44"/>
                </a:lnTo>
                <a:lnTo>
                  <a:pt x="413" y="44"/>
                </a:lnTo>
                <a:lnTo>
                  <a:pt x="417" y="47"/>
                </a:lnTo>
                <a:lnTo>
                  <a:pt x="421" y="50"/>
                </a:lnTo>
                <a:lnTo>
                  <a:pt x="433" y="55"/>
                </a:lnTo>
                <a:lnTo>
                  <a:pt x="444" y="61"/>
                </a:lnTo>
                <a:lnTo>
                  <a:pt x="454" y="70"/>
                </a:lnTo>
                <a:lnTo>
                  <a:pt x="454" y="70"/>
                </a:lnTo>
                <a:lnTo>
                  <a:pt x="457" y="73"/>
                </a:lnTo>
                <a:lnTo>
                  <a:pt x="457" y="74"/>
                </a:lnTo>
                <a:lnTo>
                  <a:pt x="456" y="75"/>
                </a:lnTo>
                <a:lnTo>
                  <a:pt x="453" y="74"/>
                </a:lnTo>
                <a:lnTo>
                  <a:pt x="443" y="71"/>
                </a:lnTo>
                <a:lnTo>
                  <a:pt x="433" y="65"/>
                </a:lnTo>
                <a:lnTo>
                  <a:pt x="433" y="65"/>
                </a:lnTo>
                <a:lnTo>
                  <a:pt x="429" y="63"/>
                </a:lnTo>
                <a:lnTo>
                  <a:pt x="423" y="61"/>
                </a:lnTo>
                <a:lnTo>
                  <a:pt x="413" y="58"/>
                </a:lnTo>
                <a:lnTo>
                  <a:pt x="404" y="57"/>
                </a:lnTo>
                <a:lnTo>
                  <a:pt x="400" y="54"/>
                </a:lnTo>
                <a:lnTo>
                  <a:pt x="397" y="53"/>
                </a:lnTo>
                <a:lnTo>
                  <a:pt x="397" y="53"/>
                </a:lnTo>
                <a:lnTo>
                  <a:pt x="394" y="50"/>
                </a:lnTo>
                <a:lnTo>
                  <a:pt x="389" y="47"/>
                </a:lnTo>
                <a:lnTo>
                  <a:pt x="376" y="43"/>
                </a:lnTo>
                <a:lnTo>
                  <a:pt x="363" y="41"/>
                </a:lnTo>
                <a:lnTo>
                  <a:pt x="357" y="41"/>
                </a:lnTo>
                <a:lnTo>
                  <a:pt x="355" y="43"/>
                </a:lnTo>
                <a:lnTo>
                  <a:pt x="355" y="43"/>
                </a:lnTo>
                <a:lnTo>
                  <a:pt x="353" y="46"/>
                </a:lnTo>
                <a:lnTo>
                  <a:pt x="353" y="47"/>
                </a:lnTo>
                <a:lnTo>
                  <a:pt x="360" y="54"/>
                </a:lnTo>
                <a:lnTo>
                  <a:pt x="370" y="60"/>
                </a:lnTo>
                <a:lnTo>
                  <a:pt x="373" y="63"/>
                </a:lnTo>
                <a:lnTo>
                  <a:pt x="375" y="65"/>
                </a:lnTo>
                <a:lnTo>
                  <a:pt x="375" y="65"/>
                </a:lnTo>
                <a:lnTo>
                  <a:pt x="373" y="67"/>
                </a:lnTo>
                <a:lnTo>
                  <a:pt x="370" y="67"/>
                </a:lnTo>
                <a:lnTo>
                  <a:pt x="365" y="67"/>
                </a:lnTo>
                <a:lnTo>
                  <a:pt x="356" y="65"/>
                </a:lnTo>
                <a:lnTo>
                  <a:pt x="352" y="65"/>
                </a:lnTo>
                <a:lnTo>
                  <a:pt x="352" y="65"/>
                </a:lnTo>
                <a:lnTo>
                  <a:pt x="350" y="65"/>
                </a:lnTo>
                <a:lnTo>
                  <a:pt x="347" y="64"/>
                </a:lnTo>
                <a:lnTo>
                  <a:pt x="339" y="58"/>
                </a:lnTo>
                <a:lnTo>
                  <a:pt x="330" y="53"/>
                </a:lnTo>
                <a:lnTo>
                  <a:pt x="326" y="50"/>
                </a:lnTo>
                <a:lnTo>
                  <a:pt x="322" y="50"/>
                </a:lnTo>
                <a:lnTo>
                  <a:pt x="322" y="50"/>
                </a:lnTo>
                <a:lnTo>
                  <a:pt x="319" y="50"/>
                </a:lnTo>
                <a:lnTo>
                  <a:pt x="318" y="51"/>
                </a:lnTo>
                <a:lnTo>
                  <a:pt x="318" y="55"/>
                </a:lnTo>
                <a:lnTo>
                  <a:pt x="319" y="61"/>
                </a:lnTo>
                <a:lnTo>
                  <a:pt x="320" y="70"/>
                </a:lnTo>
                <a:lnTo>
                  <a:pt x="320" y="70"/>
                </a:lnTo>
                <a:lnTo>
                  <a:pt x="320" y="74"/>
                </a:lnTo>
                <a:lnTo>
                  <a:pt x="318" y="78"/>
                </a:lnTo>
                <a:lnTo>
                  <a:pt x="312" y="83"/>
                </a:lnTo>
                <a:lnTo>
                  <a:pt x="308" y="84"/>
                </a:lnTo>
                <a:lnTo>
                  <a:pt x="306" y="84"/>
                </a:lnTo>
                <a:lnTo>
                  <a:pt x="308" y="81"/>
                </a:lnTo>
                <a:lnTo>
                  <a:pt x="308" y="81"/>
                </a:lnTo>
                <a:lnTo>
                  <a:pt x="309" y="77"/>
                </a:lnTo>
                <a:lnTo>
                  <a:pt x="309" y="73"/>
                </a:lnTo>
                <a:lnTo>
                  <a:pt x="309" y="63"/>
                </a:lnTo>
                <a:lnTo>
                  <a:pt x="308" y="58"/>
                </a:lnTo>
                <a:lnTo>
                  <a:pt x="305" y="54"/>
                </a:lnTo>
                <a:lnTo>
                  <a:pt x="302" y="50"/>
                </a:lnTo>
                <a:lnTo>
                  <a:pt x="299" y="48"/>
                </a:lnTo>
                <a:lnTo>
                  <a:pt x="299" y="48"/>
                </a:lnTo>
                <a:lnTo>
                  <a:pt x="295" y="47"/>
                </a:lnTo>
                <a:lnTo>
                  <a:pt x="289" y="48"/>
                </a:lnTo>
                <a:lnTo>
                  <a:pt x="276" y="51"/>
                </a:lnTo>
                <a:lnTo>
                  <a:pt x="262" y="54"/>
                </a:lnTo>
                <a:lnTo>
                  <a:pt x="251" y="55"/>
                </a:lnTo>
                <a:lnTo>
                  <a:pt x="251" y="55"/>
                </a:lnTo>
                <a:lnTo>
                  <a:pt x="239" y="57"/>
                </a:lnTo>
                <a:lnTo>
                  <a:pt x="231" y="58"/>
                </a:lnTo>
                <a:lnTo>
                  <a:pt x="228" y="60"/>
                </a:lnTo>
                <a:lnTo>
                  <a:pt x="227" y="61"/>
                </a:lnTo>
                <a:lnTo>
                  <a:pt x="228" y="64"/>
                </a:lnTo>
                <a:lnTo>
                  <a:pt x="231" y="67"/>
                </a:lnTo>
                <a:lnTo>
                  <a:pt x="231" y="67"/>
                </a:lnTo>
                <a:lnTo>
                  <a:pt x="234" y="68"/>
                </a:lnTo>
                <a:lnTo>
                  <a:pt x="235" y="71"/>
                </a:lnTo>
                <a:lnTo>
                  <a:pt x="235" y="73"/>
                </a:lnTo>
                <a:lnTo>
                  <a:pt x="234" y="73"/>
                </a:lnTo>
                <a:lnTo>
                  <a:pt x="228" y="73"/>
                </a:lnTo>
                <a:lnTo>
                  <a:pt x="224" y="71"/>
                </a:lnTo>
                <a:lnTo>
                  <a:pt x="221" y="70"/>
                </a:lnTo>
                <a:lnTo>
                  <a:pt x="221" y="70"/>
                </a:lnTo>
                <a:lnTo>
                  <a:pt x="215" y="67"/>
                </a:lnTo>
                <a:lnTo>
                  <a:pt x="209" y="67"/>
                </a:lnTo>
                <a:lnTo>
                  <a:pt x="195" y="67"/>
                </a:lnTo>
                <a:lnTo>
                  <a:pt x="185" y="71"/>
                </a:lnTo>
                <a:lnTo>
                  <a:pt x="184" y="73"/>
                </a:lnTo>
                <a:lnTo>
                  <a:pt x="184" y="74"/>
                </a:lnTo>
                <a:lnTo>
                  <a:pt x="184" y="74"/>
                </a:lnTo>
                <a:lnTo>
                  <a:pt x="188" y="80"/>
                </a:lnTo>
                <a:lnTo>
                  <a:pt x="191" y="87"/>
                </a:lnTo>
                <a:lnTo>
                  <a:pt x="191" y="92"/>
                </a:lnTo>
                <a:lnTo>
                  <a:pt x="190" y="98"/>
                </a:lnTo>
                <a:lnTo>
                  <a:pt x="190" y="98"/>
                </a:lnTo>
                <a:lnTo>
                  <a:pt x="187" y="100"/>
                </a:lnTo>
                <a:lnTo>
                  <a:pt x="184" y="100"/>
                </a:lnTo>
                <a:lnTo>
                  <a:pt x="177" y="98"/>
                </a:lnTo>
                <a:lnTo>
                  <a:pt x="168" y="95"/>
                </a:lnTo>
                <a:lnTo>
                  <a:pt x="163" y="94"/>
                </a:lnTo>
                <a:lnTo>
                  <a:pt x="158" y="94"/>
                </a:lnTo>
                <a:lnTo>
                  <a:pt x="158" y="94"/>
                </a:lnTo>
                <a:lnTo>
                  <a:pt x="151" y="95"/>
                </a:lnTo>
                <a:lnTo>
                  <a:pt x="141" y="100"/>
                </a:lnTo>
                <a:lnTo>
                  <a:pt x="116" y="111"/>
                </a:lnTo>
                <a:lnTo>
                  <a:pt x="103" y="118"/>
                </a:lnTo>
                <a:lnTo>
                  <a:pt x="93" y="124"/>
                </a:lnTo>
                <a:lnTo>
                  <a:pt x="87" y="129"/>
                </a:lnTo>
                <a:lnTo>
                  <a:pt x="86" y="131"/>
                </a:lnTo>
                <a:lnTo>
                  <a:pt x="86" y="134"/>
                </a:lnTo>
                <a:lnTo>
                  <a:pt x="86" y="134"/>
                </a:lnTo>
                <a:lnTo>
                  <a:pt x="89" y="135"/>
                </a:lnTo>
                <a:lnTo>
                  <a:pt x="91" y="137"/>
                </a:lnTo>
                <a:lnTo>
                  <a:pt x="103" y="138"/>
                </a:lnTo>
                <a:lnTo>
                  <a:pt x="116" y="138"/>
                </a:lnTo>
                <a:lnTo>
                  <a:pt x="121" y="138"/>
                </a:lnTo>
                <a:lnTo>
                  <a:pt x="126" y="139"/>
                </a:lnTo>
                <a:lnTo>
                  <a:pt x="126" y="139"/>
                </a:lnTo>
                <a:lnTo>
                  <a:pt x="127" y="142"/>
                </a:lnTo>
                <a:lnTo>
                  <a:pt x="128" y="145"/>
                </a:lnTo>
                <a:lnTo>
                  <a:pt x="127" y="149"/>
                </a:lnTo>
                <a:lnTo>
                  <a:pt x="126" y="154"/>
                </a:lnTo>
                <a:lnTo>
                  <a:pt x="120" y="162"/>
                </a:lnTo>
                <a:lnTo>
                  <a:pt x="111" y="169"/>
                </a:lnTo>
                <a:lnTo>
                  <a:pt x="111" y="169"/>
                </a:lnTo>
                <a:lnTo>
                  <a:pt x="107" y="171"/>
                </a:lnTo>
                <a:lnTo>
                  <a:pt x="100" y="172"/>
                </a:lnTo>
                <a:lnTo>
                  <a:pt x="83" y="172"/>
                </a:lnTo>
                <a:lnTo>
                  <a:pt x="69" y="174"/>
                </a:lnTo>
                <a:lnTo>
                  <a:pt x="63" y="175"/>
                </a:lnTo>
                <a:lnTo>
                  <a:pt x="62" y="178"/>
                </a:lnTo>
                <a:lnTo>
                  <a:pt x="62" y="178"/>
                </a:lnTo>
                <a:lnTo>
                  <a:pt x="60" y="179"/>
                </a:lnTo>
                <a:lnTo>
                  <a:pt x="59" y="181"/>
                </a:lnTo>
                <a:lnTo>
                  <a:pt x="52" y="184"/>
                </a:lnTo>
                <a:lnTo>
                  <a:pt x="30" y="188"/>
                </a:lnTo>
                <a:lnTo>
                  <a:pt x="19" y="191"/>
                </a:lnTo>
                <a:lnTo>
                  <a:pt x="9" y="193"/>
                </a:lnTo>
                <a:lnTo>
                  <a:pt x="3" y="196"/>
                </a:lnTo>
                <a:lnTo>
                  <a:pt x="0" y="199"/>
                </a:lnTo>
                <a:lnTo>
                  <a:pt x="0" y="202"/>
                </a:lnTo>
                <a:lnTo>
                  <a:pt x="0" y="202"/>
                </a:lnTo>
                <a:lnTo>
                  <a:pt x="0" y="205"/>
                </a:lnTo>
                <a:lnTo>
                  <a:pt x="2" y="209"/>
                </a:lnTo>
                <a:lnTo>
                  <a:pt x="6" y="212"/>
                </a:lnTo>
                <a:lnTo>
                  <a:pt x="10" y="213"/>
                </a:lnTo>
                <a:lnTo>
                  <a:pt x="10" y="213"/>
                </a:lnTo>
                <a:lnTo>
                  <a:pt x="23" y="215"/>
                </a:lnTo>
                <a:lnTo>
                  <a:pt x="30" y="216"/>
                </a:lnTo>
                <a:lnTo>
                  <a:pt x="33" y="218"/>
                </a:lnTo>
                <a:lnTo>
                  <a:pt x="36" y="220"/>
                </a:lnTo>
                <a:lnTo>
                  <a:pt x="36" y="220"/>
                </a:lnTo>
                <a:lnTo>
                  <a:pt x="40" y="223"/>
                </a:lnTo>
                <a:lnTo>
                  <a:pt x="44" y="226"/>
                </a:lnTo>
                <a:lnTo>
                  <a:pt x="56" y="228"/>
                </a:lnTo>
                <a:lnTo>
                  <a:pt x="67" y="228"/>
                </a:lnTo>
                <a:lnTo>
                  <a:pt x="80" y="225"/>
                </a:lnTo>
                <a:lnTo>
                  <a:pt x="80" y="225"/>
                </a:lnTo>
                <a:lnTo>
                  <a:pt x="86" y="222"/>
                </a:lnTo>
                <a:lnTo>
                  <a:pt x="90" y="222"/>
                </a:lnTo>
                <a:lnTo>
                  <a:pt x="94" y="222"/>
                </a:lnTo>
                <a:lnTo>
                  <a:pt x="99" y="223"/>
                </a:lnTo>
                <a:lnTo>
                  <a:pt x="101" y="225"/>
                </a:lnTo>
                <a:lnTo>
                  <a:pt x="103" y="228"/>
                </a:lnTo>
                <a:lnTo>
                  <a:pt x="104" y="230"/>
                </a:lnTo>
                <a:lnTo>
                  <a:pt x="106" y="233"/>
                </a:lnTo>
                <a:lnTo>
                  <a:pt x="106" y="233"/>
                </a:lnTo>
                <a:lnTo>
                  <a:pt x="103" y="236"/>
                </a:lnTo>
                <a:lnTo>
                  <a:pt x="100" y="236"/>
                </a:lnTo>
                <a:lnTo>
                  <a:pt x="87" y="236"/>
                </a:lnTo>
                <a:lnTo>
                  <a:pt x="73" y="235"/>
                </a:lnTo>
                <a:lnTo>
                  <a:pt x="66" y="235"/>
                </a:lnTo>
                <a:lnTo>
                  <a:pt x="62" y="236"/>
                </a:lnTo>
                <a:lnTo>
                  <a:pt x="62" y="236"/>
                </a:lnTo>
                <a:lnTo>
                  <a:pt x="57" y="239"/>
                </a:lnTo>
                <a:lnTo>
                  <a:pt x="52" y="239"/>
                </a:lnTo>
                <a:lnTo>
                  <a:pt x="37" y="240"/>
                </a:lnTo>
                <a:lnTo>
                  <a:pt x="26" y="240"/>
                </a:lnTo>
                <a:lnTo>
                  <a:pt x="23" y="242"/>
                </a:lnTo>
                <a:lnTo>
                  <a:pt x="23" y="245"/>
                </a:lnTo>
                <a:lnTo>
                  <a:pt x="23" y="245"/>
                </a:lnTo>
                <a:lnTo>
                  <a:pt x="23" y="246"/>
                </a:lnTo>
                <a:lnTo>
                  <a:pt x="26" y="248"/>
                </a:lnTo>
                <a:lnTo>
                  <a:pt x="33" y="249"/>
                </a:lnTo>
                <a:lnTo>
                  <a:pt x="52" y="252"/>
                </a:lnTo>
                <a:lnTo>
                  <a:pt x="52" y="252"/>
                </a:lnTo>
                <a:lnTo>
                  <a:pt x="54" y="253"/>
                </a:lnTo>
                <a:lnTo>
                  <a:pt x="57" y="255"/>
                </a:lnTo>
                <a:lnTo>
                  <a:pt x="57" y="256"/>
                </a:lnTo>
                <a:lnTo>
                  <a:pt x="56" y="257"/>
                </a:lnTo>
                <a:lnTo>
                  <a:pt x="53" y="260"/>
                </a:lnTo>
                <a:lnTo>
                  <a:pt x="52" y="265"/>
                </a:lnTo>
                <a:lnTo>
                  <a:pt x="52" y="265"/>
                </a:lnTo>
                <a:lnTo>
                  <a:pt x="53" y="267"/>
                </a:lnTo>
                <a:lnTo>
                  <a:pt x="56" y="269"/>
                </a:lnTo>
                <a:lnTo>
                  <a:pt x="63" y="272"/>
                </a:lnTo>
                <a:lnTo>
                  <a:pt x="72" y="275"/>
                </a:lnTo>
                <a:lnTo>
                  <a:pt x="72" y="275"/>
                </a:lnTo>
                <a:lnTo>
                  <a:pt x="81" y="279"/>
                </a:lnTo>
                <a:lnTo>
                  <a:pt x="91" y="282"/>
                </a:lnTo>
                <a:lnTo>
                  <a:pt x="97" y="282"/>
                </a:lnTo>
                <a:lnTo>
                  <a:pt x="99" y="280"/>
                </a:lnTo>
                <a:lnTo>
                  <a:pt x="97" y="277"/>
                </a:lnTo>
                <a:lnTo>
                  <a:pt x="97" y="277"/>
                </a:lnTo>
                <a:lnTo>
                  <a:pt x="96" y="276"/>
                </a:lnTo>
                <a:lnTo>
                  <a:pt x="96" y="275"/>
                </a:lnTo>
                <a:lnTo>
                  <a:pt x="99" y="273"/>
                </a:lnTo>
                <a:lnTo>
                  <a:pt x="101" y="273"/>
                </a:lnTo>
                <a:lnTo>
                  <a:pt x="108" y="273"/>
                </a:lnTo>
                <a:lnTo>
                  <a:pt x="113" y="276"/>
                </a:lnTo>
                <a:lnTo>
                  <a:pt x="113" y="276"/>
                </a:lnTo>
                <a:lnTo>
                  <a:pt x="114" y="277"/>
                </a:lnTo>
                <a:lnTo>
                  <a:pt x="117" y="277"/>
                </a:lnTo>
                <a:lnTo>
                  <a:pt x="121" y="275"/>
                </a:lnTo>
                <a:lnTo>
                  <a:pt x="127" y="272"/>
                </a:lnTo>
                <a:lnTo>
                  <a:pt x="131" y="272"/>
                </a:lnTo>
                <a:lnTo>
                  <a:pt x="134" y="272"/>
                </a:lnTo>
                <a:lnTo>
                  <a:pt x="134" y="272"/>
                </a:lnTo>
                <a:lnTo>
                  <a:pt x="137" y="272"/>
                </a:lnTo>
                <a:lnTo>
                  <a:pt x="140" y="272"/>
                </a:lnTo>
                <a:lnTo>
                  <a:pt x="145" y="269"/>
                </a:lnTo>
                <a:lnTo>
                  <a:pt x="148" y="267"/>
                </a:lnTo>
                <a:lnTo>
                  <a:pt x="151" y="267"/>
                </a:lnTo>
                <a:lnTo>
                  <a:pt x="154" y="269"/>
                </a:lnTo>
                <a:lnTo>
                  <a:pt x="154" y="269"/>
                </a:lnTo>
                <a:lnTo>
                  <a:pt x="164" y="272"/>
                </a:lnTo>
                <a:lnTo>
                  <a:pt x="178" y="275"/>
                </a:lnTo>
                <a:lnTo>
                  <a:pt x="194" y="277"/>
                </a:lnTo>
                <a:lnTo>
                  <a:pt x="205" y="282"/>
                </a:lnTo>
                <a:lnTo>
                  <a:pt x="205" y="282"/>
                </a:lnTo>
                <a:lnTo>
                  <a:pt x="215" y="286"/>
                </a:lnTo>
                <a:lnTo>
                  <a:pt x="224" y="289"/>
                </a:lnTo>
                <a:lnTo>
                  <a:pt x="229" y="293"/>
                </a:lnTo>
                <a:lnTo>
                  <a:pt x="231" y="296"/>
                </a:lnTo>
                <a:lnTo>
                  <a:pt x="231" y="299"/>
                </a:lnTo>
                <a:lnTo>
                  <a:pt x="231" y="299"/>
                </a:lnTo>
                <a:lnTo>
                  <a:pt x="231" y="302"/>
                </a:lnTo>
                <a:lnTo>
                  <a:pt x="232" y="304"/>
                </a:lnTo>
                <a:lnTo>
                  <a:pt x="237" y="310"/>
                </a:lnTo>
                <a:lnTo>
                  <a:pt x="244" y="316"/>
                </a:lnTo>
                <a:lnTo>
                  <a:pt x="254" y="320"/>
                </a:lnTo>
                <a:lnTo>
                  <a:pt x="254" y="320"/>
                </a:lnTo>
                <a:lnTo>
                  <a:pt x="258" y="323"/>
                </a:lnTo>
                <a:lnTo>
                  <a:pt x="261" y="326"/>
                </a:lnTo>
                <a:lnTo>
                  <a:pt x="266" y="331"/>
                </a:lnTo>
                <a:lnTo>
                  <a:pt x="268" y="340"/>
                </a:lnTo>
                <a:lnTo>
                  <a:pt x="268" y="346"/>
                </a:lnTo>
                <a:lnTo>
                  <a:pt x="268" y="346"/>
                </a:lnTo>
                <a:lnTo>
                  <a:pt x="268" y="349"/>
                </a:lnTo>
                <a:lnTo>
                  <a:pt x="271" y="351"/>
                </a:lnTo>
                <a:lnTo>
                  <a:pt x="275" y="357"/>
                </a:lnTo>
                <a:lnTo>
                  <a:pt x="279" y="360"/>
                </a:lnTo>
                <a:lnTo>
                  <a:pt x="279" y="363"/>
                </a:lnTo>
                <a:lnTo>
                  <a:pt x="279" y="364"/>
                </a:lnTo>
                <a:lnTo>
                  <a:pt x="279" y="364"/>
                </a:lnTo>
                <a:lnTo>
                  <a:pt x="279" y="367"/>
                </a:lnTo>
                <a:lnTo>
                  <a:pt x="279" y="370"/>
                </a:lnTo>
                <a:lnTo>
                  <a:pt x="282" y="376"/>
                </a:lnTo>
                <a:lnTo>
                  <a:pt x="288" y="380"/>
                </a:lnTo>
                <a:lnTo>
                  <a:pt x="288" y="380"/>
                </a:lnTo>
                <a:lnTo>
                  <a:pt x="289" y="383"/>
                </a:lnTo>
                <a:lnTo>
                  <a:pt x="289" y="386"/>
                </a:lnTo>
                <a:lnTo>
                  <a:pt x="285" y="391"/>
                </a:lnTo>
                <a:lnTo>
                  <a:pt x="279" y="395"/>
                </a:lnTo>
                <a:lnTo>
                  <a:pt x="279" y="398"/>
                </a:lnTo>
                <a:lnTo>
                  <a:pt x="279" y="400"/>
                </a:lnTo>
                <a:lnTo>
                  <a:pt x="279" y="400"/>
                </a:lnTo>
                <a:lnTo>
                  <a:pt x="281" y="403"/>
                </a:lnTo>
                <a:lnTo>
                  <a:pt x="281" y="405"/>
                </a:lnTo>
                <a:lnTo>
                  <a:pt x="279" y="413"/>
                </a:lnTo>
                <a:lnTo>
                  <a:pt x="279" y="415"/>
                </a:lnTo>
                <a:lnTo>
                  <a:pt x="281" y="418"/>
                </a:lnTo>
                <a:lnTo>
                  <a:pt x="282" y="421"/>
                </a:lnTo>
                <a:lnTo>
                  <a:pt x="288" y="423"/>
                </a:lnTo>
                <a:lnTo>
                  <a:pt x="288" y="423"/>
                </a:lnTo>
                <a:lnTo>
                  <a:pt x="292" y="423"/>
                </a:lnTo>
                <a:lnTo>
                  <a:pt x="296" y="421"/>
                </a:lnTo>
                <a:lnTo>
                  <a:pt x="301" y="418"/>
                </a:lnTo>
                <a:lnTo>
                  <a:pt x="305" y="414"/>
                </a:lnTo>
                <a:lnTo>
                  <a:pt x="308" y="413"/>
                </a:lnTo>
                <a:lnTo>
                  <a:pt x="312" y="411"/>
                </a:lnTo>
                <a:lnTo>
                  <a:pt x="312" y="411"/>
                </a:lnTo>
                <a:lnTo>
                  <a:pt x="315" y="413"/>
                </a:lnTo>
                <a:lnTo>
                  <a:pt x="316" y="413"/>
                </a:lnTo>
                <a:lnTo>
                  <a:pt x="316" y="415"/>
                </a:lnTo>
                <a:lnTo>
                  <a:pt x="316" y="417"/>
                </a:lnTo>
                <a:lnTo>
                  <a:pt x="315" y="423"/>
                </a:lnTo>
                <a:lnTo>
                  <a:pt x="315" y="425"/>
                </a:lnTo>
                <a:lnTo>
                  <a:pt x="318" y="428"/>
                </a:lnTo>
                <a:lnTo>
                  <a:pt x="318" y="428"/>
                </a:lnTo>
                <a:lnTo>
                  <a:pt x="323" y="431"/>
                </a:lnTo>
                <a:lnTo>
                  <a:pt x="330" y="434"/>
                </a:lnTo>
                <a:lnTo>
                  <a:pt x="339" y="437"/>
                </a:lnTo>
                <a:lnTo>
                  <a:pt x="347" y="442"/>
                </a:lnTo>
                <a:lnTo>
                  <a:pt x="347" y="442"/>
                </a:lnTo>
                <a:lnTo>
                  <a:pt x="352" y="445"/>
                </a:lnTo>
                <a:lnTo>
                  <a:pt x="353" y="448"/>
                </a:lnTo>
                <a:lnTo>
                  <a:pt x="353" y="451"/>
                </a:lnTo>
                <a:lnTo>
                  <a:pt x="353" y="452"/>
                </a:lnTo>
                <a:lnTo>
                  <a:pt x="352" y="452"/>
                </a:lnTo>
                <a:lnTo>
                  <a:pt x="349" y="452"/>
                </a:lnTo>
                <a:lnTo>
                  <a:pt x="342" y="450"/>
                </a:lnTo>
                <a:lnTo>
                  <a:pt x="342" y="450"/>
                </a:lnTo>
                <a:lnTo>
                  <a:pt x="336" y="447"/>
                </a:lnTo>
                <a:lnTo>
                  <a:pt x="330" y="445"/>
                </a:lnTo>
                <a:lnTo>
                  <a:pt x="316" y="444"/>
                </a:lnTo>
                <a:lnTo>
                  <a:pt x="303" y="444"/>
                </a:lnTo>
                <a:lnTo>
                  <a:pt x="299" y="445"/>
                </a:lnTo>
                <a:lnTo>
                  <a:pt x="299" y="445"/>
                </a:lnTo>
                <a:lnTo>
                  <a:pt x="299" y="445"/>
                </a:lnTo>
                <a:lnTo>
                  <a:pt x="303" y="451"/>
                </a:lnTo>
                <a:lnTo>
                  <a:pt x="318" y="458"/>
                </a:lnTo>
                <a:lnTo>
                  <a:pt x="332" y="464"/>
                </a:lnTo>
                <a:lnTo>
                  <a:pt x="338" y="465"/>
                </a:lnTo>
                <a:lnTo>
                  <a:pt x="342" y="465"/>
                </a:lnTo>
                <a:lnTo>
                  <a:pt x="342" y="465"/>
                </a:lnTo>
                <a:lnTo>
                  <a:pt x="345" y="465"/>
                </a:lnTo>
                <a:lnTo>
                  <a:pt x="347" y="467"/>
                </a:lnTo>
                <a:lnTo>
                  <a:pt x="353" y="471"/>
                </a:lnTo>
                <a:lnTo>
                  <a:pt x="356" y="477"/>
                </a:lnTo>
                <a:lnTo>
                  <a:pt x="357" y="479"/>
                </a:lnTo>
                <a:lnTo>
                  <a:pt x="356" y="482"/>
                </a:lnTo>
                <a:lnTo>
                  <a:pt x="356" y="482"/>
                </a:lnTo>
                <a:lnTo>
                  <a:pt x="353" y="487"/>
                </a:lnTo>
                <a:lnTo>
                  <a:pt x="353" y="494"/>
                </a:lnTo>
                <a:lnTo>
                  <a:pt x="353" y="505"/>
                </a:lnTo>
                <a:lnTo>
                  <a:pt x="353" y="505"/>
                </a:lnTo>
                <a:lnTo>
                  <a:pt x="352" y="506"/>
                </a:lnTo>
                <a:lnTo>
                  <a:pt x="350" y="506"/>
                </a:lnTo>
                <a:lnTo>
                  <a:pt x="345" y="506"/>
                </a:lnTo>
                <a:lnTo>
                  <a:pt x="339" y="505"/>
                </a:lnTo>
                <a:lnTo>
                  <a:pt x="332" y="505"/>
                </a:lnTo>
                <a:lnTo>
                  <a:pt x="332" y="505"/>
                </a:lnTo>
                <a:lnTo>
                  <a:pt x="328" y="506"/>
                </a:lnTo>
                <a:lnTo>
                  <a:pt x="323" y="508"/>
                </a:lnTo>
                <a:lnTo>
                  <a:pt x="320" y="512"/>
                </a:lnTo>
                <a:lnTo>
                  <a:pt x="319" y="516"/>
                </a:lnTo>
                <a:lnTo>
                  <a:pt x="319" y="516"/>
                </a:lnTo>
                <a:lnTo>
                  <a:pt x="319" y="519"/>
                </a:lnTo>
                <a:lnTo>
                  <a:pt x="318" y="522"/>
                </a:lnTo>
                <a:lnTo>
                  <a:pt x="313" y="528"/>
                </a:lnTo>
                <a:lnTo>
                  <a:pt x="309" y="533"/>
                </a:lnTo>
                <a:lnTo>
                  <a:pt x="308" y="536"/>
                </a:lnTo>
                <a:lnTo>
                  <a:pt x="306" y="541"/>
                </a:lnTo>
                <a:lnTo>
                  <a:pt x="306" y="541"/>
                </a:lnTo>
                <a:lnTo>
                  <a:pt x="306" y="543"/>
                </a:lnTo>
                <a:lnTo>
                  <a:pt x="308" y="546"/>
                </a:lnTo>
                <a:lnTo>
                  <a:pt x="311" y="549"/>
                </a:lnTo>
                <a:lnTo>
                  <a:pt x="316" y="552"/>
                </a:lnTo>
                <a:lnTo>
                  <a:pt x="322" y="555"/>
                </a:lnTo>
                <a:lnTo>
                  <a:pt x="322" y="555"/>
                </a:lnTo>
                <a:lnTo>
                  <a:pt x="323" y="556"/>
                </a:lnTo>
                <a:lnTo>
                  <a:pt x="322" y="558"/>
                </a:lnTo>
                <a:lnTo>
                  <a:pt x="318" y="560"/>
                </a:lnTo>
                <a:lnTo>
                  <a:pt x="312" y="563"/>
                </a:lnTo>
                <a:lnTo>
                  <a:pt x="311" y="566"/>
                </a:lnTo>
                <a:lnTo>
                  <a:pt x="309" y="569"/>
                </a:lnTo>
                <a:lnTo>
                  <a:pt x="309" y="569"/>
                </a:lnTo>
                <a:lnTo>
                  <a:pt x="309" y="572"/>
                </a:lnTo>
                <a:lnTo>
                  <a:pt x="312" y="575"/>
                </a:lnTo>
                <a:lnTo>
                  <a:pt x="318" y="582"/>
                </a:lnTo>
                <a:lnTo>
                  <a:pt x="325" y="588"/>
                </a:lnTo>
                <a:lnTo>
                  <a:pt x="332" y="592"/>
                </a:lnTo>
                <a:lnTo>
                  <a:pt x="332" y="592"/>
                </a:lnTo>
                <a:lnTo>
                  <a:pt x="333" y="593"/>
                </a:lnTo>
                <a:lnTo>
                  <a:pt x="335" y="596"/>
                </a:lnTo>
                <a:lnTo>
                  <a:pt x="335" y="603"/>
                </a:lnTo>
                <a:lnTo>
                  <a:pt x="333" y="612"/>
                </a:lnTo>
                <a:lnTo>
                  <a:pt x="335" y="619"/>
                </a:lnTo>
                <a:lnTo>
                  <a:pt x="335" y="619"/>
                </a:lnTo>
                <a:lnTo>
                  <a:pt x="336" y="622"/>
                </a:lnTo>
                <a:lnTo>
                  <a:pt x="338" y="623"/>
                </a:lnTo>
                <a:lnTo>
                  <a:pt x="340" y="623"/>
                </a:lnTo>
                <a:lnTo>
                  <a:pt x="343" y="623"/>
                </a:lnTo>
                <a:lnTo>
                  <a:pt x="343" y="625"/>
                </a:lnTo>
                <a:lnTo>
                  <a:pt x="345" y="627"/>
                </a:lnTo>
                <a:lnTo>
                  <a:pt x="345" y="627"/>
                </a:lnTo>
                <a:lnTo>
                  <a:pt x="345" y="632"/>
                </a:lnTo>
                <a:lnTo>
                  <a:pt x="345" y="634"/>
                </a:lnTo>
                <a:lnTo>
                  <a:pt x="347" y="637"/>
                </a:lnTo>
                <a:lnTo>
                  <a:pt x="350" y="640"/>
                </a:lnTo>
                <a:lnTo>
                  <a:pt x="352" y="644"/>
                </a:lnTo>
                <a:lnTo>
                  <a:pt x="352" y="644"/>
                </a:lnTo>
                <a:lnTo>
                  <a:pt x="353" y="646"/>
                </a:lnTo>
                <a:lnTo>
                  <a:pt x="355" y="647"/>
                </a:lnTo>
                <a:lnTo>
                  <a:pt x="359" y="650"/>
                </a:lnTo>
                <a:lnTo>
                  <a:pt x="363" y="653"/>
                </a:lnTo>
                <a:lnTo>
                  <a:pt x="365" y="654"/>
                </a:lnTo>
                <a:lnTo>
                  <a:pt x="365" y="657"/>
                </a:lnTo>
                <a:lnTo>
                  <a:pt x="365" y="657"/>
                </a:lnTo>
                <a:lnTo>
                  <a:pt x="365" y="663"/>
                </a:lnTo>
                <a:lnTo>
                  <a:pt x="366" y="669"/>
                </a:lnTo>
                <a:lnTo>
                  <a:pt x="372" y="677"/>
                </a:lnTo>
                <a:lnTo>
                  <a:pt x="372" y="677"/>
                </a:lnTo>
                <a:lnTo>
                  <a:pt x="382" y="686"/>
                </a:lnTo>
                <a:lnTo>
                  <a:pt x="386" y="691"/>
                </a:lnTo>
                <a:lnTo>
                  <a:pt x="390" y="696"/>
                </a:lnTo>
                <a:lnTo>
                  <a:pt x="390" y="696"/>
                </a:lnTo>
                <a:lnTo>
                  <a:pt x="393" y="701"/>
                </a:lnTo>
                <a:lnTo>
                  <a:pt x="397" y="706"/>
                </a:lnTo>
                <a:lnTo>
                  <a:pt x="402" y="708"/>
                </a:lnTo>
                <a:lnTo>
                  <a:pt x="404" y="708"/>
                </a:lnTo>
                <a:lnTo>
                  <a:pt x="409" y="708"/>
                </a:lnTo>
                <a:lnTo>
                  <a:pt x="409" y="708"/>
                </a:lnTo>
                <a:lnTo>
                  <a:pt x="413" y="707"/>
                </a:lnTo>
                <a:lnTo>
                  <a:pt x="417" y="710"/>
                </a:lnTo>
                <a:lnTo>
                  <a:pt x="420" y="711"/>
                </a:lnTo>
                <a:lnTo>
                  <a:pt x="424" y="713"/>
                </a:lnTo>
                <a:lnTo>
                  <a:pt x="424" y="713"/>
                </a:lnTo>
                <a:lnTo>
                  <a:pt x="429" y="713"/>
                </a:lnTo>
                <a:lnTo>
                  <a:pt x="434" y="714"/>
                </a:lnTo>
                <a:lnTo>
                  <a:pt x="440" y="717"/>
                </a:lnTo>
                <a:lnTo>
                  <a:pt x="443" y="721"/>
                </a:lnTo>
                <a:lnTo>
                  <a:pt x="443" y="721"/>
                </a:lnTo>
                <a:lnTo>
                  <a:pt x="444" y="723"/>
                </a:lnTo>
                <a:lnTo>
                  <a:pt x="447" y="724"/>
                </a:lnTo>
                <a:lnTo>
                  <a:pt x="456" y="728"/>
                </a:lnTo>
                <a:lnTo>
                  <a:pt x="471" y="731"/>
                </a:lnTo>
                <a:lnTo>
                  <a:pt x="471" y="731"/>
                </a:lnTo>
                <a:lnTo>
                  <a:pt x="473" y="731"/>
                </a:lnTo>
                <a:lnTo>
                  <a:pt x="474" y="730"/>
                </a:lnTo>
                <a:lnTo>
                  <a:pt x="477" y="727"/>
                </a:lnTo>
                <a:lnTo>
                  <a:pt x="480" y="723"/>
                </a:lnTo>
                <a:lnTo>
                  <a:pt x="483" y="720"/>
                </a:lnTo>
                <a:lnTo>
                  <a:pt x="483" y="720"/>
                </a:lnTo>
                <a:lnTo>
                  <a:pt x="484" y="717"/>
                </a:lnTo>
                <a:lnTo>
                  <a:pt x="485" y="714"/>
                </a:lnTo>
                <a:lnTo>
                  <a:pt x="487" y="706"/>
                </a:lnTo>
                <a:lnTo>
                  <a:pt x="488" y="698"/>
                </a:lnTo>
                <a:lnTo>
                  <a:pt x="488" y="696"/>
                </a:lnTo>
                <a:lnTo>
                  <a:pt x="491" y="694"/>
                </a:lnTo>
                <a:lnTo>
                  <a:pt x="491" y="694"/>
                </a:lnTo>
                <a:lnTo>
                  <a:pt x="493" y="693"/>
                </a:lnTo>
                <a:lnTo>
                  <a:pt x="493" y="690"/>
                </a:lnTo>
                <a:lnTo>
                  <a:pt x="494" y="681"/>
                </a:lnTo>
                <a:lnTo>
                  <a:pt x="493" y="673"/>
                </a:lnTo>
                <a:lnTo>
                  <a:pt x="491" y="670"/>
                </a:lnTo>
                <a:lnTo>
                  <a:pt x="490" y="669"/>
                </a:lnTo>
                <a:lnTo>
                  <a:pt x="490" y="669"/>
                </a:lnTo>
                <a:lnTo>
                  <a:pt x="487" y="667"/>
                </a:lnTo>
                <a:lnTo>
                  <a:pt x="487" y="664"/>
                </a:lnTo>
                <a:lnTo>
                  <a:pt x="491" y="661"/>
                </a:lnTo>
                <a:lnTo>
                  <a:pt x="497" y="661"/>
                </a:lnTo>
                <a:lnTo>
                  <a:pt x="497" y="661"/>
                </a:lnTo>
                <a:lnTo>
                  <a:pt x="501" y="661"/>
                </a:lnTo>
                <a:lnTo>
                  <a:pt x="503" y="660"/>
                </a:lnTo>
                <a:lnTo>
                  <a:pt x="505" y="656"/>
                </a:lnTo>
                <a:lnTo>
                  <a:pt x="507" y="653"/>
                </a:lnTo>
                <a:lnTo>
                  <a:pt x="508" y="652"/>
                </a:lnTo>
                <a:lnTo>
                  <a:pt x="510" y="650"/>
                </a:lnTo>
                <a:lnTo>
                  <a:pt x="510" y="650"/>
                </a:lnTo>
                <a:lnTo>
                  <a:pt x="511" y="649"/>
                </a:lnTo>
                <a:lnTo>
                  <a:pt x="513" y="647"/>
                </a:lnTo>
                <a:lnTo>
                  <a:pt x="514" y="643"/>
                </a:lnTo>
                <a:lnTo>
                  <a:pt x="514" y="640"/>
                </a:lnTo>
                <a:lnTo>
                  <a:pt x="517" y="637"/>
                </a:lnTo>
                <a:lnTo>
                  <a:pt x="517" y="637"/>
                </a:lnTo>
                <a:lnTo>
                  <a:pt x="518" y="636"/>
                </a:lnTo>
                <a:lnTo>
                  <a:pt x="518" y="633"/>
                </a:lnTo>
                <a:lnTo>
                  <a:pt x="518" y="630"/>
                </a:lnTo>
                <a:lnTo>
                  <a:pt x="517" y="626"/>
                </a:lnTo>
                <a:lnTo>
                  <a:pt x="517" y="626"/>
                </a:lnTo>
                <a:lnTo>
                  <a:pt x="515" y="623"/>
                </a:lnTo>
                <a:lnTo>
                  <a:pt x="517" y="622"/>
                </a:lnTo>
                <a:lnTo>
                  <a:pt x="520" y="620"/>
                </a:lnTo>
                <a:lnTo>
                  <a:pt x="522" y="619"/>
                </a:lnTo>
                <a:lnTo>
                  <a:pt x="522" y="619"/>
                </a:lnTo>
                <a:lnTo>
                  <a:pt x="525" y="617"/>
                </a:lnTo>
                <a:lnTo>
                  <a:pt x="527" y="613"/>
                </a:lnTo>
                <a:lnTo>
                  <a:pt x="524" y="610"/>
                </a:lnTo>
                <a:lnTo>
                  <a:pt x="520" y="607"/>
                </a:lnTo>
                <a:lnTo>
                  <a:pt x="520" y="607"/>
                </a:lnTo>
                <a:lnTo>
                  <a:pt x="515" y="605"/>
                </a:lnTo>
                <a:lnTo>
                  <a:pt x="515" y="600"/>
                </a:lnTo>
                <a:lnTo>
                  <a:pt x="515" y="599"/>
                </a:lnTo>
                <a:lnTo>
                  <a:pt x="517" y="599"/>
                </a:lnTo>
                <a:lnTo>
                  <a:pt x="520" y="599"/>
                </a:lnTo>
                <a:lnTo>
                  <a:pt x="522" y="600"/>
                </a:lnTo>
                <a:lnTo>
                  <a:pt x="522" y="600"/>
                </a:lnTo>
                <a:lnTo>
                  <a:pt x="527" y="603"/>
                </a:lnTo>
                <a:lnTo>
                  <a:pt x="531" y="603"/>
                </a:lnTo>
                <a:lnTo>
                  <a:pt x="532" y="600"/>
                </a:lnTo>
                <a:lnTo>
                  <a:pt x="531" y="596"/>
                </a:lnTo>
                <a:lnTo>
                  <a:pt x="531" y="596"/>
                </a:lnTo>
                <a:lnTo>
                  <a:pt x="530" y="595"/>
                </a:lnTo>
                <a:lnTo>
                  <a:pt x="530" y="593"/>
                </a:lnTo>
                <a:lnTo>
                  <a:pt x="532" y="590"/>
                </a:lnTo>
                <a:lnTo>
                  <a:pt x="538" y="588"/>
                </a:lnTo>
                <a:lnTo>
                  <a:pt x="547" y="588"/>
                </a:lnTo>
                <a:lnTo>
                  <a:pt x="547" y="588"/>
                </a:lnTo>
                <a:lnTo>
                  <a:pt x="552" y="586"/>
                </a:lnTo>
                <a:lnTo>
                  <a:pt x="557" y="583"/>
                </a:lnTo>
                <a:lnTo>
                  <a:pt x="559" y="579"/>
                </a:lnTo>
                <a:lnTo>
                  <a:pt x="559" y="573"/>
                </a:lnTo>
                <a:lnTo>
                  <a:pt x="559" y="573"/>
                </a:lnTo>
                <a:lnTo>
                  <a:pt x="559" y="570"/>
                </a:lnTo>
                <a:lnTo>
                  <a:pt x="559" y="569"/>
                </a:lnTo>
                <a:lnTo>
                  <a:pt x="564" y="568"/>
                </a:lnTo>
                <a:lnTo>
                  <a:pt x="567" y="569"/>
                </a:lnTo>
                <a:lnTo>
                  <a:pt x="568" y="570"/>
                </a:lnTo>
                <a:lnTo>
                  <a:pt x="568" y="573"/>
                </a:lnTo>
                <a:lnTo>
                  <a:pt x="568" y="573"/>
                </a:lnTo>
                <a:lnTo>
                  <a:pt x="565" y="578"/>
                </a:lnTo>
                <a:lnTo>
                  <a:pt x="567" y="582"/>
                </a:lnTo>
                <a:lnTo>
                  <a:pt x="568" y="583"/>
                </a:lnTo>
                <a:lnTo>
                  <a:pt x="571" y="582"/>
                </a:lnTo>
                <a:lnTo>
                  <a:pt x="571" y="582"/>
                </a:lnTo>
                <a:lnTo>
                  <a:pt x="575" y="579"/>
                </a:lnTo>
                <a:lnTo>
                  <a:pt x="581" y="578"/>
                </a:lnTo>
                <a:lnTo>
                  <a:pt x="589" y="578"/>
                </a:lnTo>
                <a:lnTo>
                  <a:pt x="601" y="575"/>
                </a:lnTo>
                <a:lnTo>
                  <a:pt x="601" y="575"/>
                </a:lnTo>
                <a:lnTo>
                  <a:pt x="612" y="570"/>
                </a:lnTo>
                <a:lnTo>
                  <a:pt x="623" y="563"/>
                </a:lnTo>
                <a:lnTo>
                  <a:pt x="631" y="553"/>
                </a:lnTo>
                <a:lnTo>
                  <a:pt x="633" y="549"/>
                </a:lnTo>
                <a:lnTo>
                  <a:pt x="636" y="545"/>
                </a:lnTo>
                <a:lnTo>
                  <a:pt x="636" y="545"/>
                </a:lnTo>
                <a:lnTo>
                  <a:pt x="638" y="541"/>
                </a:lnTo>
                <a:lnTo>
                  <a:pt x="641" y="536"/>
                </a:lnTo>
                <a:lnTo>
                  <a:pt x="648" y="532"/>
                </a:lnTo>
                <a:lnTo>
                  <a:pt x="655" y="529"/>
                </a:lnTo>
                <a:lnTo>
                  <a:pt x="656" y="528"/>
                </a:lnTo>
                <a:lnTo>
                  <a:pt x="656" y="525"/>
                </a:lnTo>
                <a:lnTo>
                  <a:pt x="656" y="525"/>
                </a:lnTo>
                <a:lnTo>
                  <a:pt x="656" y="519"/>
                </a:lnTo>
                <a:lnTo>
                  <a:pt x="656" y="518"/>
                </a:lnTo>
                <a:lnTo>
                  <a:pt x="658" y="516"/>
                </a:lnTo>
                <a:lnTo>
                  <a:pt x="663" y="515"/>
                </a:lnTo>
                <a:lnTo>
                  <a:pt x="672" y="518"/>
                </a:lnTo>
                <a:lnTo>
                  <a:pt x="672" y="518"/>
                </a:lnTo>
                <a:lnTo>
                  <a:pt x="676" y="521"/>
                </a:lnTo>
                <a:lnTo>
                  <a:pt x="678" y="519"/>
                </a:lnTo>
                <a:lnTo>
                  <a:pt x="679" y="518"/>
                </a:lnTo>
                <a:lnTo>
                  <a:pt x="680" y="516"/>
                </a:lnTo>
                <a:lnTo>
                  <a:pt x="683" y="515"/>
                </a:lnTo>
                <a:lnTo>
                  <a:pt x="687" y="515"/>
                </a:lnTo>
                <a:lnTo>
                  <a:pt x="687" y="515"/>
                </a:lnTo>
                <a:lnTo>
                  <a:pt x="695" y="514"/>
                </a:lnTo>
                <a:lnTo>
                  <a:pt x="699" y="512"/>
                </a:lnTo>
                <a:lnTo>
                  <a:pt x="703" y="511"/>
                </a:lnTo>
                <a:lnTo>
                  <a:pt x="710" y="509"/>
                </a:lnTo>
                <a:lnTo>
                  <a:pt x="710" y="509"/>
                </a:lnTo>
                <a:lnTo>
                  <a:pt x="723" y="508"/>
                </a:lnTo>
                <a:lnTo>
                  <a:pt x="740" y="505"/>
                </a:lnTo>
                <a:lnTo>
                  <a:pt x="756" y="499"/>
                </a:lnTo>
                <a:lnTo>
                  <a:pt x="763" y="496"/>
                </a:lnTo>
                <a:lnTo>
                  <a:pt x="769" y="494"/>
                </a:lnTo>
                <a:lnTo>
                  <a:pt x="769" y="494"/>
                </a:lnTo>
                <a:lnTo>
                  <a:pt x="779" y="487"/>
                </a:lnTo>
                <a:lnTo>
                  <a:pt x="791" y="481"/>
                </a:lnTo>
                <a:lnTo>
                  <a:pt x="804" y="475"/>
                </a:lnTo>
                <a:lnTo>
                  <a:pt x="814" y="469"/>
                </a:lnTo>
                <a:lnTo>
                  <a:pt x="814" y="469"/>
                </a:lnTo>
                <a:lnTo>
                  <a:pt x="820" y="465"/>
                </a:lnTo>
                <a:lnTo>
                  <a:pt x="823" y="462"/>
                </a:lnTo>
                <a:lnTo>
                  <a:pt x="823" y="461"/>
                </a:lnTo>
                <a:lnTo>
                  <a:pt x="820" y="462"/>
                </a:lnTo>
                <a:lnTo>
                  <a:pt x="820" y="462"/>
                </a:lnTo>
                <a:lnTo>
                  <a:pt x="814" y="464"/>
                </a:lnTo>
                <a:lnTo>
                  <a:pt x="807" y="465"/>
                </a:lnTo>
                <a:lnTo>
                  <a:pt x="798" y="464"/>
                </a:lnTo>
                <a:lnTo>
                  <a:pt x="791" y="464"/>
                </a:lnTo>
                <a:lnTo>
                  <a:pt x="791" y="464"/>
                </a:lnTo>
                <a:lnTo>
                  <a:pt x="774" y="458"/>
                </a:lnTo>
                <a:lnTo>
                  <a:pt x="764" y="457"/>
                </a:lnTo>
                <a:lnTo>
                  <a:pt x="760" y="457"/>
                </a:lnTo>
                <a:lnTo>
                  <a:pt x="756" y="459"/>
                </a:lnTo>
                <a:lnTo>
                  <a:pt x="756" y="459"/>
                </a:lnTo>
                <a:lnTo>
                  <a:pt x="753" y="461"/>
                </a:lnTo>
                <a:lnTo>
                  <a:pt x="750" y="459"/>
                </a:lnTo>
                <a:lnTo>
                  <a:pt x="750" y="458"/>
                </a:lnTo>
                <a:lnTo>
                  <a:pt x="750" y="457"/>
                </a:lnTo>
                <a:lnTo>
                  <a:pt x="754" y="451"/>
                </a:lnTo>
                <a:lnTo>
                  <a:pt x="757" y="450"/>
                </a:lnTo>
                <a:lnTo>
                  <a:pt x="760" y="448"/>
                </a:lnTo>
                <a:lnTo>
                  <a:pt x="760" y="448"/>
                </a:lnTo>
                <a:lnTo>
                  <a:pt x="764" y="447"/>
                </a:lnTo>
                <a:lnTo>
                  <a:pt x="766" y="444"/>
                </a:lnTo>
                <a:lnTo>
                  <a:pt x="763" y="434"/>
                </a:lnTo>
                <a:lnTo>
                  <a:pt x="763" y="434"/>
                </a:lnTo>
                <a:lnTo>
                  <a:pt x="763" y="431"/>
                </a:lnTo>
                <a:lnTo>
                  <a:pt x="764" y="430"/>
                </a:lnTo>
                <a:lnTo>
                  <a:pt x="767" y="428"/>
                </a:lnTo>
                <a:lnTo>
                  <a:pt x="771" y="430"/>
                </a:lnTo>
                <a:lnTo>
                  <a:pt x="779" y="434"/>
                </a:lnTo>
                <a:lnTo>
                  <a:pt x="783" y="437"/>
                </a:lnTo>
                <a:lnTo>
                  <a:pt x="786" y="441"/>
                </a:lnTo>
                <a:lnTo>
                  <a:pt x="786" y="441"/>
                </a:lnTo>
                <a:lnTo>
                  <a:pt x="793" y="448"/>
                </a:lnTo>
                <a:lnTo>
                  <a:pt x="801" y="452"/>
                </a:lnTo>
                <a:lnTo>
                  <a:pt x="811" y="454"/>
                </a:lnTo>
                <a:lnTo>
                  <a:pt x="821" y="452"/>
                </a:lnTo>
                <a:lnTo>
                  <a:pt x="821" y="452"/>
                </a:lnTo>
                <a:lnTo>
                  <a:pt x="824" y="451"/>
                </a:lnTo>
                <a:lnTo>
                  <a:pt x="827" y="448"/>
                </a:lnTo>
                <a:lnTo>
                  <a:pt x="827" y="447"/>
                </a:lnTo>
                <a:lnTo>
                  <a:pt x="827" y="444"/>
                </a:lnTo>
                <a:lnTo>
                  <a:pt x="825" y="437"/>
                </a:lnTo>
                <a:lnTo>
                  <a:pt x="825" y="434"/>
                </a:lnTo>
                <a:lnTo>
                  <a:pt x="827" y="431"/>
                </a:lnTo>
                <a:lnTo>
                  <a:pt x="827" y="431"/>
                </a:lnTo>
                <a:lnTo>
                  <a:pt x="827" y="430"/>
                </a:lnTo>
                <a:lnTo>
                  <a:pt x="827" y="428"/>
                </a:lnTo>
                <a:lnTo>
                  <a:pt x="823" y="424"/>
                </a:lnTo>
                <a:lnTo>
                  <a:pt x="808" y="413"/>
                </a:lnTo>
                <a:lnTo>
                  <a:pt x="793" y="403"/>
                </a:lnTo>
                <a:lnTo>
                  <a:pt x="787" y="398"/>
                </a:lnTo>
                <a:lnTo>
                  <a:pt x="786" y="394"/>
                </a:lnTo>
                <a:lnTo>
                  <a:pt x="786" y="394"/>
                </a:lnTo>
                <a:lnTo>
                  <a:pt x="784" y="393"/>
                </a:lnTo>
                <a:lnTo>
                  <a:pt x="786" y="391"/>
                </a:lnTo>
                <a:lnTo>
                  <a:pt x="791" y="391"/>
                </a:lnTo>
                <a:lnTo>
                  <a:pt x="800" y="394"/>
                </a:lnTo>
                <a:lnTo>
                  <a:pt x="808" y="397"/>
                </a:lnTo>
                <a:lnTo>
                  <a:pt x="808" y="397"/>
                </a:lnTo>
                <a:lnTo>
                  <a:pt x="813" y="398"/>
                </a:lnTo>
                <a:lnTo>
                  <a:pt x="817" y="398"/>
                </a:lnTo>
                <a:lnTo>
                  <a:pt x="818" y="395"/>
                </a:lnTo>
                <a:lnTo>
                  <a:pt x="821" y="394"/>
                </a:lnTo>
                <a:lnTo>
                  <a:pt x="823" y="387"/>
                </a:lnTo>
                <a:lnTo>
                  <a:pt x="824" y="381"/>
                </a:lnTo>
                <a:lnTo>
                  <a:pt x="824" y="381"/>
                </a:lnTo>
                <a:lnTo>
                  <a:pt x="823" y="378"/>
                </a:lnTo>
                <a:lnTo>
                  <a:pt x="820" y="377"/>
                </a:lnTo>
                <a:lnTo>
                  <a:pt x="808" y="376"/>
                </a:lnTo>
                <a:lnTo>
                  <a:pt x="797" y="377"/>
                </a:lnTo>
                <a:lnTo>
                  <a:pt x="790" y="378"/>
                </a:lnTo>
                <a:lnTo>
                  <a:pt x="786" y="380"/>
                </a:lnTo>
                <a:lnTo>
                  <a:pt x="786" y="380"/>
                </a:lnTo>
                <a:lnTo>
                  <a:pt x="781" y="381"/>
                </a:lnTo>
                <a:lnTo>
                  <a:pt x="777" y="381"/>
                </a:lnTo>
                <a:lnTo>
                  <a:pt x="774" y="380"/>
                </a:lnTo>
                <a:lnTo>
                  <a:pt x="771" y="378"/>
                </a:lnTo>
                <a:lnTo>
                  <a:pt x="770" y="376"/>
                </a:lnTo>
                <a:lnTo>
                  <a:pt x="771" y="373"/>
                </a:lnTo>
                <a:lnTo>
                  <a:pt x="773" y="371"/>
                </a:lnTo>
                <a:lnTo>
                  <a:pt x="779" y="370"/>
                </a:lnTo>
                <a:lnTo>
                  <a:pt x="779" y="370"/>
                </a:lnTo>
                <a:lnTo>
                  <a:pt x="783" y="368"/>
                </a:lnTo>
                <a:lnTo>
                  <a:pt x="786" y="367"/>
                </a:lnTo>
                <a:lnTo>
                  <a:pt x="786" y="366"/>
                </a:lnTo>
                <a:lnTo>
                  <a:pt x="786" y="364"/>
                </a:lnTo>
                <a:lnTo>
                  <a:pt x="784" y="360"/>
                </a:lnTo>
                <a:lnTo>
                  <a:pt x="784" y="358"/>
                </a:lnTo>
                <a:lnTo>
                  <a:pt x="784" y="357"/>
                </a:lnTo>
                <a:lnTo>
                  <a:pt x="784" y="357"/>
                </a:lnTo>
                <a:lnTo>
                  <a:pt x="787" y="356"/>
                </a:lnTo>
                <a:lnTo>
                  <a:pt x="790" y="357"/>
                </a:lnTo>
                <a:lnTo>
                  <a:pt x="800" y="361"/>
                </a:lnTo>
                <a:lnTo>
                  <a:pt x="811" y="366"/>
                </a:lnTo>
                <a:lnTo>
                  <a:pt x="816" y="367"/>
                </a:lnTo>
                <a:lnTo>
                  <a:pt x="820" y="367"/>
                </a:lnTo>
                <a:lnTo>
                  <a:pt x="820" y="367"/>
                </a:lnTo>
                <a:lnTo>
                  <a:pt x="827" y="366"/>
                </a:lnTo>
                <a:lnTo>
                  <a:pt x="834" y="366"/>
                </a:lnTo>
                <a:lnTo>
                  <a:pt x="841" y="364"/>
                </a:lnTo>
                <a:lnTo>
                  <a:pt x="847" y="360"/>
                </a:lnTo>
                <a:lnTo>
                  <a:pt x="847" y="360"/>
                </a:lnTo>
                <a:lnTo>
                  <a:pt x="850" y="357"/>
                </a:lnTo>
                <a:lnTo>
                  <a:pt x="848" y="356"/>
                </a:lnTo>
                <a:lnTo>
                  <a:pt x="845" y="353"/>
                </a:lnTo>
                <a:lnTo>
                  <a:pt x="841" y="350"/>
                </a:lnTo>
                <a:lnTo>
                  <a:pt x="833" y="346"/>
                </a:lnTo>
                <a:lnTo>
                  <a:pt x="825" y="340"/>
                </a:lnTo>
                <a:lnTo>
                  <a:pt x="825" y="340"/>
                </a:lnTo>
                <a:lnTo>
                  <a:pt x="825" y="339"/>
                </a:lnTo>
                <a:lnTo>
                  <a:pt x="828" y="337"/>
                </a:lnTo>
                <a:lnTo>
                  <a:pt x="838" y="336"/>
                </a:lnTo>
                <a:lnTo>
                  <a:pt x="861" y="337"/>
                </a:lnTo>
                <a:lnTo>
                  <a:pt x="861" y="337"/>
                </a:lnTo>
                <a:lnTo>
                  <a:pt x="864" y="337"/>
                </a:lnTo>
                <a:lnTo>
                  <a:pt x="867" y="336"/>
                </a:lnTo>
                <a:lnTo>
                  <a:pt x="870" y="330"/>
                </a:lnTo>
                <a:lnTo>
                  <a:pt x="870" y="329"/>
                </a:lnTo>
                <a:lnTo>
                  <a:pt x="870" y="327"/>
                </a:lnTo>
                <a:lnTo>
                  <a:pt x="868" y="326"/>
                </a:lnTo>
                <a:lnTo>
                  <a:pt x="865" y="326"/>
                </a:lnTo>
                <a:lnTo>
                  <a:pt x="865" y="326"/>
                </a:lnTo>
                <a:lnTo>
                  <a:pt x="862" y="327"/>
                </a:lnTo>
                <a:lnTo>
                  <a:pt x="857" y="326"/>
                </a:lnTo>
                <a:lnTo>
                  <a:pt x="847" y="322"/>
                </a:lnTo>
                <a:lnTo>
                  <a:pt x="841" y="319"/>
                </a:lnTo>
                <a:lnTo>
                  <a:pt x="838" y="314"/>
                </a:lnTo>
                <a:lnTo>
                  <a:pt x="835" y="312"/>
                </a:lnTo>
                <a:lnTo>
                  <a:pt x="837" y="309"/>
                </a:lnTo>
                <a:lnTo>
                  <a:pt x="837" y="309"/>
                </a:lnTo>
                <a:lnTo>
                  <a:pt x="838" y="306"/>
                </a:lnTo>
                <a:lnTo>
                  <a:pt x="841" y="304"/>
                </a:lnTo>
                <a:lnTo>
                  <a:pt x="848" y="304"/>
                </a:lnTo>
                <a:lnTo>
                  <a:pt x="855" y="306"/>
                </a:lnTo>
                <a:lnTo>
                  <a:pt x="860" y="304"/>
                </a:lnTo>
                <a:lnTo>
                  <a:pt x="865" y="303"/>
                </a:lnTo>
                <a:lnTo>
                  <a:pt x="865" y="303"/>
                </a:lnTo>
                <a:lnTo>
                  <a:pt x="868" y="300"/>
                </a:lnTo>
                <a:lnTo>
                  <a:pt x="870" y="296"/>
                </a:lnTo>
                <a:lnTo>
                  <a:pt x="870" y="292"/>
                </a:lnTo>
                <a:lnTo>
                  <a:pt x="868" y="286"/>
                </a:lnTo>
                <a:lnTo>
                  <a:pt x="867" y="282"/>
                </a:lnTo>
                <a:lnTo>
                  <a:pt x="864" y="277"/>
                </a:lnTo>
                <a:lnTo>
                  <a:pt x="860" y="275"/>
                </a:lnTo>
                <a:lnTo>
                  <a:pt x="857" y="275"/>
                </a:lnTo>
                <a:lnTo>
                  <a:pt x="857" y="275"/>
                </a:lnTo>
                <a:lnTo>
                  <a:pt x="840" y="272"/>
                </a:lnTo>
                <a:lnTo>
                  <a:pt x="831" y="270"/>
                </a:lnTo>
                <a:lnTo>
                  <a:pt x="830" y="269"/>
                </a:lnTo>
                <a:lnTo>
                  <a:pt x="828" y="267"/>
                </a:lnTo>
                <a:lnTo>
                  <a:pt x="828" y="267"/>
                </a:lnTo>
                <a:lnTo>
                  <a:pt x="828" y="265"/>
                </a:lnTo>
                <a:lnTo>
                  <a:pt x="825" y="263"/>
                </a:lnTo>
                <a:lnTo>
                  <a:pt x="821" y="260"/>
                </a:lnTo>
                <a:lnTo>
                  <a:pt x="817" y="257"/>
                </a:lnTo>
                <a:lnTo>
                  <a:pt x="816" y="256"/>
                </a:lnTo>
                <a:lnTo>
                  <a:pt x="817" y="255"/>
                </a:lnTo>
                <a:lnTo>
                  <a:pt x="817" y="255"/>
                </a:lnTo>
                <a:lnTo>
                  <a:pt x="818" y="253"/>
                </a:lnTo>
                <a:lnTo>
                  <a:pt x="821" y="253"/>
                </a:lnTo>
                <a:lnTo>
                  <a:pt x="825" y="255"/>
                </a:lnTo>
                <a:lnTo>
                  <a:pt x="831" y="255"/>
                </a:lnTo>
                <a:lnTo>
                  <a:pt x="834" y="255"/>
                </a:lnTo>
                <a:lnTo>
                  <a:pt x="838" y="252"/>
                </a:lnTo>
                <a:lnTo>
                  <a:pt x="838" y="252"/>
                </a:lnTo>
                <a:lnTo>
                  <a:pt x="843" y="249"/>
                </a:lnTo>
                <a:lnTo>
                  <a:pt x="848" y="249"/>
                </a:lnTo>
                <a:lnTo>
                  <a:pt x="861" y="249"/>
                </a:lnTo>
                <a:lnTo>
                  <a:pt x="872" y="252"/>
                </a:lnTo>
                <a:lnTo>
                  <a:pt x="882" y="252"/>
                </a:lnTo>
                <a:lnTo>
                  <a:pt x="882" y="252"/>
                </a:lnTo>
                <a:lnTo>
                  <a:pt x="885" y="250"/>
                </a:lnTo>
                <a:lnTo>
                  <a:pt x="885" y="248"/>
                </a:lnTo>
                <a:lnTo>
                  <a:pt x="885" y="245"/>
                </a:lnTo>
                <a:lnTo>
                  <a:pt x="882" y="242"/>
                </a:lnTo>
                <a:lnTo>
                  <a:pt x="878" y="236"/>
                </a:lnTo>
                <a:lnTo>
                  <a:pt x="875" y="235"/>
                </a:lnTo>
                <a:lnTo>
                  <a:pt x="872" y="235"/>
                </a:lnTo>
                <a:lnTo>
                  <a:pt x="872" y="235"/>
                </a:lnTo>
                <a:lnTo>
                  <a:pt x="865" y="236"/>
                </a:lnTo>
                <a:lnTo>
                  <a:pt x="857" y="236"/>
                </a:lnTo>
                <a:lnTo>
                  <a:pt x="853" y="236"/>
                </a:lnTo>
                <a:lnTo>
                  <a:pt x="850" y="235"/>
                </a:lnTo>
                <a:lnTo>
                  <a:pt x="847" y="232"/>
                </a:lnTo>
                <a:lnTo>
                  <a:pt x="845" y="229"/>
                </a:lnTo>
                <a:lnTo>
                  <a:pt x="845" y="229"/>
                </a:lnTo>
                <a:lnTo>
                  <a:pt x="845" y="226"/>
                </a:lnTo>
                <a:lnTo>
                  <a:pt x="848" y="225"/>
                </a:lnTo>
                <a:lnTo>
                  <a:pt x="855" y="225"/>
                </a:lnTo>
                <a:lnTo>
                  <a:pt x="862" y="226"/>
                </a:lnTo>
                <a:lnTo>
                  <a:pt x="865" y="225"/>
                </a:lnTo>
                <a:lnTo>
                  <a:pt x="868" y="225"/>
                </a:lnTo>
                <a:lnTo>
                  <a:pt x="868" y="225"/>
                </a:lnTo>
                <a:lnTo>
                  <a:pt x="867" y="222"/>
                </a:lnTo>
                <a:lnTo>
                  <a:pt x="864" y="219"/>
                </a:lnTo>
                <a:lnTo>
                  <a:pt x="854" y="215"/>
                </a:lnTo>
                <a:lnTo>
                  <a:pt x="848" y="213"/>
                </a:lnTo>
                <a:lnTo>
                  <a:pt x="843" y="213"/>
                </a:lnTo>
                <a:lnTo>
                  <a:pt x="838" y="215"/>
                </a:lnTo>
                <a:lnTo>
                  <a:pt x="835" y="218"/>
                </a:lnTo>
                <a:lnTo>
                  <a:pt x="835" y="218"/>
                </a:lnTo>
                <a:lnTo>
                  <a:pt x="833" y="220"/>
                </a:lnTo>
                <a:lnTo>
                  <a:pt x="830" y="222"/>
                </a:lnTo>
                <a:lnTo>
                  <a:pt x="827" y="223"/>
                </a:lnTo>
                <a:lnTo>
                  <a:pt x="824" y="223"/>
                </a:lnTo>
                <a:lnTo>
                  <a:pt x="821" y="223"/>
                </a:lnTo>
                <a:lnTo>
                  <a:pt x="820" y="222"/>
                </a:lnTo>
                <a:lnTo>
                  <a:pt x="820" y="220"/>
                </a:lnTo>
                <a:lnTo>
                  <a:pt x="823" y="218"/>
                </a:lnTo>
                <a:lnTo>
                  <a:pt x="823" y="218"/>
                </a:lnTo>
                <a:lnTo>
                  <a:pt x="825" y="215"/>
                </a:lnTo>
                <a:lnTo>
                  <a:pt x="828" y="212"/>
                </a:lnTo>
                <a:lnTo>
                  <a:pt x="831" y="203"/>
                </a:lnTo>
                <a:lnTo>
                  <a:pt x="833" y="195"/>
                </a:lnTo>
                <a:lnTo>
                  <a:pt x="833" y="188"/>
                </a:lnTo>
                <a:lnTo>
                  <a:pt x="833" y="188"/>
                </a:lnTo>
                <a:lnTo>
                  <a:pt x="834" y="185"/>
                </a:lnTo>
                <a:lnTo>
                  <a:pt x="837" y="184"/>
                </a:lnTo>
                <a:lnTo>
                  <a:pt x="848" y="179"/>
                </a:lnTo>
                <a:lnTo>
                  <a:pt x="854" y="176"/>
                </a:lnTo>
                <a:lnTo>
                  <a:pt x="858" y="174"/>
                </a:lnTo>
                <a:lnTo>
                  <a:pt x="861" y="171"/>
                </a:lnTo>
                <a:lnTo>
                  <a:pt x="861" y="166"/>
                </a:lnTo>
                <a:lnTo>
                  <a:pt x="861" y="166"/>
                </a:lnTo>
                <a:lnTo>
                  <a:pt x="861" y="162"/>
                </a:lnTo>
                <a:lnTo>
                  <a:pt x="862" y="158"/>
                </a:lnTo>
                <a:lnTo>
                  <a:pt x="865" y="155"/>
                </a:lnTo>
                <a:lnTo>
                  <a:pt x="868" y="154"/>
                </a:lnTo>
                <a:lnTo>
                  <a:pt x="878" y="151"/>
                </a:lnTo>
                <a:lnTo>
                  <a:pt x="888" y="151"/>
                </a:lnTo>
                <a:lnTo>
                  <a:pt x="888" y="151"/>
                </a:lnTo>
                <a:lnTo>
                  <a:pt x="891" y="149"/>
                </a:lnTo>
                <a:lnTo>
                  <a:pt x="892" y="148"/>
                </a:lnTo>
                <a:lnTo>
                  <a:pt x="891" y="145"/>
                </a:lnTo>
                <a:lnTo>
                  <a:pt x="889" y="144"/>
                </a:lnTo>
                <a:lnTo>
                  <a:pt x="884" y="139"/>
                </a:lnTo>
                <a:lnTo>
                  <a:pt x="881" y="138"/>
                </a:lnTo>
                <a:lnTo>
                  <a:pt x="877" y="138"/>
                </a:lnTo>
                <a:lnTo>
                  <a:pt x="877" y="138"/>
                </a:lnTo>
                <a:lnTo>
                  <a:pt x="868" y="139"/>
                </a:lnTo>
                <a:lnTo>
                  <a:pt x="861" y="144"/>
                </a:lnTo>
                <a:lnTo>
                  <a:pt x="855" y="147"/>
                </a:lnTo>
                <a:lnTo>
                  <a:pt x="853" y="147"/>
                </a:lnTo>
                <a:lnTo>
                  <a:pt x="850" y="147"/>
                </a:lnTo>
                <a:lnTo>
                  <a:pt x="850" y="147"/>
                </a:lnTo>
                <a:lnTo>
                  <a:pt x="850" y="144"/>
                </a:lnTo>
                <a:lnTo>
                  <a:pt x="850" y="142"/>
                </a:lnTo>
                <a:lnTo>
                  <a:pt x="855" y="138"/>
                </a:lnTo>
                <a:lnTo>
                  <a:pt x="864" y="134"/>
                </a:lnTo>
                <a:lnTo>
                  <a:pt x="872" y="132"/>
                </a:lnTo>
                <a:lnTo>
                  <a:pt x="872" y="132"/>
                </a:lnTo>
                <a:lnTo>
                  <a:pt x="892" y="132"/>
                </a:lnTo>
                <a:lnTo>
                  <a:pt x="904" y="129"/>
                </a:lnTo>
                <a:lnTo>
                  <a:pt x="912" y="127"/>
                </a:lnTo>
                <a:lnTo>
                  <a:pt x="912" y="127"/>
                </a:lnTo>
                <a:lnTo>
                  <a:pt x="914" y="125"/>
                </a:lnTo>
                <a:lnTo>
                  <a:pt x="914" y="124"/>
                </a:lnTo>
                <a:lnTo>
                  <a:pt x="907" y="121"/>
                </a:lnTo>
                <a:lnTo>
                  <a:pt x="895" y="119"/>
                </a:lnTo>
                <a:lnTo>
                  <a:pt x="882" y="119"/>
                </a:lnTo>
                <a:lnTo>
                  <a:pt x="882" y="119"/>
                </a:lnTo>
                <a:lnTo>
                  <a:pt x="874" y="119"/>
                </a:lnTo>
                <a:lnTo>
                  <a:pt x="872" y="119"/>
                </a:lnTo>
                <a:lnTo>
                  <a:pt x="872" y="118"/>
                </a:lnTo>
                <a:lnTo>
                  <a:pt x="874" y="117"/>
                </a:lnTo>
                <a:lnTo>
                  <a:pt x="877" y="115"/>
                </a:lnTo>
                <a:lnTo>
                  <a:pt x="891" y="115"/>
                </a:lnTo>
                <a:lnTo>
                  <a:pt x="891" y="115"/>
                </a:lnTo>
                <a:lnTo>
                  <a:pt x="904" y="114"/>
                </a:lnTo>
                <a:lnTo>
                  <a:pt x="911" y="111"/>
                </a:lnTo>
                <a:lnTo>
                  <a:pt x="917" y="110"/>
                </a:lnTo>
                <a:lnTo>
                  <a:pt x="925" y="108"/>
                </a:lnTo>
                <a:lnTo>
                  <a:pt x="925" y="108"/>
                </a:lnTo>
                <a:lnTo>
                  <a:pt x="934" y="105"/>
                </a:lnTo>
                <a:lnTo>
                  <a:pt x="938" y="102"/>
                </a:lnTo>
                <a:lnTo>
                  <a:pt x="941" y="100"/>
                </a:lnTo>
                <a:lnTo>
                  <a:pt x="946" y="98"/>
                </a:lnTo>
                <a:lnTo>
                  <a:pt x="946" y="98"/>
                </a:lnTo>
                <a:lnTo>
                  <a:pt x="956" y="97"/>
                </a:lnTo>
                <a:lnTo>
                  <a:pt x="968" y="92"/>
                </a:lnTo>
                <a:lnTo>
                  <a:pt x="978" y="87"/>
                </a:lnTo>
                <a:lnTo>
                  <a:pt x="981" y="84"/>
                </a:lnTo>
                <a:lnTo>
                  <a:pt x="982" y="83"/>
                </a:lnTo>
                <a:lnTo>
                  <a:pt x="982" y="83"/>
                </a:lnTo>
                <a:lnTo>
                  <a:pt x="981" y="80"/>
                </a:lnTo>
                <a:lnTo>
                  <a:pt x="976" y="77"/>
                </a:lnTo>
                <a:lnTo>
                  <a:pt x="961" y="73"/>
                </a:lnTo>
                <a:lnTo>
                  <a:pt x="944" y="68"/>
                </a:lnTo>
                <a:lnTo>
                  <a:pt x="928" y="67"/>
                </a:lnTo>
                <a:lnTo>
                  <a:pt x="928" y="67"/>
                </a:lnTo>
                <a:close/>
                <a:moveTo>
                  <a:pt x="336" y="479"/>
                </a:moveTo>
                <a:lnTo>
                  <a:pt x="336" y="479"/>
                </a:lnTo>
                <a:lnTo>
                  <a:pt x="336" y="477"/>
                </a:lnTo>
                <a:lnTo>
                  <a:pt x="335" y="475"/>
                </a:lnTo>
                <a:lnTo>
                  <a:pt x="332" y="474"/>
                </a:lnTo>
                <a:lnTo>
                  <a:pt x="328" y="472"/>
                </a:lnTo>
                <a:lnTo>
                  <a:pt x="326" y="471"/>
                </a:lnTo>
                <a:lnTo>
                  <a:pt x="323" y="468"/>
                </a:lnTo>
                <a:lnTo>
                  <a:pt x="323" y="468"/>
                </a:lnTo>
                <a:lnTo>
                  <a:pt x="320" y="464"/>
                </a:lnTo>
                <a:lnTo>
                  <a:pt x="318" y="462"/>
                </a:lnTo>
                <a:lnTo>
                  <a:pt x="308" y="458"/>
                </a:lnTo>
                <a:lnTo>
                  <a:pt x="298" y="458"/>
                </a:lnTo>
                <a:lnTo>
                  <a:pt x="293" y="459"/>
                </a:lnTo>
                <a:lnTo>
                  <a:pt x="292" y="462"/>
                </a:lnTo>
                <a:lnTo>
                  <a:pt x="292" y="462"/>
                </a:lnTo>
                <a:lnTo>
                  <a:pt x="288" y="467"/>
                </a:lnTo>
                <a:lnTo>
                  <a:pt x="288" y="471"/>
                </a:lnTo>
                <a:lnTo>
                  <a:pt x="288" y="474"/>
                </a:lnTo>
                <a:lnTo>
                  <a:pt x="291" y="475"/>
                </a:lnTo>
                <a:lnTo>
                  <a:pt x="291" y="475"/>
                </a:lnTo>
                <a:lnTo>
                  <a:pt x="295" y="479"/>
                </a:lnTo>
                <a:lnTo>
                  <a:pt x="298" y="481"/>
                </a:lnTo>
                <a:lnTo>
                  <a:pt x="302" y="482"/>
                </a:lnTo>
                <a:lnTo>
                  <a:pt x="308" y="487"/>
                </a:lnTo>
                <a:lnTo>
                  <a:pt x="308" y="487"/>
                </a:lnTo>
                <a:lnTo>
                  <a:pt x="311" y="488"/>
                </a:lnTo>
                <a:lnTo>
                  <a:pt x="315" y="489"/>
                </a:lnTo>
                <a:lnTo>
                  <a:pt x="325" y="488"/>
                </a:lnTo>
                <a:lnTo>
                  <a:pt x="333" y="485"/>
                </a:lnTo>
                <a:lnTo>
                  <a:pt x="335" y="482"/>
                </a:lnTo>
                <a:lnTo>
                  <a:pt x="336" y="479"/>
                </a:lnTo>
                <a:lnTo>
                  <a:pt x="336" y="479"/>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24" name="Freeform 311">
            <a:extLst>
              <a:ext uri="{FF2B5EF4-FFF2-40B4-BE49-F238E27FC236}">
                <a16:creationId xmlns:a16="http://schemas.microsoft.com/office/drawing/2014/main" id="{71455F31-6AE7-D209-B668-961725C30D7B}"/>
              </a:ext>
            </a:extLst>
          </p:cNvPr>
          <p:cNvSpPr>
            <a:spLocks noEditPoints="1"/>
          </p:cNvSpPr>
          <p:nvPr userDrawn="1"/>
        </p:nvSpPr>
        <p:spPr bwMode="gray">
          <a:xfrm>
            <a:off x="1390955" y="977724"/>
            <a:ext cx="1853226" cy="1424058"/>
          </a:xfrm>
          <a:custGeom>
            <a:avLst/>
            <a:gdLst/>
            <a:ahLst/>
            <a:cxnLst>
              <a:cxn ang="0">
                <a:pos x="294" y="420"/>
              </a:cxn>
              <a:cxn ang="0">
                <a:pos x="249" y="381"/>
              </a:cxn>
              <a:cxn ang="0">
                <a:pos x="532" y="360"/>
              </a:cxn>
              <a:cxn ang="0">
                <a:pos x="364" y="377"/>
              </a:cxn>
              <a:cxn ang="0">
                <a:pos x="485" y="491"/>
              </a:cxn>
              <a:cxn ang="0">
                <a:pos x="313" y="265"/>
              </a:cxn>
              <a:cxn ang="0">
                <a:pos x="356" y="221"/>
              </a:cxn>
              <a:cxn ang="0">
                <a:pos x="461" y="299"/>
              </a:cxn>
              <a:cxn ang="0">
                <a:pos x="509" y="279"/>
              </a:cxn>
              <a:cxn ang="0">
                <a:pos x="502" y="199"/>
              </a:cxn>
              <a:cxn ang="0">
                <a:pos x="670" y="175"/>
              </a:cxn>
              <a:cxn ang="0">
                <a:pos x="593" y="280"/>
              </a:cxn>
              <a:cxn ang="0">
                <a:pos x="660" y="296"/>
              </a:cxn>
              <a:cxn ang="0">
                <a:pos x="764" y="307"/>
              </a:cxn>
              <a:cxn ang="0">
                <a:pos x="697" y="322"/>
              </a:cxn>
              <a:cxn ang="0">
                <a:pos x="898" y="312"/>
              </a:cxn>
              <a:cxn ang="0">
                <a:pos x="777" y="255"/>
              </a:cxn>
              <a:cxn ang="0">
                <a:pos x="858" y="172"/>
              </a:cxn>
              <a:cxn ang="0">
                <a:pos x="752" y="91"/>
              </a:cxn>
              <a:cxn ang="0">
                <a:pos x="927" y="98"/>
              </a:cxn>
              <a:cxn ang="0">
                <a:pos x="865" y="176"/>
              </a:cxn>
              <a:cxn ang="0">
                <a:pos x="952" y="246"/>
              </a:cxn>
              <a:cxn ang="0">
                <a:pos x="1065" y="145"/>
              </a:cxn>
              <a:cxn ang="0">
                <a:pos x="1198" y="17"/>
              </a:cxn>
              <a:cxn ang="0">
                <a:pos x="929" y="36"/>
              </a:cxn>
              <a:cxn ang="0">
                <a:pos x="952" y="643"/>
              </a:cxn>
              <a:cxn ang="0">
                <a:pos x="972" y="623"/>
              </a:cxn>
              <a:cxn ang="0">
                <a:pos x="1189" y="457"/>
              </a:cxn>
              <a:cxn ang="0">
                <a:pos x="1020" y="370"/>
              </a:cxn>
              <a:cxn ang="0">
                <a:pos x="882" y="357"/>
              </a:cxn>
              <a:cxn ang="0">
                <a:pos x="997" y="441"/>
              </a:cxn>
              <a:cxn ang="0">
                <a:pos x="1111" y="542"/>
              </a:cxn>
              <a:cxn ang="0">
                <a:pos x="1208" y="666"/>
              </a:cxn>
              <a:cxn ang="0">
                <a:pos x="1024" y="516"/>
              </a:cxn>
              <a:cxn ang="0">
                <a:pos x="1414" y="972"/>
              </a:cxn>
              <a:cxn ang="0">
                <a:pos x="1327" y="989"/>
              </a:cxn>
              <a:cxn ang="0">
                <a:pos x="1302" y="1004"/>
              </a:cxn>
              <a:cxn ang="0">
                <a:pos x="1149" y="977"/>
              </a:cxn>
              <a:cxn ang="0">
                <a:pos x="1311" y="862"/>
              </a:cxn>
              <a:cxn ang="0">
                <a:pos x="1260" y="747"/>
              </a:cxn>
              <a:cxn ang="0">
                <a:pos x="1152" y="716"/>
              </a:cxn>
              <a:cxn ang="0">
                <a:pos x="1017" y="687"/>
              </a:cxn>
              <a:cxn ang="0">
                <a:pos x="989" y="911"/>
              </a:cxn>
              <a:cxn ang="0">
                <a:pos x="775" y="751"/>
              </a:cxn>
              <a:cxn ang="0">
                <a:pos x="832" y="609"/>
              </a:cxn>
              <a:cxn ang="0">
                <a:pos x="944" y="541"/>
              </a:cxn>
              <a:cxn ang="0">
                <a:pos x="886" y="505"/>
              </a:cxn>
              <a:cxn ang="0">
                <a:pos x="819" y="467"/>
              </a:cxn>
              <a:cxn ang="0">
                <a:pos x="798" y="329"/>
              </a:cxn>
              <a:cxn ang="0">
                <a:pos x="755" y="475"/>
              </a:cxn>
              <a:cxn ang="0">
                <a:pos x="727" y="467"/>
              </a:cxn>
              <a:cxn ang="0">
                <a:pos x="582" y="495"/>
              </a:cxn>
              <a:cxn ang="0">
                <a:pos x="498" y="508"/>
              </a:cxn>
              <a:cxn ang="0">
                <a:pos x="232" y="454"/>
              </a:cxn>
              <a:cxn ang="0">
                <a:pos x="129" y="465"/>
              </a:cxn>
              <a:cxn ang="0">
                <a:pos x="75" y="730"/>
              </a:cxn>
              <a:cxn ang="0">
                <a:pos x="210" y="896"/>
              </a:cxn>
              <a:cxn ang="0">
                <a:pos x="851" y="960"/>
              </a:cxn>
              <a:cxn ang="0">
                <a:pos x="996" y="1085"/>
              </a:cxn>
              <a:cxn ang="0">
                <a:pos x="1235" y="1037"/>
              </a:cxn>
              <a:cxn ang="0">
                <a:pos x="299" y="588"/>
              </a:cxn>
              <a:cxn ang="0">
                <a:pos x="444" y="681"/>
              </a:cxn>
              <a:cxn ang="0">
                <a:pos x="686" y="855"/>
              </a:cxn>
            </a:cxnLst>
            <a:rect l="0" t="0" r="r" b="b"/>
            <a:pathLst>
              <a:path w="1425" h="1095">
                <a:moveTo>
                  <a:pt x="282" y="960"/>
                </a:moveTo>
                <a:lnTo>
                  <a:pt x="282" y="960"/>
                </a:lnTo>
                <a:lnTo>
                  <a:pt x="277" y="957"/>
                </a:lnTo>
                <a:lnTo>
                  <a:pt x="272" y="956"/>
                </a:lnTo>
                <a:lnTo>
                  <a:pt x="266" y="953"/>
                </a:lnTo>
                <a:lnTo>
                  <a:pt x="264" y="953"/>
                </a:lnTo>
                <a:lnTo>
                  <a:pt x="263" y="952"/>
                </a:lnTo>
                <a:lnTo>
                  <a:pt x="263" y="952"/>
                </a:lnTo>
                <a:lnTo>
                  <a:pt x="260" y="946"/>
                </a:lnTo>
                <a:lnTo>
                  <a:pt x="255" y="939"/>
                </a:lnTo>
                <a:lnTo>
                  <a:pt x="249" y="933"/>
                </a:lnTo>
                <a:lnTo>
                  <a:pt x="246" y="930"/>
                </a:lnTo>
                <a:lnTo>
                  <a:pt x="245" y="930"/>
                </a:lnTo>
                <a:lnTo>
                  <a:pt x="245" y="930"/>
                </a:lnTo>
                <a:lnTo>
                  <a:pt x="235" y="930"/>
                </a:lnTo>
                <a:lnTo>
                  <a:pt x="229" y="929"/>
                </a:lnTo>
                <a:lnTo>
                  <a:pt x="223" y="926"/>
                </a:lnTo>
                <a:lnTo>
                  <a:pt x="223" y="926"/>
                </a:lnTo>
                <a:lnTo>
                  <a:pt x="218" y="922"/>
                </a:lnTo>
                <a:lnTo>
                  <a:pt x="213" y="922"/>
                </a:lnTo>
                <a:lnTo>
                  <a:pt x="210" y="922"/>
                </a:lnTo>
                <a:lnTo>
                  <a:pt x="206" y="923"/>
                </a:lnTo>
                <a:lnTo>
                  <a:pt x="206" y="923"/>
                </a:lnTo>
                <a:lnTo>
                  <a:pt x="205" y="925"/>
                </a:lnTo>
                <a:lnTo>
                  <a:pt x="205" y="925"/>
                </a:lnTo>
                <a:lnTo>
                  <a:pt x="208" y="926"/>
                </a:lnTo>
                <a:lnTo>
                  <a:pt x="210" y="929"/>
                </a:lnTo>
                <a:lnTo>
                  <a:pt x="212" y="930"/>
                </a:lnTo>
                <a:lnTo>
                  <a:pt x="212" y="930"/>
                </a:lnTo>
                <a:lnTo>
                  <a:pt x="212" y="933"/>
                </a:lnTo>
                <a:lnTo>
                  <a:pt x="213" y="935"/>
                </a:lnTo>
                <a:lnTo>
                  <a:pt x="216" y="936"/>
                </a:lnTo>
                <a:lnTo>
                  <a:pt x="219" y="936"/>
                </a:lnTo>
                <a:lnTo>
                  <a:pt x="219" y="936"/>
                </a:lnTo>
                <a:lnTo>
                  <a:pt x="222" y="936"/>
                </a:lnTo>
                <a:lnTo>
                  <a:pt x="225" y="939"/>
                </a:lnTo>
                <a:lnTo>
                  <a:pt x="227" y="943"/>
                </a:lnTo>
                <a:lnTo>
                  <a:pt x="230" y="945"/>
                </a:lnTo>
                <a:lnTo>
                  <a:pt x="230" y="945"/>
                </a:lnTo>
                <a:lnTo>
                  <a:pt x="233" y="946"/>
                </a:lnTo>
                <a:lnTo>
                  <a:pt x="235" y="948"/>
                </a:lnTo>
                <a:lnTo>
                  <a:pt x="237" y="950"/>
                </a:lnTo>
                <a:lnTo>
                  <a:pt x="240" y="952"/>
                </a:lnTo>
                <a:lnTo>
                  <a:pt x="240" y="952"/>
                </a:lnTo>
                <a:lnTo>
                  <a:pt x="243" y="952"/>
                </a:lnTo>
                <a:lnTo>
                  <a:pt x="246" y="955"/>
                </a:lnTo>
                <a:lnTo>
                  <a:pt x="249" y="960"/>
                </a:lnTo>
                <a:lnTo>
                  <a:pt x="249" y="960"/>
                </a:lnTo>
                <a:lnTo>
                  <a:pt x="252" y="962"/>
                </a:lnTo>
                <a:lnTo>
                  <a:pt x="255" y="962"/>
                </a:lnTo>
                <a:lnTo>
                  <a:pt x="256" y="962"/>
                </a:lnTo>
                <a:lnTo>
                  <a:pt x="257" y="963"/>
                </a:lnTo>
                <a:lnTo>
                  <a:pt x="257" y="963"/>
                </a:lnTo>
                <a:lnTo>
                  <a:pt x="257" y="966"/>
                </a:lnTo>
                <a:lnTo>
                  <a:pt x="260" y="967"/>
                </a:lnTo>
                <a:lnTo>
                  <a:pt x="263" y="970"/>
                </a:lnTo>
                <a:lnTo>
                  <a:pt x="264" y="973"/>
                </a:lnTo>
                <a:lnTo>
                  <a:pt x="264" y="973"/>
                </a:lnTo>
                <a:lnTo>
                  <a:pt x="277" y="975"/>
                </a:lnTo>
                <a:lnTo>
                  <a:pt x="284" y="975"/>
                </a:lnTo>
                <a:lnTo>
                  <a:pt x="290" y="973"/>
                </a:lnTo>
                <a:lnTo>
                  <a:pt x="290" y="973"/>
                </a:lnTo>
                <a:lnTo>
                  <a:pt x="292" y="966"/>
                </a:lnTo>
                <a:lnTo>
                  <a:pt x="292" y="966"/>
                </a:lnTo>
                <a:lnTo>
                  <a:pt x="292" y="965"/>
                </a:lnTo>
                <a:lnTo>
                  <a:pt x="289" y="963"/>
                </a:lnTo>
                <a:lnTo>
                  <a:pt x="286" y="962"/>
                </a:lnTo>
                <a:lnTo>
                  <a:pt x="282" y="960"/>
                </a:lnTo>
                <a:lnTo>
                  <a:pt x="282" y="960"/>
                </a:lnTo>
                <a:close/>
                <a:moveTo>
                  <a:pt x="269" y="394"/>
                </a:moveTo>
                <a:lnTo>
                  <a:pt x="269" y="394"/>
                </a:lnTo>
                <a:lnTo>
                  <a:pt x="273" y="397"/>
                </a:lnTo>
                <a:lnTo>
                  <a:pt x="277" y="400"/>
                </a:lnTo>
                <a:lnTo>
                  <a:pt x="282" y="408"/>
                </a:lnTo>
                <a:lnTo>
                  <a:pt x="287" y="417"/>
                </a:lnTo>
                <a:lnTo>
                  <a:pt x="289" y="420"/>
                </a:lnTo>
                <a:lnTo>
                  <a:pt x="292" y="420"/>
                </a:lnTo>
                <a:lnTo>
                  <a:pt x="292" y="420"/>
                </a:lnTo>
                <a:lnTo>
                  <a:pt x="294" y="420"/>
                </a:lnTo>
                <a:lnTo>
                  <a:pt x="296" y="417"/>
                </a:lnTo>
                <a:lnTo>
                  <a:pt x="297" y="414"/>
                </a:lnTo>
                <a:lnTo>
                  <a:pt x="303" y="413"/>
                </a:lnTo>
                <a:lnTo>
                  <a:pt x="303" y="413"/>
                </a:lnTo>
                <a:lnTo>
                  <a:pt x="307" y="413"/>
                </a:lnTo>
                <a:lnTo>
                  <a:pt x="311" y="411"/>
                </a:lnTo>
                <a:lnTo>
                  <a:pt x="314" y="410"/>
                </a:lnTo>
                <a:lnTo>
                  <a:pt x="319" y="408"/>
                </a:lnTo>
                <a:lnTo>
                  <a:pt x="319" y="408"/>
                </a:lnTo>
                <a:lnTo>
                  <a:pt x="324" y="408"/>
                </a:lnTo>
                <a:lnTo>
                  <a:pt x="330" y="407"/>
                </a:lnTo>
                <a:lnTo>
                  <a:pt x="333" y="403"/>
                </a:lnTo>
                <a:lnTo>
                  <a:pt x="334" y="397"/>
                </a:lnTo>
                <a:lnTo>
                  <a:pt x="334" y="397"/>
                </a:lnTo>
                <a:lnTo>
                  <a:pt x="336" y="390"/>
                </a:lnTo>
                <a:lnTo>
                  <a:pt x="338" y="386"/>
                </a:lnTo>
                <a:lnTo>
                  <a:pt x="343" y="383"/>
                </a:lnTo>
                <a:lnTo>
                  <a:pt x="348" y="381"/>
                </a:lnTo>
                <a:lnTo>
                  <a:pt x="348" y="381"/>
                </a:lnTo>
                <a:lnTo>
                  <a:pt x="351" y="380"/>
                </a:lnTo>
                <a:lnTo>
                  <a:pt x="353" y="378"/>
                </a:lnTo>
                <a:lnTo>
                  <a:pt x="354" y="374"/>
                </a:lnTo>
                <a:lnTo>
                  <a:pt x="356" y="369"/>
                </a:lnTo>
                <a:lnTo>
                  <a:pt x="358" y="367"/>
                </a:lnTo>
                <a:lnTo>
                  <a:pt x="361" y="366"/>
                </a:lnTo>
                <a:lnTo>
                  <a:pt x="361" y="366"/>
                </a:lnTo>
                <a:lnTo>
                  <a:pt x="374" y="361"/>
                </a:lnTo>
                <a:lnTo>
                  <a:pt x="390" y="356"/>
                </a:lnTo>
                <a:lnTo>
                  <a:pt x="404" y="349"/>
                </a:lnTo>
                <a:lnTo>
                  <a:pt x="412" y="344"/>
                </a:lnTo>
                <a:lnTo>
                  <a:pt x="412" y="344"/>
                </a:lnTo>
                <a:lnTo>
                  <a:pt x="414" y="343"/>
                </a:lnTo>
                <a:lnTo>
                  <a:pt x="414" y="340"/>
                </a:lnTo>
                <a:lnTo>
                  <a:pt x="410" y="337"/>
                </a:lnTo>
                <a:lnTo>
                  <a:pt x="393" y="326"/>
                </a:lnTo>
                <a:lnTo>
                  <a:pt x="393" y="326"/>
                </a:lnTo>
                <a:lnTo>
                  <a:pt x="384" y="322"/>
                </a:lnTo>
                <a:lnTo>
                  <a:pt x="375" y="319"/>
                </a:lnTo>
                <a:lnTo>
                  <a:pt x="368" y="320"/>
                </a:lnTo>
                <a:lnTo>
                  <a:pt x="360" y="323"/>
                </a:lnTo>
                <a:lnTo>
                  <a:pt x="360" y="323"/>
                </a:lnTo>
                <a:lnTo>
                  <a:pt x="357" y="324"/>
                </a:lnTo>
                <a:lnTo>
                  <a:pt x="356" y="324"/>
                </a:lnTo>
                <a:lnTo>
                  <a:pt x="356" y="323"/>
                </a:lnTo>
                <a:lnTo>
                  <a:pt x="354" y="322"/>
                </a:lnTo>
                <a:lnTo>
                  <a:pt x="354" y="319"/>
                </a:lnTo>
                <a:lnTo>
                  <a:pt x="353" y="319"/>
                </a:lnTo>
                <a:lnTo>
                  <a:pt x="350" y="319"/>
                </a:lnTo>
                <a:lnTo>
                  <a:pt x="350" y="319"/>
                </a:lnTo>
                <a:lnTo>
                  <a:pt x="347" y="320"/>
                </a:lnTo>
                <a:lnTo>
                  <a:pt x="343" y="320"/>
                </a:lnTo>
                <a:lnTo>
                  <a:pt x="333" y="317"/>
                </a:lnTo>
                <a:lnTo>
                  <a:pt x="323" y="313"/>
                </a:lnTo>
                <a:lnTo>
                  <a:pt x="319" y="310"/>
                </a:lnTo>
                <a:lnTo>
                  <a:pt x="319" y="310"/>
                </a:lnTo>
                <a:lnTo>
                  <a:pt x="316" y="309"/>
                </a:lnTo>
                <a:lnTo>
                  <a:pt x="310" y="310"/>
                </a:lnTo>
                <a:lnTo>
                  <a:pt x="296" y="313"/>
                </a:lnTo>
                <a:lnTo>
                  <a:pt x="279" y="316"/>
                </a:lnTo>
                <a:lnTo>
                  <a:pt x="267" y="317"/>
                </a:lnTo>
                <a:lnTo>
                  <a:pt x="267" y="317"/>
                </a:lnTo>
                <a:lnTo>
                  <a:pt x="266" y="319"/>
                </a:lnTo>
                <a:lnTo>
                  <a:pt x="264" y="320"/>
                </a:lnTo>
                <a:lnTo>
                  <a:pt x="264" y="322"/>
                </a:lnTo>
                <a:lnTo>
                  <a:pt x="266" y="323"/>
                </a:lnTo>
                <a:lnTo>
                  <a:pt x="270" y="329"/>
                </a:lnTo>
                <a:lnTo>
                  <a:pt x="274" y="333"/>
                </a:lnTo>
                <a:lnTo>
                  <a:pt x="274" y="333"/>
                </a:lnTo>
                <a:lnTo>
                  <a:pt x="276" y="336"/>
                </a:lnTo>
                <a:lnTo>
                  <a:pt x="276" y="339"/>
                </a:lnTo>
                <a:lnTo>
                  <a:pt x="270" y="346"/>
                </a:lnTo>
                <a:lnTo>
                  <a:pt x="264" y="353"/>
                </a:lnTo>
                <a:lnTo>
                  <a:pt x="263" y="356"/>
                </a:lnTo>
                <a:lnTo>
                  <a:pt x="263" y="357"/>
                </a:lnTo>
                <a:lnTo>
                  <a:pt x="263" y="357"/>
                </a:lnTo>
                <a:lnTo>
                  <a:pt x="264" y="359"/>
                </a:lnTo>
                <a:lnTo>
                  <a:pt x="264" y="360"/>
                </a:lnTo>
                <a:lnTo>
                  <a:pt x="262" y="366"/>
                </a:lnTo>
                <a:lnTo>
                  <a:pt x="249" y="381"/>
                </a:lnTo>
                <a:lnTo>
                  <a:pt x="249" y="381"/>
                </a:lnTo>
                <a:lnTo>
                  <a:pt x="247" y="386"/>
                </a:lnTo>
                <a:lnTo>
                  <a:pt x="246" y="387"/>
                </a:lnTo>
                <a:lnTo>
                  <a:pt x="247" y="390"/>
                </a:lnTo>
                <a:lnTo>
                  <a:pt x="250" y="391"/>
                </a:lnTo>
                <a:lnTo>
                  <a:pt x="259" y="393"/>
                </a:lnTo>
                <a:lnTo>
                  <a:pt x="269" y="394"/>
                </a:lnTo>
                <a:lnTo>
                  <a:pt x="269" y="394"/>
                </a:lnTo>
                <a:close/>
                <a:moveTo>
                  <a:pt x="624" y="452"/>
                </a:moveTo>
                <a:lnTo>
                  <a:pt x="624" y="452"/>
                </a:lnTo>
                <a:lnTo>
                  <a:pt x="627" y="452"/>
                </a:lnTo>
                <a:lnTo>
                  <a:pt x="630" y="452"/>
                </a:lnTo>
                <a:lnTo>
                  <a:pt x="637" y="455"/>
                </a:lnTo>
                <a:lnTo>
                  <a:pt x="644" y="457"/>
                </a:lnTo>
                <a:lnTo>
                  <a:pt x="647" y="455"/>
                </a:lnTo>
                <a:lnTo>
                  <a:pt x="647" y="452"/>
                </a:lnTo>
                <a:lnTo>
                  <a:pt x="647" y="452"/>
                </a:lnTo>
                <a:lnTo>
                  <a:pt x="647" y="448"/>
                </a:lnTo>
                <a:lnTo>
                  <a:pt x="644" y="445"/>
                </a:lnTo>
                <a:lnTo>
                  <a:pt x="637" y="440"/>
                </a:lnTo>
                <a:lnTo>
                  <a:pt x="627" y="435"/>
                </a:lnTo>
                <a:lnTo>
                  <a:pt x="619" y="431"/>
                </a:lnTo>
                <a:lnTo>
                  <a:pt x="619" y="431"/>
                </a:lnTo>
                <a:lnTo>
                  <a:pt x="613" y="428"/>
                </a:lnTo>
                <a:lnTo>
                  <a:pt x="609" y="427"/>
                </a:lnTo>
                <a:lnTo>
                  <a:pt x="602" y="424"/>
                </a:lnTo>
                <a:lnTo>
                  <a:pt x="593" y="418"/>
                </a:lnTo>
                <a:lnTo>
                  <a:pt x="593" y="418"/>
                </a:lnTo>
                <a:lnTo>
                  <a:pt x="590" y="414"/>
                </a:lnTo>
                <a:lnTo>
                  <a:pt x="589" y="411"/>
                </a:lnTo>
                <a:lnTo>
                  <a:pt x="589" y="408"/>
                </a:lnTo>
                <a:lnTo>
                  <a:pt x="589" y="406"/>
                </a:lnTo>
                <a:lnTo>
                  <a:pt x="590" y="401"/>
                </a:lnTo>
                <a:lnTo>
                  <a:pt x="590" y="398"/>
                </a:lnTo>
                <a:lnTo>
                  <a:pt x="587" y="396"/>
                </a:lnTo>
                <a:lnTo>
                  <a:pt x="587" y="396"/>
                </a:lnTo>
                <a:lnTo>
                  <a:pt x="583" y="391"/>
                </a:lnTo>
                <a:lnTo>
                  <a:pt x="580" y="387"/>
                </a:lnTo>
                <a:lnTo>
                  <a:pt x="577" y="377"/>
                </a:lnTo>
                <a:lnTo>
                  <a:pt x="577" y="371"/>
                </a:lnTo>
                <a:lnTo>
                  <a:pt x="577" y="367"/>
                </a:lnTo>
                <a:lnTo>
                  <a:pt x="579" y="363"/>
                </a:lnTo>
                <a:lnTo>
                  <a:pt x="580" y="359"/>
                </a:lnTo>
                <a:lnTo>
                  <a:pt x="580" y="359"/>
                </a:lnTo>
                <a:lnTo>
                  <a:pt x="586" y="353"/>
                </a:lnTo>
                <a:lnTo>
                  <a:pt x="589" y="347"/>
                </a:lnTo>
                <a:lnTo>
                  <a:pt x="590" y="344"/>
                </a:lnTo>
                <a:lnTo>
                  <a:pt x="589" y="341"/>
                </a:lnTo>
                <a:lnTo>
                  <a:pt x="587" y="339"/>
                </a:lnTo>
                <a:lnTo>
                  <a:pt x="583" y="336"/>
                </a:lnTo>
                <a:lnTo>
                  <a:pt x="583" y="336"/>
                </a:lnTo>
                <a:lnTo>
                  <a:pt x="577" y="336"/>
                </a:lnTo>
                <a:lnTo>
                  <a:pt x="572" y="334"/>
                </a:lnTo>
                <a:lnTo>
                  <a:pt x="562" y="337"/>
                </a:lnTo>
                <a:lnTo>
                  <a:pt x="553" y="340"/>
                </a:lnTo>
                <a:lnTo>
                  <a:pt x="552" y="341"/>
                </a:lnTo>
                <a:lnTo>
                  <a:pt x="552" y="343"/>
                </a:lnTo>
                <a:lnTo>
                  <a:pt x="552" y="343"/>
                </a:lnTo>
                <a:lnTo>
                  <a:pt x="562" y="351"/>
                </a:lnTo>
                <a:lnTo>
                  <a:pt x="569" y="357"/>
                </a:lnTo>
                <a:lnTo>
                  <a:pt x="570" y="359"/>
                </a:lnTo>
                <a:lnTo>
                  <a:pt x="572" y="360"/>
                </a:lnTo>
                <a:lnTo>
                  <a:pt x="572" y="360"/>
                </a:lnTo>
                <a:lnTo>
                  <a:pt x="570" y="361"/>
                </a:lnTo>
                <a:lnTo>
                  <a:pt x="569" y="360"/>
                </a:lnTo>
                <a:lnTo>
                  <a:pt x="563" y="357"/>
                </a:lnTo>
                <a:lnTo>
                  <a:pt x="555" y="353"/>
                </a:lnTo>
                <a:lnTo>
                  <a:pt x="552" y="351"/>
                </a:lnTo>
                <a:lnTo>
                  <a:pt x="549" y="351"/>
                </a:lnTo>
                <a:lnTo>
                  <a:pt x="549" y="351"/>
                </a:lnTo>
                <a:lnTo>
                  <a:pt x="548" y="353"/>
                </a:lnTo>
                <a:lnTo>
                  <a:pt x="545" y="353"/>
                </a:lnTo>
                <a:lnTo>
                  <a:pt x="540" y="350"/>
                </a:lnTo>
                <a:lnTo>
                  <a:pt x="536" y="350"/>
                </a:lnTo>
                <a:lnTo>
                  <a:pt x="535" y="350"/>
                </a:lnTo>
                <a:lnTo>
                  <a:pt x="532" y="351"/>
                </a:lnTo>
                <a:lnTo>
                  <a:pt x="532" y="351"/>
                </a:lnTo>
                <a:lnTo>
                  <a:pt x="532" y="356"/>
                </a:lnTo>
                <a:lnTo>
                  <a:pt x="532" y="360"/>
                </a:lnTo>
                <a:lnTo>
                  <a:pt x="535" y="371"/>
                </a:lnTo>
                <a:lnTo>
                  <a:pt x="539" y="383"/>
                </a:lnTo>
                <a:lnTo>
                  <a:pt x="543" y="391"/>
                </a:lnTo>
                <a:lnTo>
                  <a:pt x="543" y="391"/>
                </a:lnTo>
                <a:lnTo>
                  <a:pt x="545" y="394"/>
                </a:lnTo>
                <a:lnTo>
                  <a:pt x="545" y="396"/>
                </a:lnTo>
                <a:lnTo>
                  <a:pt x="542" y="397"/>
                </a:lnTo>
                <a:lnTo>
                  <a:pt x="533" y="400"/>
                </a:lnTo>
                <a:lnTo>
                  <a:pt x="533" y="400"/>
                </a:lnTo>
                <a:lnTo>
                  <a:pt x="531" y="400"/>
                </a:lnTo>
                <a:lnTo>
                  <a:pt x="529" y="397"/>
                </a:lnTo>
                <a:lnTo>
                  <a:pt x="528" y="390"/>
                </a:lnTo>
                <a:lnTo>
                  <a:pt x="525" y="380"/>
                </a:lnTo>
                <a:lnTo>
                  <a:pt x="521" y="371"/>
                </a:lnTo>
                <a:lnTo>
                  <a:pt x="521" y="371"/>
                </a:lnTo>
                <a:lnTo>
                  <a:pt x="515" y="366"/>
                </a:lnTo>
                <a:lnTo>
                  <a:pt x="505" y="361"/>
                </a:lnTo>
                <a:lnTo>
                  <a:pt x="495" y="359"/>
                </a:lnTo>
                <a:lnTo>
                  <a:pt x="492" y="359"/>
                </a:lnTo>
                <a:lnTo>
                  <a:pt x="491" y="360"/>
                </a:lnTo>
                <a:lnTo>
                  <a:pt x="491" y="360"/>
                </a:lnTo>
                <a:lnTo>
                  <a:pt x="491" y="363"/>
                </a:lnTo>
                <a:lnTo>
                  <a:pt x="492" y="364"/>
                </a:lnTo>
                <a:lnTo>
                  <a:pt x="498" y="367"/>
                </a:lnTo>
                <a:lnTo>
                  <a:pt x="502" y="370"/>
                </a:lnTo>
                <a:lnTo>
                  <a:pt x="503" y="371"/>
                </a:lnTo>
                <a:lnTo>
                  <a:pt x="503" y="374"/>
                </a:lnTo>
                <a:lnTo>
                  <a:pt x="503" y="374"/>
                </a:lnTo>
                <a:lnTo>
                  <a:pt x="502" y="376"/>
                </a:lnTo>
                <a:lnTo>
                  <a:pt x="501" y="377"/>
                </a:lnTo>
                <a:lnTo>
                  <a:pt x="496" y="376"/>
                </a:lnTo>
                <a:lnTo>
                  <a:pt x="491" y="374"/>
                </a:lnTo>
                <a:lnTo>
                  <a:pt x="488" y="374"/>
                </a:lnTo>
                <a:lnTo>
                  <a:pt x="485" y="376"/>
                </a:lnTo>
                <a:lnTo>
                  <a:pt x="485" y="376"/>
                </a:lnTo>
                <a:lnTo>
                  <a:pt x="481" y="378"/>
                </a:lnTo>
                <a:lnTo>
                  <a:pt x="479" y="378"/>
                </a:lnTo>
                <a:lnTo>
                  <a:pt x="479" y="376"/>
                </a:lnTo>
                <a:lnTo>
                  <a:pt x="479" y="371"/>
                </a:lnTo>
                <a:lnTo>
                  <a:pt x="479" y="371"/>
                </a:lnTo>
                <a:lnTo>
                  <a:pt x="479" y="369"/>
                </a:lnTo>
                <a:lnTo>
                  <a:pt x="478" y="367"/>
                </a:lnTo>
                <a:lnTo>
                  <a:pt x="472" y="363"/>
                </a:lnTo>
                <a:lnTo>
                  <a:pt x="465" y="360"/>
                </a:lnTo>
                <a:lnTo>
                  <a:pt x="454" y="359"/>
                </a:lnTo>
                <a:lnTo>
                  <a:pt x="454" y="359"/>
                </a:lnTo>
                <a:lnTo>
                  <a:pt x="449" y="360"/>
                </a:lnTo>
                <a:lnTo>
                  <a:pt x="447" y="361"/>
                </a:lnTo>
                <a:lnTo>
                  <a:pt x="445" y="364"/>
                </a:lnTo>
                <a:lnTo>
                  <a:pt x="445" y="366"/>
                </a:lnTo>
                <a:lnTo>
                  <a:pt x="445" y="370"/>
                </a:lnTo>
                <a:lnTo>
                  <a:pt x="445" y="373"/>
                </a:lnTo>
                <a:lnTo>
                  <a:pt x="444" y="374"/>
                </a:lnTo>
                <a:lnTo>
                  <a:pt x="444" y="374"/>
                </a:lnTo>
                <a:lnTo>
                  <a:pt x="441" y="376"/>
                </a:lnTo>
                <a:lnTo>
                  <a:pt x="438" y="376"/>
                </a:lnTo>
                <a:lnTo>
                  <a:pt x="431" y="374"/>
                </a:lnTo>
                <a:lnTo>
                  <a:pt x="428" y="373"/>
                </a:lnTo>
                <a:lnTo>
                  <a:pt x="427" y="371"/>
                </a:lnTo>
                <a:lnTo>
                  <a:pt x="428" y="370"/>
                </a:lnTo>
                <a:lnTo>
                  <a:pt x="431" y="369"/>
                </a:lnTo>
                <a:lnTo>
                  <a:pt x="431" y="369"/>
                </a:lnTo>
                <a:lnTo>
                  <a:pt x="435" y="369"/>
                </a:lnTo>
                <a:lnTo>
                  <a:pt x="438" y="366"/>
                </a:lnTo>
                <a:lnTo>
                  <a:pt x="439" y="364"/>
                </a:lnTo>
                <a:lnTo>
                  <a:pt x="439" y="361"/>
                </a:lnTo>
                <a:lnTo>
                  <a:pt x="438" y="356"/>
                </a:lnTo>
                <a:lnTo>
                  <a:pt x="434" y="350"/>
                </a:lnTo>
                <a:lnTo>
                  <a:pt x="434" y="350"/>
                </a:lnTo>
                <a:lnTo>
                  <a:pt x="432" y="349"/>
                </a:lnTo>
                <a:lnTo>
                  <a:pt x="430" y="347"/>
                </a:lnTo>
                <a:lnTo>
                  <a:pt x="421" y="350"/>
                </a:lnTo>
                <a:lnTo>
                  <a:pt x="394" y="360"/>
                </a:lnTo>
                <a:lnTo>
                  <a:pt x="394" y="360"/>
                </a:lnTo>
                <a:lnTo>
                  <a:pt x="380" y="366"/>
                </a:lnTo>
                <a:lnTo>
                  <a:pt x="370" y="371"/>
                </a:lnTo>
                <a:lnTo>
                  <a:pt x="365" y="376"/>
                </a:lnTo>
                <a:lnTo>
                  <a:pt x="364" y="376"/>
                </a:lnTo>
                <a:lnTo>
                  <a:pt x="364" y="377"/>
                </a:lnTo>
                <a:lnTo>
                  <a:pt x="364" y="377"/>
                </a:lnTo>
                <a:lnTo>
                  <a:pt x="365" y="378"/>
                </a:lnTo>
                <a:lnTo>
                  <a:pt x="367" y="380"/>
                </a:lnTo>
                <a:lnTo>
                  <a:pt x="364" y="384"/>
                </a:lnTo>
                <a:lnTo>
                  <a:pt x="360" y="388"/>
                </a:lnTo>
                <a:lnTo>
                  <a:pt x="360" y="388"/>
                </a:lnTo>
                <a:lnTo>
                  <a:pt x="357" y="391"/>
                </a:lnTo>
                <a:lnTo>
                  <a:pt x="356" y="394"/>
                </a:lnTo>
                <a:lnTo>
                  <a:pt x="357" y="396"/>
                </a:lnTo>
                <a:lnTo>
                  <a:pt x="357" y="398"/>
                </a:lnTo>
                <a:lnTo>
                  <a:pt x="361" y="401"/>
                </a:lnTo>
                <a:lnTo>
                  <a:pt x="367" y="401"/>
                </a:lnTo>
                <a:lnTo>
                  <a:pt x="367" y="401"/>
                </a:lnTo>
                <a:lnTo>
                  <a:pt x="371" y="403"/>
                </a:lnTo>
                <a:lnTo>
                  <a:pt x="371" y="406"/>
                </a:lnTo>
                <a:lnTo>
                  <a:pt x="371" y="408"/>
                </a:lnTo>
                <a:lnTo>
                  <a:pt x="373" y="408"/>
                </a:lnTo>
                <a:lnTo>
                  <a:pt x="374" y="410"/>
                </a:lnTo>
                <a:lnTo>
                  <a:pt x="374" y="410"/>
                </a:lnTo>
                <a:lnTo>
                  <a:pt x="381" y="408"/>
                </a:lnTo>
                <a:lnTo>
                  <a:pt x="393" y="406"/>
                </a:lnTo>
                <a:lnTo>
                  <a:pt x="404" y="404"/>
                </a:lnTo>
                <a:lnTo>
                  <a:pt x="408" y="404"/>
                </a:lnTo>
                <a:lnTo>
                  <a:pt x="411" y="404"/>
                </a:lnTo>
                <a:lnTo>
                  <a:pt x="411" y="404"/>
                </a:lnTo>
                <a:lnTo>
                  <a:pt x="412" y="406"/>
                </a:lnTo>
                <a:lnTo>
                  <a:pt x="412" y="407"/>
                </a:lnTo>
                <a:lnTo>
                  <a:pt x="408" y="408"/>
                </a:lnTo>
                <a:lnTo>
                  <a:pt x="393" y="411"/>
                </a:lnTo>
                <a:lnTo>
                  <a:pt x="377" y="415"/>
                </a:lnTo>
                <a:lnTo>
                  <a:pt x="371" y="418"/>
                </a:lnTo>
                <a:lnTo>
                  <a:pt x="370" y="420"/>
                </a:lnTo>
                <a:lnTo>
                  <a:pt x="370" y="421"/>
                </a:lnTo>
                <a:lnTo>
                  <a:pt x="370" y="421"/>
                </a:lnTo>
                <a:lnTo>
                  <a:pt x="371" y="424"/>
                </a:lnTo>
                <a:lnTo>
                  <a:pt x="374" y="427"/>
                </a:lnTo>
                <a:lnTo>
                  <a:pt x="380" y="428"/>
                </a:lnTo>
                <a:lnTo>
                  <a:pt x="385" y="431"/>
                </a:lnTo>
                <a:lnTo>
                  <a:pt x="401" y="433"/>
                </a:lnTo>
                <a:lnTo>
                  <a:pt x="417" y="431"/>
                </a:lnTo>
                <a:lnTo>
                  <a:pt x="417" y="431"/>
                </a:lnTo>
                <a:lnTo>
                  <a:pt x="425" y="430"/>
                </a:lnTo>
                <a:lnTo>
                  <a:pt x="434" y="430"/>
                </a:lnTo>
                <a:lnTo>
                  <a:pt x="451" y="431"/>
                </a:lnTo>
                <a:lnTo>
                  <a:pt x="465" y="435"/>
                </a:lnTo>
                <a:lnTo>
                  <a:pt x="469" y="437"/>
                </a:lnTo>
                <a:lnTo>
                  <a:pt x="471" y="438"/>
                </a:lnTo>
                <a:lnTo>
                  <a:pt x="471" y="438"/>
                </a:lnTo>
                <a:lnTo>
                  <a:pt x="471" y="441"/>
                </a:lnTo>
                <a:lnTo>
                  <a:pt x="468" y="441"/>
                </a:lnTo>
                <a:lnTo>
                  <a:pt x="458" y="442"/>
                </a:lnTo>
                <a:lnTo>
                  <a:pt x="430" y="441"/>
                </a:lnTo>
                <a:lnTo>
                  <a:pt x="430" y="441"/>
                </a:lnTo>
                <a:lnTo>
                  <a:pt x="415" y="442"/>
                </a:lnTo>
                <a:lnTo>
                  <a:pt x="400" y="444"/>
                </a:lnTo>
                <a:lnTo>
                  <a:pt x="387" y="448"/>
                </a:lnTo>
                <a:lnTo>
                  <a:pt x="384" y="450"/>
                </a:lnTo>
                <a:lnTo>
                  <a:pt x="383" y="452"/>
                </a:lnTo>
                <a:lnTo>
                  <a:pt x="383" y="452"/>
                </a:lnTo>
                <a:lnTo>
                  <a:pt x="384" y="457"/>
                </a:lnTo>
                <a:lnTo>
                  <a:pt x="388" y="460"/>
                </a:lnTo>
                <a:lnTo>
                  <a:pt x="405" y="467"/>
                </a:lnTo>
                <a:lnTo>
                  <a:pt x="405" y="467"/>
                </a:lnTo>
                <a:lnTo>
                  <a:pt x="412" y="470"/>
                </a:lnTo>
                <a:lnTo>
                  <a:pt x="418" y="471"/>
                </a:lnTo>
                <a:lnTo>
                  <a:pt x="431" y="470"/>
                </a:lnTo>
                <a:lnTo>
                  <a:pt x="435" y="470"/>
                </a:lnTo>
                <a:lnTo>
                  <a:pt x="439" y="470"/>
                </a:lnTo>
                <a:lnTo>
                  <a:pt x="441" y="471"/>
                </a:lnTo>
                <a:lnTo>
                  <a:pt x="442" y="475"/>
                </a:lnTo>
                <a:lnTo>
                  <a:pt x="442" y="475"/>
                </a:lnTo>
                <a:lnTo>
                  <a:pt x="442" y="479"/>
                </a:lnTo>
                <a:lnTo>
                  <a:pt x="444" y="482"/>
                </a:lnTo>
                <a:lnTo>
                  <a:pt x="447" y="485"/>
                </a:lnTo>
                <a:lnTo>
                  <a:pt x="449" y="487"/>
                </a:lnTo>
                <a:lnTo>
                  <a:pt x="461" y="489"/>
                </a:lnTo>
                <a:lnTo>
                  <a:pt x="476" y="491"/>
                </a:lnTo>
                <a:lnTo>
                  <a:pt x="476" y="491"/>
                </a:lnTo>
                <a:lnTo>
                  <a:pt x="485" y="491"/>
                </a:lnTo>
                <a:lnTo>
                  <a:pt x="494" y="489"/>
                </a:lnTo>
                <a:lnTo>
                  <a:pt x="506" y="485"/>
                </a:lnTo>
                <a:lnTo>
                  <a:pt x="516" y="481"/>
                </a:lnTo>
                <a:lnTo>
                  <a:pt x="521" y="481"/>
                </a:lnTo>
                <a:lnTo>
                  <a:pt x="525" y="479"/>
                </a:lnTo>
                <a:lnTo>
                  <a:pt x="525" y="479"/>
                </a:lnTo>
                <a:lnTo>
                  <a:pt x="533" y="479"/>
                </a:lnTo>
                <a:lnTo>
                  <a:pt x="539" y="478"/>
                </a:lnTo>
                <a:lnTo>
                  <a:pt x="545" y="475"/>
                </a:lnTo>
                <a:lnTo>
                  <a:pt x="549" y="470"/>
                </a:lnTo>
                <a:lnTo>
                  <a:pt x="549" y="470"/>
                </a:lnTo>
                <a:lnTo>
                  <a:pt x="553" y="467"/>
                </a:lnTo>
                <a:lnTo>
                  <a:pt x="556" y="465"/>
                </a:lnTo>
                <a:lnTo>
                  <a:pt x="559" y="468"/>
                </a:lnTo>
                <a:lnTo>
                  <a:pt x="560" y="471"/>
                </a:lnTo>
                <a:lnTo>
                  <a:pt x="560" y="471"/>
                </a:lnTo>
                <a:lnTo>
                  <a:pt x="562" y="472"/>
                </a:lnTo>
                <a:lnTo>
                  <a:pt x="565" y="474"/>
                </a:lnTo>
                <a:lnTo>
                  <a:pt x="570" y="475"/>
                </a:lnTo>
                <a:lnTo>
                  <a:pt x="577" y="475"/>
                </a:lnTo>
                <a:lnTo>
                  <a:pt x="582" y="478"/>
                </a:lnTo>
                <a:lnTo>
                  <a:pt x="582" y="478"/>
                </a:lnTo>
                <a:lnTo>
                  <a:pt x="586" y="481"/>
                </a:lnTo>
                <a:lnTo>
                  <a:pt x="592" y="482"/>
                </a:lnTo>
                <a:lnTo>
                  <a:pt x="599" y="484"/>
                </a:lnTo>
                <a:lnTo>
                  <a:pt x="606" y="484"/>
                </a:lnTo>
                <a:lnTo>
                  <a:pt x="620" y="482"/>
                </a:lnTo>
                <a:lnTo>
                  <a:pt x="632" y="478"/>
                </a:lnTo>
                <a:lnTo>
                  <a:pt x="632" y="478"/>
                </a:lnTo>
                <a:lnTo>
                  <a:pt x="634" y="477"/>
                </a:lnTo>
                <a:lnTo>
                  <a:pt x="636" y="472"/>
                </a:lnTo>
                <a:lnTo>
                  <a:pt x="636" y="470"/>
                </a:lnTo>
                <a:lnTo>
                  <a:pt x="633" y="467"/>
                </a:lnTo>
                <a:lnTo>
                  <a:pt x="630" y="464"/>
                </a:lnTo>
                <a:lnTo>
                  <a:pt x="627" y="462"/>
                </a:lnTo>
                <a:lnTo>
                  <a:pt x="624" y="462"/>
                </a:lnTo>
                <a:lnTo>
                  <a:pt x="622" y="464"/>
                </a:lnTo>
                <a:lnTo>
                  <a:pt x="622" y="464"/>
                </a:lnTo>
                <a:lnTo>
                  <a:pt x="617" y="468"/>
                </a:lnTo>
                <a:lnTo>
                  <a:pt x="613" y="468"/>
                </a:lnTo>
                <a:lnTo>
                  <a:pt x="612" y="467"/>
                </a:lnTo>
                <a:lnTo>
                  <a:pt x="609" y="464"/>
                </a:lnTo>
                <a:lnTo>
                  <a:pt x="609" y="464"/>
                </a:lnTo>
                <a:lnTo>
                  <a:pt x="609" y="462"/>
                </a:lnTo>
                <a:lnTo>
                  <a:pt x="610" y="461"/>
                </a:lnTo>
                <a:lnTo>
                  <a:pt x="614" y="460"/>
                </a:lnTo>
                <a:lnTo>
                  <a:pt x="620" y="457"/>
                </a:lnTo>
                <a:lnTo>
                  <a:pt x="624" y="452"/>
                </a:lnTo>
                <a:lnTo>
                  <a:pt x="624" y="452"/>
                </a:lnTo>
                <a:close/>
                <a:moveTo>
                  <a:pt x="354" y="277"/>
                </a:moveTo>
                <a:lnTo>
                  <a:pt x="354" y="277"/>
                </a:lnTo>
                <a:lnTo>
                  <a:pt x="360" y="277"/>
                </a:lnTo>
                <a:lnTo>
                  <a:pt x="364" y="277"/>
                </a:lnTo>
                <a:lnTo>
                  <a:pt x="373" y="273"/>
                </a:lnTo>
                <a:lnTo>
                  <a:pt x="378" y="268"/>
                </a:lnTo>
                <a:lnTo>
                  <a:pt x="380" y="265"/>
                </a:lnTo>
                <a:lnTo>
                  <a:pt x="380" y="262"/>
                </a:lnTo>
                <a:lnTo>
                  <a:pt x="380" y="262"/>
                </a:lnTo>
                <a:lnTo>
                  <a:pt x="380" y="260"/>
                </a:lnTo>
                <a:lnTo>
                  <a:pt x="378" y="260"/>
                </a:lnTo>
                <a:lnTo>
                  <a:pt x="374" y="262"/>
                </a:lnTo>
                <a:lnTo>
                  <a:pt x="364" y="268"/>
                </a:lnTo>
                <a:lnTo>
                  <a:pt x="356" y="275"/>
                </a:lnTo>
                <a:lnTo>
                  <a:pt x="354" y="277"/>
                </a:lnTo>
                <a:lnTo>
                  <a:pt x="354" y="277"/>
                </a:lnTo>
                <a:lnTo>
                  <a:pt x="354" y="277"/>
                </a:lnTo>
                <a:lnTo>
                  <a:pt x="354" y="277"/>
                </a:lnTo>
                <a:close/>
                <a:moveTo>
                  <a:pt x="296" y="258"/>
                </a:moveTo>
                <a:lnTo>
                  <a:pt x="296" y="258"/>
                </a:lnTo>
                <a:lnTo>
                  <a:pt x="297" y="259"/>
                </a:lnTo>
                <a:lnTo>
                  <a:pt x="297" y="260"/>
                </a:lnTo>
                <a:lnTo>
                  <a:pt x="299" y="265"/>
                </a:lnTo>
                <a:lnTo>
                  <a:pt x="299" y="268"/>
                </a:lnTo>
                <a:lnTo>
                  <a:pt x="300" y="268"/>
                </a:lnTo>
                <a:lnTo>
                  <a:pt x="301" y="268"/>
                </a:lnTo>
                <a:lnTo>
                  <a:pt x="301" y="268"/>
                </a:lnTo>
                <a:lnTo>
                  <a:pt x="307" y="265"/>
                </a:lnTo>
                <a:lnTo>
                  <a:pt x="313" y="265"/>
                </a:lnTo>
                <a:lnTo>
                  <a:pt x="313" y="265"/>
                </a:lnTo>
                <a:lnTo>
                  <a:pt x="317" y="266"/>
                </a:lnTo>
                <a:lnTo>
                  <a:pt x="320" y="263"/>
                </a:lnTo>
                <a:lnTo>
                  <a:pt x="326" y="258"/>
                </a:lnTo>
                <a:lnTo>
                  <a:pt x="326" y="258"/>
                </a:lnTo>
                <a:lnTo>
                  <a:pt x="327" y="258"/>
                </a:lnTo>
                <a:lnTo>
                  <a:pt x="327" y="258"/>
                </a:lnTo>
                <a:lnTo>
                  <a:pt x="328" y="262"/>
                </a:lnTo>
                <a:lnTo>
                  <a:pt x="331" y="268"/>
                </a:lnTo>
                <a:lnTo>
                  <a:pt x="334" y="269"/>
                </a:lnTo>
                <a:lnTo>
                  <a:pt x="337" y="270"/>
                </a:lnTo>
                <a:lnTo>
                  <a:pt x="337" y="270"/>
                </a:lnTo>
                <a:lnTo>
                  <a:pt x="340" y="269"/>
                </a:lnTo>
                <a:lnTo>
                  <a:pt x="341" y="268"/>
                </a:lnTo>
                <a:lnTo>
                  <a:pt x="344" y="262"/>
                </a:lnTo>
                <a:lnTo>
                  <a:pt x="347" y="258"/>
                </a:lnTo>
                <a:lnTo>
                  <a:pt x="348" y="258"/>
                </a:lnTo>
                <a:lnTo>
                  <a:pt x="350" y="258"/>
                </a:lnTo>
                <a:lnTo>
                  <a:pt x="350" y="258"/>
                </a:lnTo>
                <a:lnTo>
                  <a:pt x="354" y="260"/>
                </a:lnTo>
                <a:lnTo>
                  <a:pt x="358" y="259"/>
                </a:lnTo>
                <a:lnTo>
                  <a:pt x="360" y="255"/>
                </a:lnTo>
                <a:lnTo>
                  <a:pt x="361" y="250"/>
                </a:lnTo>
                <a:lnTo>
                  <a:pt x="361" y="250"/>
                </a:lnTo>
                <a:lnTo>
                  <a:pt x="363" y="242"/>
                </a:lnTo>
                <a:lnTo>
                  <a:pt x="365" y="238"/>
                </a:lnTo>
                <a:lnTo>
                  <a:pt x="370" y="236"/>
                </a:lnTo>
                <a:lnTo>
                  <a:pt x="370" y="236"/>
                </a:lnTo>
                <a:lnTo>
                  <a:pt x="373" y="236"/>
                </a:lnTo>
                <a:lnTo>
                  <a:pt x="374" y="236"/>
                </a:lnTo>
                <a:lnTo>
                  <a:pt x="374" y="240"/>
                </a:lnTo>
                <a:lnTo>
                  <a:pt x="374" y="245"/>
                </a:lnTo>
                <a:lnTo>
                  <a:pt x="375" y="250"/>
                </a:lnTo>
                <a:lnTo>
                  <a:pt x="375" y="250"/>
                </a:lnTo>
                <a:lnTo>
                  <a:pt x="377" y="253"/>
                </a:lnTo>
                <a:lnTo>
                  <a:pt x="380" y="255"/>
                </a:lnTo>
                <a:lnTo>
                  <a:pt x="383" y="255"/>
                </a:lnTo>
                <a:lnTo>
                  <a:pt x="384" y="253"/>
                </a:lnTo>
                <a:lnTo>
                  <a:pt x="388" y="250"/>
                </a:lnTo>
                <a:lnTo>
                  <a:pt x="390" y="246"/>
                </a:lnTo>
                <a:lnTo>
                  <a:pt x="390" y="246"/>
                </a:lnTo>
                <a:lnTo>
                  <a:pt x="391" y="246"/>
                </a:lnTo>
                <a:lnTo>
                  <a:pt x="393" y="245"/>
                </a:lnTo>
                <a:lnTo>
                  <a:pt x="397" y="243"/>
                </a:lnTo>
                <a:lnTo>
                  <a:pt x="401" y="243"/>
                </a:lnTo>
                <a:lnTo>
                  <a:pt x="402" y="242"/>
                </a:lnTo>
                <a:lnTo>
                  <a:pt x="402" y="240"/>
                </a:lnTo>
                <a:lnTo>
                  <a:pt x="402" y="240"/>
                </a:lnTo>
                <a:lnTo>
                  <a:pt x="402" y="238"/>
                </a:lnTo>
                <a:lnTo>
                  <a:pt x="404" y="235"/>
                </a:lnTo>
                <a:lnTo>
                  <a:pt x="404" y="232"/>
                </a:lnTo>
                <a:lnTo>
                  <a:pt x="402" y="228"/>
                </a:lnTo>
                <a:lnTo>
                  <a:pt x="402" y="228"/>
                </a:lnTo>
                <a:lnTo>
                  <a:pt x="402" y="226"/>
                </a:lnTo>
                <a:lnTo>
                  <a:pt x="402" y="225"/>
                </a:lnTo>
                <a:lnTo>
                  <a:pt x="405" y="223"/>
                </a:lnTo>
                <a:lnTo>
                  <a:pt x="410" y="222"/>
                </a:lnTo>
                <a:lnTo>
                  <a:pt x="412" y="219"/>
                </a:lnTo>
                <a:lnTo>
                  <a:pt x="412" y="219"/>
                </a:lnTo>
                <a:lnTo>
                  <a:pt x="414" y="219"/>
                </a:lnTo>
                <a:lnTo>
                  <a:pt x="414" y="218"/>
                </a:lnTo>
                <a:lnTo>
                  <a:pt x="411" y="216"/>
                </a:lnTo>
                <a:lnTo>
                  <a:pt x="405" y="216"/>
                </a:lnTo>
                <a:lnTo>
                  <a:pt x="400" y="212"/>
                </a:lnTo>
                <a:lnTo>
                  <a:pt x="400" y="212"/>
                </a:lnTo>
                <a:lnTo>
                  <a:pt x="398" y="211"/>
                </a:lnTo>
                <a:lnTo>
                  <a:pt x="395" y="211"/>
                </a:lnTo>
                <a:lnTo>
                  <a:pt x="394" y="211"/>
                </a:lnTo>
                <a:lnTo>
                  <a:pt x="393" y="212"/>
                </a:lnTo>
                <a:lnTo>
                  <a:pt x="391" y="215"/>
                </a:lnTo>
                <a:lnTo>
                  <a:pt x="390" y="219"/>
                </a:lnTo>
                <a:lnTo>
                  <a:pt x="390" y="219"/>
                </a:lnTo>
                <a:lnTo>
                  <a:pt x="390" y="221"/>
                </a:lnTo>
                <a:lnTo>
                  <a:pt x="388" y="221"/>
                </a:lnTo>
                <a:lnTo>
                  <a:pt x="383" y="221"/>
                </a:lnTo>
                <a:lnTo>
                  <a:pt x="368" y="216"/>
                </a:lnTo>
                <a:lnTo>
                  <a:pt x="368" y="216"/>
                </a:lnTo>
                <a:lnTo>
                  <a:pt x="365" y="216"/>
                </a:lnTo>
                <a:lnTo>
                  <a:pt x="363" y="218"/>
                </a:lnTo>
                <a:lnTo>
                  <a:pt x="356" y="221"/>
                </a:lnTo>
                <a:lnTo>
                  <a:pt x="348" y="226"/>
                </a:lnTo>
                <a:lnTo>
                  <a:pt x="340" y="232"/>
                </a:lnTo>
                <a:lnTo>
                  <a:pt x="340" y="232"/>
                </a:lnTo>
                <a:lnTo>
                  <a:pt x="333" y="236"/>
                </a:lnTo>
                <a:lnTo>
                  <a:pt x="328" y="242"/>
                </a:lnTo>
                <a:lnTo>
                  <a:pt x="323" y="246"/>
                </a:lnTo>
                <a:lnTo>
                  <a:pt x="320" y="246"/>
                </a:lnTo>
                <a:lnTo>
                  <a:pt x="317" y="246"/>
                </a:lnTo>
                <a:lnTo>
                  <a:pt x="317" y="246"/>
                </a:lnTo>
                <a:lnTo>
                  <a:pt x="309" y="248"/>
                </a:lnTo>
                <a:lnTo>
                  <a:pt x="300" y="252"/>
                </a:lnTo>
                <a:lnTo>
                  <a:pt x="296" y="255"/>
                </a:lnTo>
                <a:lnTo>
                  <a:pt x="294" y="258"/>
                </a:lnTo>
                <a:lnTo>
                  <a:pt x="296" y="258"/>
                </a:lnTo>
                <a:lnTo>
                  <a:pt x="296" y="258"/>
                </a:lnTo>
                <a:close/>
                <a:moveTo>
                  <a:pt x="407" y="255"/>
                </a:moveTo>
                <a:lnTo>
                  <a:pt x="407" y="255"/>
                </a:lnTo>
                <a:lnTo>
                  <a:pt x="404" y="255"/>
                </a:lnTo>
                <a:lnTo>
                  <a:pt x="401" y="256"/>
                </a:lnTo>
                <a:lnTo>
                  <a:pt x="400" y="259"/>
                </a:lnTo>
                <a:lnTo>
                  <a:pt x="400" y="260"/>
                </a:lnTo>
                <a:lnTo>
                  <a:pt x="401" y="262"/>
                </a:lnTo>
                <a:lnTo>
                  <a:pt x="402" y="263"/>
                </a:lnTo>
                <a:lnTo>
                  <a:pt x="405" y="265"/>
                </a:lnTo>
                <a:lnTo>
                  <a:pt x="408" y="265"/>
                </a:lnTo>
                <a:lnTo>
                  <a:pt x="408" y="265"/>
                </a:lnTo>
                <a:lnTo>
                  <a:pt x="415" y="266"/>
                </a:lnTo>
                <a:lnTo>
                  <a:pt x="418" y="268"/>
                </a:lnTo>
                <a:lnTo>
                  <a:pt x="415" y="268"/>
                </a:lnTo>
                <a:lnTo>
                  <a:pt x="407" y="268"/>
                </a:lnTo>
                <a:lnTo>
                  <a:pt x="407" y="268"/>
                </a:lnTo>
                <a:lnTo>
                  <a:pt x="401" y="269"/>
                </a:lnTo>
                <a:lnTo>
                  <a:pt x="397" y="270"/>
                </a:lnTo>
                <a:lnTo>
                  <a:pt x="393" y="272"/>
                </a:lnTo>
                <a:lnTo>
                  <a:pt x="391" y="275"/>
                </a:lnTo>
                <a:lnTo>
                  <a:pt x="390" y="276"/>
                </a:lnTo>
                <a:lnTo>
                  <a:pt x="390" y="279"/>
                </a:lnTo>
                <a:lnTo>
                  <a:pt x="391" y="279"/>
                </a:lnTo>
                <a:lnTo>
                  <a:pt x="395" y="279"/>
                </a:lnTo>
                <a:lnTo>
                  <a:pt x="395" y="279"/>
                </a:lnTo>
                <a:lnTo>
                  <a:pt x="404" y="277"/>
                </a:lnTo>
                <a:lnTo>
                  <a:pt x="411" y="276"/>
                </a:lnTo>
                <a:lnTo>
                  <a:pt x="414" y="277"/>
                </a:lnTo>
                <a:lnTo>
                  <a:pt x="411" y="279"/>
                </a:lnTo>
                <a:lnTo>
                  <a:pt x="411" y="279"/>
                </a:lnTo>
                <a:lnTo>
                  <a:pt x="393" y="283"/>
                </a:lnTo>
                <a:lnTo>
                  <a:pt x="385" y="285"/>
                </a:lnTo>
                <a:lnTo>
                  <a:pt x="383" y="286"/>
                </a:lnTo>
                <a:lnTo>
                  <a:pt x="383" y="287"/>
                </a:lnTo>
                <a:lnTo>
                  <a:pt x="383" y="287"/>
                </a:lnTo>
                <a:lnTo>
                  <a:pt x="385" y="290"/>
                </a:lnTo>
                <a:lnTo>
                  <a:pt x="391" y="290"/>
                </a:lnTo>
                <a:lnTo>
                  <a:pt x="397" y="292"/>
                </a:lnTo>
                <a:lnTo>
                  <a:pt x="404" y="293"/>
                </a:lnTo>
                <a:lnTo>
                  <a:pt x="404" y="293"/>
                </a:lnTo>
                <a:lnTo>
                  <a:pt x="410" y="296"/>
                </a:lnTo>
                <a:lnTo>
                  <a:pt x="415" y="297"/>
                </a:lnTo>
                <a:lnTo>
                  <a:pt x="421" y="296"/>
                </a:lnTo>
                <a:lnTo>
                  <a:pt x="425" y="292"/>
                </a:lnTo>
                <a:lnTo>
                  <a:pt x="425" y="292"/>
                </a:lnTo>
                <a:lnTo>
                  <a:pt x="431" y="286"/>
                </a:lnTo>
                <a:lnTo>
                  <a:pt x="437" y="282"/>
                </a:lnTo>
                <a:lnTo>
                  <a:pt x="438" y="282"/>
                </a:lnTo>
                <a:lnTo>
                  <a:pt x="439" y="282"/>
                </a:lnTo>
                <a:lnTo>
                  <a:pt x="439" y="283"/>
                </a:lnTo>
                <a:lnTo>
                  <a:pt x="438" y="286"/>
                </a:lnTo>
                <a:lnTo>
                  <a:pt x="438" y="286"/>
                </a:lnTo>
                <a:lnTo>
                  <a:pt x="438" y="290"/>
                </a:lnTo>
                <a:lnTo>
                  <a:pt x="439" y="292"/>
                </a:lnTo>
                <a:lnTo>
                  <a:pt x="441" y="292"/>
                </a:lnTo>
                <a:lnTo>
                  <a:pt x="445" y="292"/>
                </a:lnTo>
                <a:lnTo>
                  <a:pt x="455" y="290"/>
                </a:lnTo>
                <a:lnTo>
                  <a:pt x="469" y="289"/>
                </a:lnTo>
                <a:lnTo>
                  <a:pt x="469" y="289"/>
                </a:lnTo>
                <a:lnTo>
                  <a:pt x="475" y="289"/>
                </a:lnTo>
                <a:lnTo>
                  <a:pt x="476" y="290"/>
                </a:lnTo>
                <a:lnTo>
                  <a:pt x="475" y="292"/>
                </a:lnTo>
                <a:lnTo>
                  <a:pt x="472" y="295"/>
                </a:lnTo>
                <a:lnTo>
                  <a:pt x="461" y="299"/>
                </a:lnTo>
                <a:lnTo>
                  <a:pt x="445" y="302"/>
                </a:lnTo>
                <a:lnTo>
                  <a:pt x="445" y="302"/>
                </a:lnTo>
                <a:lnTo>
                  <a:pt x="439" y="303"/>
                </a:lnTo>
                <a:lnTo>
                  <a:pt x="435" y="305"/>
                </a:lnTo>
                <a:lnTo>
                  <a:pt x="432" y="306"/>
                </a:lnTo>
                <a:lnTo>
                  <a:pt x="432" y="309"/>
                </a:lnTo>
                <a:lnTo>
                  <a:pt x="432" y="310"/>
                </a:lnTo>
                <a:lnTo>
                  <a:pt x="435" y="313"/>
                </a:lnTo>
                <a:lnTo>
                  <a:pt x="439" y="314"/>
                </a:lnTo>
                <a:lnTo>
                  <a:pt x="445" y="316"/>
                </a:lnTo>
                <a:lnTo>
                  <a:pt x="445" y="316"/>
                </a:lnTo>
                <a:lnTo>
                  <a:pt x="451" y="317"/>
                </a:lnTo>
                <a:lnTo>
                  <a:pt x="459" y="316"/>
                </a:lnTo>
                <a:lnTo>
                  <a:pt x="476" y="312"/>
                </a:lnTo>
                <a:lnTo>
                  <a:pt x="492" y="306"/>
                </a:lnTo>
                <a:lnTo>
                  <a:pt x="502" y="299"/>
                </a:lnTo>
                <a:lnTo>
                  <a:pt x="502" y="299"/>
                </a:lnTo>
                <a:lnTo>
                  <a:pt x="505" y="296"/>
                </a:lnTo>
                <a:lnTo>
                  <a:pt x="508" y="296"/>
                </a:lnTo>
                <a:lnTo>
                  <a:pt x="513" y="297"/>
                </a:lnTo>
                <a:lnTo>
                  <a:pt x="519" y="299"/>
                </a:lnTo>
                <a:lnTo>
                  <a:pt x="522" y="299"/>
                </a:lnTo>
                <a:lnTo>
                  <a:pt x="525" y="297"/>
                </a:lnTo>
                <a:lnTo>
                  <a:pt x="525" y="297"/>
                </a:lnTo>
                <a:lnTo>
                  <a:pt x="528" y="296"/>
                </a:lnTo>
                <a:lnTo>
                  <a:pt x="532" y="295"/>
                </a:lnTo>
                <a:lnTo>
                  <a:pt x="540" y="295"/>
                </a:lnTo>
                <a:lnTo>
                  <a:pt x="550" y="296"/>
                </a:lnTo>
                <a:lnTo>
                  <a:pt x="560" y="295"/>
                </a:lnTo>
                <a:lnTo>
                  <a:pt x="560" y="295"/>
                </a:lnTo>
                <a:lnTo>
                  <a:pt x="566" y="293"/>
                </a:lnTo>
                <a:lnTo>
                  <a:pt x="569" y="289"/>
                </a:lnTo>
                <a:lnTo>
                  <a:pt x="572" y="285"/>
                </a:lnTo>
                <a:lnTo>
                  <a:pt x="573" y="279"/>
                </a:lnTo>
                <a:lnTo>
                  <a:pt x="573" y="273"/>
                </a:lnTo>
                <a:lnTo>
                  <a:pt x="572" y="269"/>
                </a:lnTo>
                <a:lnTo>
                  <a:pt x="570" y="265"/>
                </a:lnTo>
                <a:lnTo>
                  <a:pt x="566" y="262"/>
                </a:lnTo>
                <a:lnTo>
                  <a:pt x="566" y="262"/>
                </a:lnTo>
                <a:lnTo>
                  <a:pt x="563" y="262"/>
                </a:lnTo>
                <a:lnTo>
                  <a:pt x="560" y="262"/>
                </a:lnTo>
                <a:lnTo>
                  <a:pt x="558" y="263"/>
                </a:lnTo>
                <a:lnTo>
                  <a:pt x="553" y="266"/>
                </a:lnTo>
                <a:lnTo>
                  <a:pt x="549" y="269"/>
                </a:lnTo>
                <a:lnTo>
                  <a:pt x="549" y="269"/>
                </a:lnTo>
                <a:lnTo>
                  <a:pt x="546" y="269"/>
                </a:lnTo>
                <a:lnTo>
                  <a:pt x="543" y="268"/>
                </a:lnTo>
                <a:lnTo>
                  <a:pt x="539" y="265"/>
                </a:lnTo>
                <a:lnTo>
                  <a:pt x="531" y="253"/>
                </a:lnTo>
                <a:lnTo>
                  <a:pt x="531" y="253"/>
                </a:lnTo>
                <a:lnTo>
                  <a:pt x="528" y="252"/>
                </a:lnTo>
                <a:lnTo>
                  <a:pt x="528" y="248"/>
                </a:lnTo>
                <a:lnTo>
                  <a:pt x="526" y="242"/>
                </a:lnTo>
                <a:lnTo>
                  <a:pt x="523" y="238"/>
                </a:lnTo>
                <a:lnTo>
                  <a:pt x="522" y="236"/>
                </a:lnTo>
                <a:lnTo>
                  <a:pt x="519" y="236"/>
                </a:lnTo>
                <a:lnTo>
                  <a:pt x="519" y="236"/>
                </a:lnTo>
                <a:lnTo>
                  <a:pt x="511" y="240"/>
                </a:lnTo>
                <a:lnTo>
                  <a:pt x="502" y="246"/>
                </a:lnTo>
                <a:lnTo>
                  <a:pt x="499" y="249"/>
                </a:lnTo>
                <a:lnTo>
                  <a:pt x="498" y="252"/>
                </a:lnTo>
                <a:lnTo>
                  <a:pt x="499" y="253"/>
                </a:lnTo>
                <a:lnTo>
                  <a:pt x="502" y="255"/>
                </a:lnTo>
                <a:lnTo>
                  <a:pt x="502" y="255"/>
                </a:lnTo>
                <a:lnTo>
                  <a:pt x="508" y="256"/>
                </a:lnTo>
                <a:lnTo>
                  <a:pt x="509" y="258"/>
                </a:lnTo>
                <a:lnTo>
                  <a:pt x="509" y="259"/>
                </a:lnTo>
                <a:lnTo>
                  <a:pt x="508" y="263"/>
                </a:lnTo>
                <a:lnTo>
                  <a:pt x="503" y="265"/>
                </a:lnTo>
                <a:lnTo>
                  <a:pt x="503" y="265"/>
                </a:lnTo>
                <a:lnTo>
                  <a:pt x="502" y="266"/>
                </a:lnTo>
                <a:lnTo>
                  <a:pt x="503" y="268"/>
                </a:lnTo>
                <a:lnTo>
                  <a:pt x="508" y="270"/>
                </a:lnTo>
                <a:lnTo>
                  <a:pt x="513" y="275"/>
                </a:lnTo>
                <a:lnTo>
                  <a:pt x="515" y="276"/>
                </a:lnTo>
                <a:lnTo>
                  <a:pt x="515" y="277"/>
                </a:lnTo>
                <a:lnTo>
                  <a:pt x="515" y="277"/>
                </a:lnTo>
                <a:lnTo>
                  <a:pt x="513" y="279"/>
                </a:lnTo>
                <a:lnTo>
                  <a:pt x="509" y="279"/>
                </a:lnTo>
                <a:lnTo>
                  <a:pt x="496" y="279"/>
                </a:lnTo>
                <a:lnTo>
                  <a:pt x="485" y="276"/>
                </a:lnTo>
                <a:lnTo>
                  <a:pt x="481" y="273"/>
                </a:lnTo>
                <a:lnTo>
                  <a:pt x="478" y="270"/>
                </a:lnTo>
                <a:lnTo>
                  <a:pt x="478" y="270"/>
                </a:lnTo>
                <a:lnTo>
                  <a:pt x="476" y="268"/>
                </a:lnTo>
                <a:lnTo>
                  <a:pt x="474" y="265"/>
                </a:lnTo>
                <a:lnTo>
                  <a:pt x="464" y="259"/>
                </a:lnTo>
                <a:lnTo>
                  <a:pt x="451" y="255"/>
                </a:lnTo>
                <a:lnTo>
                  <a:pt x="445" y="253"/>
                </a:lnTo>
                <a:lnTo>
                  <a:pt x="441" y="253"/>
                </a:lnTo>
                <a:lnTo>
                  <a:pt x="441" y="253"/>
                </a:lnTo>
                <a:lnTo>
                  <a:pt x="437" y="255"/>
                </a:lnTo>
                <a:lnTo>
                  <a:pt x="435" y="253"/>
                </a:lnTo>
                <a:lnTo>
                  <a:pt x="432" y="250"/>
                </a:lnTo>
                <a:lnTo>
                  <a:pt x="430" y="246"/>
                </a:lnTo>
                <a:lnTo>
                  <a:pt x="427" y="245"/>
                </a:lnTo>
                <a:lnTo>
                  <a:pt x="424" y="245"/>
                </a:lnTo>
                <a:lnTo>
                  <a:pt x="424" y="245"/>
                </a:lnTo>
                <a:lnTo>
                  <a:pt x="420" y="245"/>
                </a:lnTo>
                <a:lnTo>
                  <a:pt x="418" y="246"/>
                </a:lnTo>
                <a:lnTo>
                  <a:pt x="415" y="249"/>
                </a:lnTo>
                <a:lnTo>
                  <a:pt x="412" y="253"/>
                </a:lnTo>
                <a:lnTo>
                  <a:pt x="410" y="253"/>
                </a:lnTo>
                <a:lnTo>
                  <a:pt x="407" y="255"/>
                </a:lnTo>
                <a:lnTo>
                  <a:pt x="407" y="255"/>
                </a:lnTo>
                <a:close/>
                <a:moveTo>
                  <a:pt x="444" y="203"/>
                </a:moveTo>
                <a:lnTo>
                  <a:pt x="444" y="203"/>
                </a:lnTo>
                <a:lnTo>
                  <a:pt x="444" y="201"/>
                </a:lnTo>
                <a:lnTo>
                  <a:pt x="441" y="199"/>
                </a:lnTo>
                <a:lnTo>
                  <a:pt x="438" y="198"/>
                </a:lnTo>
                <a:lnTo>
                  <a:pt x="434" y="196"/>
                </a:lnTo>
                <a:lnTo>
                  <a:pt x="425" y="198"/>
                </a:lnTo>
                <a:lnTo>
                  <a:pt x="422" y="198"/>
                </a:lnTo>
                <a:lnTo>
                  <a:pt x="422" y="199"/>
                </a:lnTo>
                <a:lnTo>
                  <a:pt x="422" y="199"/>
                </a:lnTo>
                <a:lnTo>
                  <a:pt x="427" y="203"/>
                </a:lnTo>
                <a:lnTo>
                  <a:pt x="434" y="206"/>
                </a:lnTo>
                <a:lnTo>
                  <a:pt x="437" y="208"/>
                </a:lnTo>
                <a:lnTo>
                  <a:pt x="439" y="208"/>
                </a:lnTo>
                <a:lnTo>
                  <a:pt x="442" y="206"/>
                </a:lnTo>
                <a:lnTo>
                  <a:pt x="444" y="203"/>
                </a:lnTo>
                <a:lnTo>
                  <a:pt x="444" y="203"/>
                </a:lnTo>
                <a:close/>
                <a:moveTo>
                  <a:pt x="502" y="199"/>
                </a:moveTo>
                <a:lnTo>
                  <a:pt x="502" y="199"/>
                </a:lnTo>
                <a:lnTo>
                  <a:pt x="505" y="199"/>
                </a:lnTo>
                <a:lnTo>
                  <a:pt x="506" y="198"/>
                </a:lnTo>
                <a:lnTo>
                  <a:pt x="508" y="196"/>
                </a:lnTo>
                <a:lnTo>
                  <a:pt x="506" y="195"/>
                </a:lnTo>
                <a:lnTo>
                  <a:pt x="502" y="194"/>
                </a:lnTo>
                <a:lnTo>
                  <a:pt x="492" y="194"/>
                </a:lnTo>
                <a:lnTo>
                  <a:pt x="492" y="194"/>
                </a:lnTo>
                <a:lnTo>
                  <a:pt x="479" y="195"/>
                </a:lnTo>
                <a:lnTo>
                  <a:pt x="466" y="196"/>
                </a:lnTo>
                <a:lnTo>
                  <a:pt x="461" y="198"/>
                </a:lnTo>
                <a:lnTo>
                  <a:pt x="457" y="201"/>
                </a:lnTo>
                <a:lnTo>
                  <a:pt x="454" y="202"/>
                </a:lnTo>
                <a:lnTo>
                  <a:pt x="452" y="206"/>
                </a:lnTo>
                <a:lnTo>
                  <a:pt x="452" y="206"/>
                </a:lnTo>
                <a:lnTo>
                  <a:pt x="454" y="212"/>
                </a:lnTo>
                <a:lnTo>
                  <a:pt x="457" y="216"/>
                </a:lnTo>
                <a:lnTo>
                  <a:pt x="464" y="219"/>
                </a:lnTo>
                <a:lnTo>
                  <a:pt x="474" y="221"/>
                </a:lnTo>
                <a:lnTo>
                  <a:pt x="474" y="221"/>
                </a:lnTo>
                <a:lnTo>
                  <a:pt x="479" y="221"/>
                </a:lnTo>
                <a:lnTo>
                  <a:pt x="485" y="219"/>
                </a:lnTo>
                <a:lnTo>
                  <a:pt x="489" y="216"/>
                </a:lnTo>
                <a:lnTo>
                  <a:pt x="494" y="213"/>
                </a:lnTo>
                <a:lnTo>
                  <a:pt x="496" y="211"/>
                </a:lnTo>
                <a:lnTo>
                  <a:pt x="498" y="209"/>
                </a:lnTo>
                <a:lnTo>
                  <a:pt x="498" y="206"/>
                </a:lnTo>
                <a:lnTo>
                  <a:pt x="496" y="206"/>
                </a:lnTo>
                <a:lnTo>
                  <a:pt x="496" y="206"/>
                </a:lnTo>
                <a:lnTo>
                  <a:pt x="492" y="205"/>
                </a:lnTo>
                <a:lnTo>
                  <a:pt x="492" y="205"/>
                </a:lnTo>
                <a:lnTo>
                  <a:pt x="494" y="203"/>
                </a:lnTo>
                <a:lnTo>
                  <a:pt x="496" y="202"/>
                </a:lnTo>
                <a:lnTo>
                  <a:pt x="502" y="199"/>
                </a:lnTo>
                <a:lnTo>
                  <a:pt x="502" y="199"/>
                </a:lnTo>
                <a:close/>
                <a:moveTo>
                  <a:pt x="468" y="186"/>
                </a:moveTo>
                <a:lnTo>
                  <a:pt x="468" y="186"/>
                </a:lnTo>
                <a:lnTo>
                  <a:pt x="471" y="186"/>
                </a:lnTo>
                <a:lnTo>
                  <a:pt x="474" y="186"/>
                </a:lnTo>
                <a:lnTo>
                  <a:pt x="478" y="185"/>
                </a:lnTo>
                <a:lnTo>
                  <a:pt x="482" y="184"/>
                </a:lnTo>
                <a:lnTo>
                  <a:pt x="485" y="184"/>
                </a:lnTo>
                <a:lnTo>
                  <a:pt x="486" y="184"/>
                </a:lnTo>
                <a:lnTo>
                  <a:pt x="486" y="184"/>
                </a:lnTo>
                <a:lnTo>
                  <a:pt x="494" y="186"/>
                </a:lnTo>
                <a:lnTo>
                  <a:pt x="502" y="188"/>
                </a:lnTo>
                <a:lnTo>
                  <a:pt x="506" y="188"/>
                </a:lnTo>
                <a:lnTo>
                  <a:pt x="511" y="186"/>
                </a:lnTo>
                <a:lnTo>
                  <a:pt x="513" y="184"/>
                </a:lnTo>
                <a:lnTo>
                  <a:pt x="513" y="181"/>
                </a:lnTo>
                <a:lnTo>
                  <a:pt x="513" y="181"/>
                </a:lnTo>
                <a:lnTo>
                  <a:pt x="513" y="176"/>
                </a:lnTo>
                <a:lnTo>
                  <a:pt x="509" y="174"/>
                </a:lnTo>
                <a:lnTo>
                  <a:pt x="505" y="172"/>
                </a:lnTo>
                <a:lnTo>
                  <a:pt x="499" y="171"/>
                </a:lnTo>
                <a:lnTo>
                  <a:pt x="488" y="169"/>
                </a:lnTo>
                <a:lnTo>
                  <a:pt x="482" y="171"/>
                </a:lnTo>
                <a:lnTo>
                  <a:pt x="479" y="172"/>
                </a:lnTo>
                <a:lnTo>
                  <a:pt x="479" y="172"/>
                </a:lnTo>
                <a:lnTo>
                  <a:pt x="469" y="175"/>
                </a:lnTo>
                <a:lnTo>
                  <a:pt x="458" y="178"/>
                </a:lnTo>
                <a:lnTo>
                  <a:pt x="448" y="181"/>
                </a:lnTo>
                <a:lnTo>
                  <a:pt x="447" y="182"/>
                </a:lnTo>
                <a:lnTo>
                  <a:pt x="448" y="185"/>
                </a:lnTo>
                <a:lnTo>
                  <a:pt x="448" y="185"/>
                </a:lnTo>
                <a:lnTo>
                  <a:pt x="452" y="186"/>
                </a:lnTo>
                <a:lnTo>
                  <a:pt x="458" y="186"/>
                </a:lnTo>
                <a:lnTo>
                  <a:pt x="462" y="185"/>
                </a:lnTo>
                <a:lnTo>
                  <a:pt x="468" y="186"/>
                </a:lnTo>
                <a:lnTo>
                  <a:pt x="468" y="186"/>
                </a:lnTo>
                <a:close/>
                <a:moveTo>
                  <a:pt x="586" y="164"/>
                </a:moveTo>
                <a:lnTo>
                  <a:pt x="586" y="164"/>
                </a:lnTo>
                <a:lnTo>
                  <a:pt x="590" y="162"/>
                </a:lnTo>
                <a:lnTo>
                  <a:pt x="595" y="162"/>
                </a:lnTo>
                <a:lnTo>
                  <a:pt x="602" y="165"/>
                </a:lnTo>
                <a:lnTo>
                  <a:pt x="607" y="169"/>
                </a:lnTo>
                <a:lnTo>
                  <a:pt x="609" y="172"/>
                </a:lnTo>
                <a:lnTo>
                  <a:pt x="607" y="174"/>
                </a:lnTo>
                <a:lnTo>
                  <a:pt x="607" y="174"/>
                </a:lnTo>
                <a:lnTo>
                  <a:pt x="606" y="176"/>
                </a:lnTo>
                <a:lnTo>
                  <a:pt x="603" y="176"/>
                </a:lnTo>
                <a:lnTo>
                  <a:pt x="593" y="176"/>
                </a:lnTo>
                <a:lnTo>
                  <a:pt x="585" y="176"/>
                </a:lnTo>
                <a:lnTo>
                  <a:pt x="583" y="176"/>
                </a:lnTo>
                <a:lnTo>
                  <a:pt x="582" y="178"/>
                </a:lnTo>
                <a:lnTo>
                  <a:pt x="582" y="178"/>
                </a:lnTo>
                <a:lnTo>
                  <a:pt x="583" y="181"/>
                </a:lnTo>
                <a:lnTo>
                  <a:pt x="586" y="184"/>
                </a:lnTo>
                <a:lnTo>
                  <a:pt x="589" y="185"/>
                </a:lnTo>
                <a:lnTo>
                  <a:pt x="593" y="185"/>
                </a:lnTo>
                <a:lnTo>
                  <a:pt x="597" y="185"/>
                </a:lnTo>
                <a:lnTo>
                  <a:pt x="603" y="184"/>
                </a:lnTo>
                <a:lnTo>
                  <a:pt x="603" y="184"/>
                </a:lnTo>
                <a:lnTo>
                  <a:pt x="614" y="182"/>
                </a:lnTo>
                <a:lnTo>
                  <a:pt x="626" y="182"/>
                </a:lnTo>
                <a:lnTo>
                  <a:pt x="636" y="186"/>
                </a:lnTo>
                <a:lnTo>
                  <a:pt x="646" y="192"/>
                </a:lnTo>
                <a:lnTo>
                  <a:pt x="646" y="192"/>
                </a:lnTo>
                <a:lnTo>
                  <a:pt x="654" y="198"/>
                </a:lnTo>
                <a:lnTo>
                  <a:pt x="661" y="201"/>
                </a:lnTo>
                <a:lnTo>
                  <a:pt x="666" y="201"/>
                </a:lnTo>
                <a:lnTo>
                  <a:pt x="668" y="201"/>
                </a:lnTo>
                <a:lnTo>
                  <a:pt x="673" y="198"/>
                </a:lnTo>
                <a:lnTo>
                  <a:pt x="676" y="195"/>
                </a:lnTo>
                <a:lnTo>
                  <a:pt x="676" y="195"/>
                </a:lnTo>
                <a:lnTo>
                  <a:pt x="677" y="192"/>
                </a:lnTo>
                <a:lnTo>
                  <a:pt x="677" y="189"/>
                </a:lnTo>
                <a:lnTo>
                  <a:pt x="676" y="188"/>
                </a:lnTo>
                <a:lnTo>
                  <a:pt x="674" y="186"/>
                </a:lnTo>
                <a:lnTo>
                  <a:pt x="670" y="182"/>
                </a:lnTo>
                <a:lnTo>
                  <a:pt x="668" y="181"/>
                </a:lnTo>
                <a:lnTo>
                  <a:pt x="668" y="178"/>
                </a:lnTo>
                <a:lnTo>
                  <a:pt x="668" y="178"/>
                </a:lnTo>
                <a:lnTo>
                  <a:pt x="670" y="175"/>
                </a:lnTo>
                <a:lnTo>
                  <a:pt x="668" y="174"/>
                </a:lnTo>
                <a:lnTo>
                  <a:pt x="664" y="169"/>
                </a:lnTo>
                <a:lnTo>
                  <a:pt x="657" y="167"/>
                </a:lnTo>
                <a:lnTo>
                  <a:pt x="650" y="167"/>
                </a:lnTo>
                <a:lnTo>
                  <a:pt x="650" y="167"/>
                </a:lnTo>
                <a:lnTo>
                  <a:pt x="647" y="165"/>
                </a:lnTo>
                <a:lnTo>
                  <a:pt x="644" y="164"/>
                </a:lnTo>
                <a:lnTo>
                  <a:pt x="640" y="159"/>
                </a:lnTo>
                <a:lnTo>
                  <a:pt x="637" y="155"/>
                </a:lnTo>
                <a:lnTo>
                  <a:pt x="634" y="155"/>
                </a:lnTo>
                <a:lnTo>
                  <a:pt x="633" y="155"/>
                </a:lnTo>
                <a:lnTo>
                  <a:pt x="633" y="155"/>
                </a:lnTo>
                <a:lnTo>
                  <a:pt x="624" y="159"/>
                </a:lnTo>
                <a:lnTo>
                  <a:pt x="624" y="159"/>
                </a:lnTo>
                <a:lnTo>
                  <a:pt x="623" y="158"/>
                </a:lnTo>
                <a:lnTo>
                  <a:pt x="622" y="154"/>
                </a:lnTo>
                <a:lnTo>
                  <a:pt x="622" y="154"/>
                </a:lnTo>
                <a:lnTo>
                  <a:pt x="620" y="151"/>
                </a:lnTo>
                <a:lnTo>
                  <a:pt x="616" y="148"/>
                </a:lnTo>
                <a:lnTo>
                  <a:pt x="610" y="147"/>
                </a:lnTo>
                <a:lnTo>
                  <a:pt x="603" y="145"/>
                </a:lnTo>
                <a:lnTo>
                  <a:pt x="587" y="145"/>
                </a:lnTo>
                <a:lnTo>
                  <a:pt x="576" y="147"/>
                </a:lnTo>
                <a:lnTo>
                  <a:pt x="576" y="147"/>
                </a:lnTo>
                <a:lnTo>
                  <a:pt x="573" y="149"/>
                </a:lnTo>
                <a:lnTo>
                  <a:pt x="572" y="152"/>
                </a:lnTo>
                <a:lnTo>
                  <a:pt x="573" y="155"/>
                </a:lnTo>
                <a:lnTo>
                  <a:pt x="575" y="159"/>
                </a:lnTo>
                <a:lnTo>
                  <a:pt x="577" y="162"/>
                </a:lnTo>
                <a:lnTo>
                  <a:pt x="580" y="165"/>
                </a:lnTo>
                <a:lnTo>
                  <a:pt x="583" y="165"/>
                </a:lnTo>
                <a:lnTo>
                  <a:pt x="586" y="164"/>
                </a:lnTo>
                <a:lnTo>
                  <a:pt x="586" y="164"/>
                </a:lnTo>
                <a:close/>
                <a:moveTo>
                  <a:pt x="592" y="223"/>
                </a:moveTo>
                <a:lnTo>
                  <a:pt x="592" y="223"/>
                </a:lnTo>
                <a:lnTo>
                  <a:pt x="592" y="221"/>
                </a:lnTo>
                <a:lnTo>
                  <a:pt x="590" y="216"/>
                </a:lnTo>
                <a:lnTo>
                  <a:pt x="586" y="212"/>
                </a:lnTo>
                <a:lnTo>
                  <a:pt x="582" y="208"/>
                </a:lnTo>
                <a:lnTo>
                  <a:pt x="577" y="205"/>
                </a:lnTo>
                <a:lnTo>
                  <a:pt x="572" y="202"/>
                </a:lnTo>
                <a:lnTo>
                  <a:pt x="569" y="202"/>
                </a:lnTo>
                <a:lnTo>
                  <a:pt x="567" y="203"/>
                </a:lnTo>
                <a:lnTo>
                  <a:pt x="567" y="205"/>
                </a:lnTo>
                <a:lnTo>
                  <a:pt x="567" y="205"/>
                </a:lnTo>
                <a:lnTo>
                  <a:pt x="567" y="209"/>
                </a:lnTo>
                <a:lnTo>
                  <a:pt x="569" y="213"/>
                </a:lnTo>
                <a:lnTo>
                  <a:pt x="573" y="218"/>
                </a:lnTo>
                <a:lnTo>
                  <a:pt x="576" y="221"/>
                </a:lnTo>
                <a:lnTo>
                  <a:pt x="580" y="223"/>
                </a:lnTo>
                <a:lnTo>
                  <a:pt x="585" y="226"/>
                </a:lnTo>
                <a:lnTo>
                  <a:pt x="589" y="226"/>
                </a:lnTo>
                <a:lnTo>
                  <a:pt x="592" y="223"/>
                </a:lnTo>
                <a:lnTo>
                  <a:pt x="592" y="223"/>
                </a:lnTo>
                <a:close/>
                <a:moveTo>
                  <a:pt x="684" y="131"/>
                </a:moveTo>
                <a:lnTo>
                  <a:pt x="684" y="131"/>
                </a:lnTo>
                <a:lnTo>
                  <a:pt x="684" y="128"/>
                </a:lnTo>
                <a:lnTo>
                  <a:pt x="681" y="125"/>
                </a:lnTo>
                <a:lnTo>
                  <a:pt x="677" y="122"/>
                </a:lnTo>
                <a:lnTo>
                  <a:pt x="671" y="121"/>
                </a:lnTo>
                <a:lnTo>
                  <a:pt x="663" y="120"/>
                </a:lnTo>
                <a:lnTo>
                  <a:pt x="661" y="121"/>
                </a:lnTo>
                <a:lnTo>
                  <a:pt x="663" y="122"/>
                </a:lnTo>
                <a:lnTo>
                  <a:pt x="663" y="122"/>
                </a:lnTo>
                <a:lnTo>
                  <a:pt x="667" y="127"/>
                </a:lnTo>
                <a:lnTo>
                  <a:pt x="673" y="132"/>
                </a:lnTo>
                <a:lnTo>
                  <a:pt x="676" y="134"/>
                </a:lnTo>
                <a:lnTo>
                  <a:pt x="680" y="134"/>
                </a:lnTo>
                <a:lnTo>
                  <a:pt x="681" y="134"/>
                </a:lnTo>
                <a:lnTo>
                  <a:pt x="684" y="131"/>
                </a:lnTo>
                <a:lnTo>
                  <a:pt x="684" y="131"/>
                </a:lnTo>
                <a:close/>
                <a:moveTo>
                  <a:pt x="603" y="292"/>
                </a:moveTo>
                <a:lnTo>
                  <a:pt x="603" y="292"/>
                </a:lnTo>
                <a:lnTo>
                  <a:pt x="604" y="290"/>
                </a:lnTo>
                <a:lnTo>
                  <a:pt x="604" y="287"/>
                </a:lnTo>
                <a:lnTo>
                  <a:pt x="602" y="285"/>
                </a:lnTo>
                <a:lnTo>
                  <a:pt x="600" y="283"/>
                </a:lnTo>
                <a:lnTo>
                  <a:pt x="596" y="282"/>
                </a:lnTo>
                <a:lnTo>
                  <a:pt x="593" y="280"/>
                </a:lnTo>
                <a:lnTo>
                  <a:pt x="590" y="282"/>
                </a:lnTo>
                <a:lnTo>
                  <a:pt x="589" y="285"/>
                </a:lnTo>
                <a:lnTo>
                  <a:pt x="589" y="285"/>
                </a:lnTo>
                <a:lnTo>
                  <a:pt x="587" y="287"/>
                </a:lnTo>
                <a:lnTo>
                  <a:pt x="589" y="290"/>
                </a:lnTo>
                <a:lnTo>
                  <a:pt x="590" y="293"/>
                </a:lnTo>
                <a:lnTo>
                  <a:pt x="593" y="295"/>
                </a:lnTo>
                <a:lnTo>
                  <a:pt x="599" y="295"/>
                </a:lnTo>
                <a:lnTo>
                  <a:pt x="602" y="295"/>
                </a:lnTo>
                <a:lnTo>
                  <a:pt x="603" y="292"/>
                </a:lnTo>
                <a:lnTo>
                  <a:pt x="603" y="292"/>
                </a:lnTo>
                <a:close/>
                <a:moveTo>
                  <a:pt x="684" y="242"/>
                </a:moveTo>
                <a:lnTo>
                  <a:pt x="684" y="242"/>
                </a:lnTo>
                <a:lnTo>
                  <a:pt x="683" y="245"/>
                </a:lnTo>
                <a:lnTo>
                  <a:pt x="681" y="245"/>
                </a:lnTo>
                <a:lnTo>
                  <a:pt x="674" y="243"/>
                </a:lnTo>
                <a:lnTo>
                  <a:pt x="654" y="236"/>
                </a:lnTo>
                <a:lnTo>
                  <a:pt x="654" y="236"/>
                </a:lnTo>
                <a:lnTo>
                  <a:pt x="650" y="235"/>
                </a:lnTo>
                <a:lnTo>
                  <a:pt x="649" y="236"/>
                </a:lnTo>
                <a:lnTo>
                  <a:pt x="647" y="238"/>
                </a:lnTo>
                <a:lnTo>
                  <a:pt x="649" y="240"/>
                </a:lnTo>
                <a:lnTo>
                  <a:pt x="653" y="248"/>
                </a:lnTo>
                <a:lnTo>
                  <a:pt x="659" y="255"/>
                </a:lnTo>
                <a:lnTo>
                  <a:pt x="659" y="255"/>
                </a:lnTo>
                <a:lnTo>
                  <a:pt x="661" y="258"/>
                </a:lnTo>
                <a:lnTo>
                  <a:pt x="663" y="259"/>
                </a:lnTo>
                <a:lnTo>
                  <a:pt x="661" y="259"/>
                </a:lnTo>
                <a:lnTo>
                  <a:pt x="659" y="259"/>
                </a:lnTo>
                <a:lnTo>
                  <a:pt x="650" y="256"/>
                </a:lnTo>
                <a:lnTo>
                  <a:pt x="640" y="249"/>
                </a:lnTo>
                <a:lnTo>
                  <a:pt x="640" y="249"/>
                </a:lnTo>
                <a:lnTo>
                  <a:pt x="636" y="248"/>
                </a:lnTo>
                <a:lnTo>
                  <a:pt x="633" y="246"/>
                </a:lnTo>
                <a:lnTo>
                  <a:pt x="632" y="248"/>
                </a:lnTo>
                <a:lnTo>
                  <a:pt x="630" y="250"/>
                </a:lnTo>
                <a:lnTo>
                  <a:pt x="632" y="256"/>
                </a:lnTo>
                <a:lnTo>
                  <a:pt x="633" y="259"/>
                </a:lnTo>
                <a:lnTo>
                  <a:pt x="634" y="260"/>
                </a:lnTo>
                <a:lnTo>
                  <a:pt x="634" y="260"/>
                </a:lnTo>
                <a:lnTo>
                  <a:pt x="637" y="263"/>
                </a:lnTo>
                <a:lnTo>
                  <a:pt x="637" y="265"/>
                </a:lnTo>
                <a:lnTo>
                  <a:pt x="637" y="266"/>
                </a:lnTo>
                <a:lnTo>
                  <a:pt x="636" y="268"/>
                </a:lnTo>
                <a:lnTo>
                  <a:pt x="633" y="268"/>
                </a:lnTo>
                <a:lnTo>
                  <a:pt x="632" y="268"/>
                </a:lnTo>
                <a:lnTo>
                  <a:pt x="629" y="265"/>
                </a:lnTo>
                <a:lnTo>
                  <a:pt x="624" y="262"/>
                </a:lnTo>
                <a:lnTo>
                  <a:pt x="624" y="262"/>
                </a:lnTo>
                <a:lnTo>
                  <a:pt x="613" y="246"/>
                </a:lnTo>
                <a:lnTo>
                  <a:pt x="607" y="240"/>
                </a:lnTo>
                <a:lnTo>
                  <a:pt x="603" y="238"/>
                </a:lnTo>
                <a:lnTo>
                  <a:pt x="599" y="238"/>
                </a:lnTo>
                <a:lnTo>
                  <a:pt x="599" y="238"/>
                </a:lnTo>
                <a:lnTo>
                  <a:pt x="595" y="238"/>
                </a:lnTo>
                <a:lnTo>
                  <a:pt x="592" y="239"/>
                </a:lnTo>
                <a:lnTo>
                  <a:pt x="590" y="242"/>
                </a:lnTo>
                <a:lnTo>
                  <a:pt x="590" y="245"/>
                </a:lnTo>
                <a:lnTo>
                  <a:pt x="593" y="252"/>
                </a:lnTo>
                <a:lnTo>
                  <a:pt x="596" y="258"/>
                </a:lnTo>
                <a:lnTo>
                  <a:pt x="596" y="258"/>
                </a:lnTo>
                <a:lnTo>
                  <a:pt x="602" y="263"/>
                </a:lnTo>
                <a:lnTo>
                  <a:pt x="607" y="268"/>
                </a:lnTo>
                <a:lnTo>
                  <a:pt x="622" y="275"/>
                </a:lnTo>
                <a:lnTo>
                  <a:pt x="622" y="275"/>
                </a:lnTo>
                <a:lnTo>
                  <a:pt x="627" y="277"/>
                </a:lnTo>
                <a:lnTo>
                  <a:pt x="632" y="277"/>
                </a:lnTo>
                <a:lnTo>
                  <a:pt x="643" y="276"/>
                </a:lnTo>
                <a:lnTo>
                  <a:pt x="653" y="275"/>
                </a:lnTo>
                <a:lnTo>
                  <a:pt x="660" y="275"/>
                </a:lnTo>
                <a:lnTo>
                  <a:pt x="660" y="275"/>
                </a:lnTo>
                <a:lnTo>
                  <a:pt x="663" y="276"/>
                </a:lnTo>
                <a:lnTo>
                  <a:pt x="663" y="277"/>
                </a:lnTo>
                <a:lnTo>
                  <a:pt x="660" y="283"/>
                </a:lnTo>
                <a:lnTo>
                  <a:pt x="656" y="289"/>
                </a:lnTo>
                <a:lnTo>
                  <a:pt x="656" y="292"/>
                </a:lnTo>
                <a:lnTo>
                  <a:pt x="657" y="295"/>
                </a:lnTo>
                <a:lnTo>
                  <a:pt x="657" y="295"/>
                </a:lnTo>
                <a:lnTo>
                  <a:pt x="660" y="296"/>
                </a:lnTo>
                <a:lnTo>
                  <a:pt x="663" y="297"/>
                </a:lnTo>
                <a:lnTo>
                  <a:pt x="671" y="297"/>
                </a:lnTo>
                <a:lnTo>
                  <a:pt x="690" y="296"/>
                </a:lnTo>
                <a:lnTo>
                  <a:pt x="690" y="296"/>
                </a:lnTo>
                <a:lnTo>
                  <a:pt x="694" y="296"/>
                </a:lnTo>
                <a:lnTo>
                  <a:pt x="697" y="295"/>
                </a:lnTo>
                <a:lnTo>
                  <a:pt x="698" y="292"/>
                </a:lnTo>
                <a:lnTo>
                  <a:pt x="700" y="287"/>
                </a:lnTo>
                <a:lnTo>
                  <a:pt x="704" y="283"/>
                </a:lnTo>
                <a:lnTo>
                  <a:pt x="704" y="283"/>
                </a:lnTo>
                <a:lnTo>
                  <a:pt x="705" y="282"/>
                </a:lnTo>
                <a:lnTo>
                  <a:pt x="705" y="280"/>
                </a:lnTo>
                <a:lnTo>
                  <a:pt x="704" y="277"/>
                </a:lnTo>
                <a:lnTo>
                  <a:pt x="701" y="273"/>
                </a:lnTo>
                <a:lnTo>
                  <a:pt x="701" y="270"/>
                </a:lnTo>
                <a:lnTo>
                  <a:pt x="703" y="266"/>
                </a:lnTo>
                <a:lnTo>
                  <a:pt x="703" y="266"/>
                </a:lnTo>
                <a:lnTo>
                  <a:pt x="703" y="262"/>
                </a:lnTo>
                <a:lnTo>
                  <a:pt x="703" y="256"/>
                </a:lnTo>
                <a:lnTo>
                  <a:pt x="700" y="252"/>
                </a:lnTo>
                <a:lnTo>
                  <a:pt x="696" y="248"/>
                </a:lnTo>
                <a:lnTo>
                  <a:pt x="691" y="243"/>
                </a:lnTo>
                <a:lnTo>
                  <a:pt x="688" y="242"/>
                </a:lnTo>
                <a:lnTo>
                  <a:pt x="686" y="240"/>
                </a:lnTo>
                <a:lnTo>
                  <a:pt x="684" y="242"/>
                </a:lnTo>
                <a:lnTo>
                  <a:pt x="684" y="242"/>
                </a:lnTo>
                <a:close/>
                <a:moveTo>
                  <a:pt x="714" y="201"/>
                </a:moveTo>
                <a:lnTo>
                  <a:pt x="714" y="201"/>
                </a:lnTo>
                <a:lnTo>
                  <a:pt x="728" y="199"/>
                </a:lnTo>
                <a:lnTo>
                  <a:pt x="742" y="195"/>
                </a:lnTo>
                <a:lnTo>
                  <a:pt x="742" y="195"/>
                </a:lnTo>
                <a:lnTo>
                  <a:pt x="745" y="194"/>
                </a:lnTo>
                <a:lnTo>
                  <a:pt x="744" y="191"/>
                </a:lnTo>
                <a:lnTo>
                  <a:pt x="742" y="188"/>
                </a:lnTo>
                <a:lnTo>
                  <a:pt x="742" y="186"/>
                </a:lnTo>
                <a:lnTo>
                  <a:pt x="744" y="184"/>
                </a:lnTo>
                <a:lnTo>
                  <a:pt x="744" y="184"/>
                </a:lnTo>
                <a:lnTo>
                  <a:pt x="745" y="181"/>
                </a:lnTo>
                <a:lnTo>
                  <a:pt x="744" y="178"/>
                </a:lnTo>
                <a:lnTo>
                  <a:pt x="741" y="176"/>
                </a:lnTo>
                <a:lnTo>
                  <a:pt x="738" y="176"/>
                </a:lnTo>
                <a:lnTo>
                  <a:pt x="731" y="175"/>
                </a:lnTo>
                <a:lnTo>
                  <a:pt x="727" y="176"/>
                </a:lnTo>
                <a:lnTo>
                  <a:pt x="727" y="176"/>
                </a:lnTo>
                <a:lnTo>
                  <a:pt x="725" y="176"/>
                </a:lnTo>
                <a:lnTo>
                  <a:pt x="721" y="175"/>
                </a:lnTo>
                <a:lnTo>
                  <a:pt x="711" y="171"/>
                </a:lnTo>
                <a:lnTo>
                  <a:pt x="700" y="165"/>
                </a:lnTo>
                <a:lnTo>
                  <a:pt x="696" y="165"/>
                </a:lnTo>
                <a:lnTo>
                  <a:pt x="693" y="167"/>
                </a:lnTo>
                <a:lnTo>
                  <a:pt x="693" y="167"/>
                </a:lnTo>
                <a:lnTo>
                  <a:pt x="693" y="169"/>
                </a:lnTo>
                <a:lnTo>
                  <a:pt x="693" y="175"/>
                </a:lnTo>
                <a:lnTo>
                  <a:pt x="698" y="186"/>
                </a:lnTo>
                <a:lnTo>
                  <a:pt x="701" y="192"/>
                </a:lnTo>
                <a:lnTo>
                  <a:pt x="705" y="196"/>
                </a:lnTo>
                <a:lnTo>
                  <a:pt x="710" y="199"/>
                </a:lnTo>
                <a:lnTo>
                  <a:pt x="714" y="201"/>
                </a:lnTo>
                <a:lnTo>
                  <a:pt x="714" y="201"/>
                </a:lnTo>
                <a:close/>
                <a:moveTo>
                  <a:pt x="771" y="203"/>
                </a:moveTo>
                <a:lnTo>
                  <a:pt x="771" y="203"/>
                </a:lnTo>
                <a:lnTo>
                  <a:pt x="768" y="203"/>
                </a:lnTo>
                <a:lnTo>
                  <a:pt x="762" y="202"/>
                </a:lnTo>
                <a:lnTo>
                  <a:pt x="744" y="205"/>
                </a:lnTo>
                <a:lnTo>
                  <a:pt x="728" y="208"/>
                </a:lnTo>
                <a:lnTo>
                  <a:pt x="724" y="211"/>
                </a:lnTo>
                <a:lnTo>
                  <a:pt x="724" y="212"/>
                </a:lnTo>
                <a:lnTo>
                  <a:pt x="724" y="212"/>
                </a:lnTo>
                <a:lnTo>
                  <a:pt x="724" y="212"/>
                </a:lnTo>
                <a:lnTo>
                  <a:pt x="731" y="215"/>
                </a:lnTo>
                <a:lnTo>
                  <a:pt x="738" y="216"/>
                </a:lnTo>
                <a:lnTo>
                  <a:pt x="745" y="216"/>
                </a:lnTo>
                <a:lnTo>
                  <a:pt x="754" y="213"/>
                </a:lnTo>
                <a:lnTo>
                  <a:pt x="767" y="209"/>
                </a:lnTo>
                <a:lnTo>
                  <a:pt x="771" y="206"/>
                </a:lnTo>
                <a:lnTo>
                  <a:pt x="771" y="203"/>
                </a:lnTo>
                <a:lnTo>
                  <a:pt x="771" y="203"/>
                </a:lnTo>
                <a:close/>
                <a:moveTo>
                  <a:pt x="764" y="307"/>
                </a:moveTo>
                <a:lnTo>
                  <a:pt x="764" y="307"/>
                </a:lnTo>
                <a:lnTo>
                  <a:pt x="768" y="307"/>
                </a:lnTo>
                <a:lnTo>
                  <a:pt x="769" y="305"/>
                </a:lnTo>
                <a:lnTo>
                  <a:pt x="771" y="302"/>
                </a:lnTo>
                <a:lnTo>
                  <a:pt x="769" y="299"/>
                </a:lnTo>
                <a:lnTo>
                  <a:pt x="768" y="295"/>
                </a:lnTo>
                <a:lnTo>
                  <a:pt x="765" y="289"/>
                </a:lnTo>
                <a:lnTo>
                  <a:pt x="755" y="280"/>
                </a:lnTo>
                <a:lnTo>
                  <a:pt x="755" y="280"/>
                </a:lnTo>
                <a:lnTo>
                  <a:pt x="750" y="279"/>
                </a:lnTo>
                <a:lnTo>
                  <a:pt x="742" y="279"/>
                </a:lnTo>
                <a:lnTo>
                  <a:pt x="735" y="280"/>
                </a:lnTo>
                <a:lnTo>
                  <a:pt x="728" y="283"/>
                </a:lnTo>
                <a:lnTo>
                  <a:pt x="721" y="287"/>
                </a:lnTo>
                <a:lnTo>
                  <a:pt x="717" y="290"/>
                </a:lnTo>
                <a:lnTo>
                  <a:pt x="715" y="295"/>
                </a:lnTo>
                <a:lnTo>
                  <a:pt x="714" y="296"/>
                </a:lnTo>
                <a:lnTo>
                  <a:pt x="715" y="296"/>
                </a:lnTo>
                <a:lnTo>
                  <a:pt x="715" y="296"/>
                </a:lnTo>
                <a:lnTo>
                  <a:pt x="724" y="300"/>
                </a:lnTo>
                <a:lnTo>
                  <a:pt x="737" y="305"/>
                </a:lnTo>
                <a:lnTo>
                  <a:pt x="751" y="307"/>
                </a:lnTo>
                <a:lnTo>
                  <a:pt x="764" y="307"/>
                </a:lnTo>
                <a:lnTo>
                  <a:pt x="764" y="307"/>
                </a:lnTo>
                <a:close/>
                <a:moveTo>
                  <a:pt x="673" y="407"/>
                </a:moveTo>
                <a:lnTo>
                  <a:pt x="673" y="407"/>
                </a:lnTo>
                <a:lnTo>
                  <a:pt x="677" y="410"/>
                </a:lnTo>
                <a:lnTo>
                  <a:pt x="681" y="411"/>
                </a:lnTo>
                <a:lnTo>
                  <a:pt x="684" y="410"/>
                </a:lnTo>
                <a:lnTo>
                  <a:pt x="686" y="407"/>
                </a:lnTo>
                <a:lnTo>
                  <a:pt x="691" y="403"/>
                </a:lnTo>
                <a:lnTo>
                  <a:pt x="696" y="400"/>
                </a:lnTo>
                <a:lnTo>
                  <a:pt x="701" y="400"/>
                </a:lnTo>
                <a:lnTo>
                  <a:pt x="701" y="400"/>
                </a:lnTo>
                <a:lnTo>
                  <a:pt x="707" y="398"/>
                </a:lnTo>
                <a:lnTo>
                  <a:pt x="711" y="396"/>
                </a:lnTo>
                <a:lnTo>
                  <a:pt x="715" y="390"/>
                </a:lnTo>
                <a:lnTo>
                  <a:pt x="717" y="384"/>
                </a:lnTo>
                <a:lnTo>
                  <a:pt x="720" y="371"/>
                </a:lnTo>
                <a:lnTo>
                  <a:pt x="723" y="360"/>
                </a:lnTo>
                <a:lnTo>
                  <a:pt x="723" y="360"/>
                </a:lnTo>
                <a:lnTo>
                  <a:pt x="723" y="357"/>
                </a:lnTo>
                <a:lnTo>
                  <a:pt x="721" y="354"/>
                </a:lnTo>
                <a:lnTo>
                  <a:pt x="720" y="353"/>
                </a:lnTo>
                <a:lnTo>
                  <a:pt x="717" y="353"/>
                </a:lnTo>
                <a:lnTo>
                  <a:pt x="714" y="353"/>
                </a:lnTo>
                <a:lnTo>
                  <a:pt x="713" y="354"/>
                </a:lnTo>
                <a:lnTo>
                  <a:pt x="711" y="356"/>
                </a:lnTo>
                <a:lnTo>
                  <a:pt x="713" y="359"/>
                </a:lnTo>
                <a:lnTo>
                  <a:pt x="713" y="359"/>
                </a:lnTo>
                <a:lnTo>
                  <a:pt x="714" y="364"/>
                </a:lnTo>
                <a:lnTo>
                  <a:pt x="714" y="369"/>
                </a:lnTo>
                <a:lnTo>
                  <a:pt x="713" y="369"/>
                </a:lnTo>
                <a:lnTo>
                  <a:pt x="711" y="369"/>
                </a:lnTo>
                <a:lnTo>
                  <a:pt x="710" y="364"/>
                </a:lnTo>
                <a:lnTo>
                  <a:pt x="710" y="364"/>
                </a:lnTo>
                <a:lnTo>
                  <a:pt x="710" y="363"/>
                </a:lnTo>
                <a:lnTo>
                  <a:pt x="707" y="361"/>
                </a:lnTo>
                <a:lnTo>
                  <a:pt x="701" y="360"/>
                </a:lnTo>
                <a:lnTo>
                  <a:pt x="696" y="360"/>
                </a:lnTo>
                <a:lnTo>
                  <a:pt x="693" y="359"/>
                </a:lnTo>
                <a:lnTo>
                  <a:pt x="690" y="357"/>
                </a:lnTo>
                <a:lnTo>
                  <a:pt x="690" y="357"/>
                </a:lnTo>
                <a:lnTo>
                  <a:pt x="690" y="354"/>
                </a:lnTo>
                <a:lnTo>
                  <a:pt x="691" y="353"/>
                </a:lnTo>
                <a:lnTo>
                  <a:pt x="697" y="349"/>
                </a:lnTo>
                <a:lnTo>
                  <a:pt x="705" y="346"/>
                </a:lnTo>
                <a:lnTo>
                  <a:pt x="708" y="343"/>
                </a:lnTo>
                <a:lnTo>
                  <a:pt x="711" y="340"/>
                </a:lnTo>
                <a:lnTo>
                  <a:pt x="711" y="340"/>
                </a:lnTo>
                <a:lnTo>
                  <a:pt x="711" y="337"/>
                </a:lnTo>
                <a:lnTo>
                  <a:pt x="711" y="334"/>
                </a:lnTo>
                <a:lnTo>
                  <a:pt x="705" y="332"/>
                </a:lnTo>
                <a:lnTo>
                  <a:pt x="700" y="329"/>
                </a:lnTo>
                <a:lnTo>
                  <a:pt x="698" y="327"/>
                </a:lnTo>
                <a:lnTo>
                  <a:pt x="700" y="324"/>
                </a:lnTo>
                <a:lnTo>
                  <a:pt x="700" y="324"/>
                </a:lnTo>
                <a:lnTo>
                  <a:pt x="700" y="324"/>
                </a:lnTo>
                <a:lnTo>
                  <a:pt x="700" y="323"/>
                </a:lnTo>
                <a:lnTo>
                  <a:pt x="697" y="322"/>
                </a:lnTo>
                <a:lnTo>
                  <a:pt x="687" y="323"/>
                </a:lnTo>
                <a:lnTo>
                  <a:pt x="678" y="326"/>
                </a:lnTo>
                <a:lnTo>
                  <a:pt x="677" y="329"/>
                </a:lnTo>
                <a:lnTo>
                  <a:pt x="678" y="330"/>
                </a:lnTo>
                <a:lnTo>
                  <a:pt x="678" y="330"/>
                </a:lnTo>
                <a:lnTo>
                  <a:pt x="683" y="332"/>
                </a:lnTo>
                <a:lnTo>
                  <a:pt x="683" y="333"/>
                </a:lnTo>
                <a:lnTo>
                  <a:pt x="683" y="334"/>
                </a:lnTo>
                <a:lnTo>
                  <a:pt x="683" y="336"/>
                </a:lnTo>
                <a:lnTo>
                  <a:pt x="677" y="336"/>
                </a:lnTo>
                <a:lnTo>
                  <a:pt x="673" y="334"/>
                </a:lnTo>
                <a:lnTo>
                  <a:pt x="670" y="333"/>
                </a:lnTo>
                <a:lnTo>
                  <a:pt x="670" y="333"/>
                </a:lnTo>
                <a:lnTo>
                  <a:pt x="666" y="332"/>
                </a:lnTo>
                <a:lnTo>
                  <a:pt x="660" y="330"/>
                </a:lnTo>
                <a:lnTo>
                  <a:pt x="654" y="332"/>
                </a:lnTo>
                <a:lnTo>
                  <a:pt x="649" y="333"/>
                </a:lnTo>
                <a:lnTo>
                  <a:pt x="644" y="336"/>
                </a:lnTo>
                <a:lnTo>
                  <a:pt x="641" y="339"/>
                </a:lnTo>
                <a:lnTo>
                  <a:pt x="640" y="343"/>
                </a:lnTo>
                <a:lnTo>
                  <a:pt x="641" y="346"/>
                </a:lnTo>
                <a:lnTo>
                  <a:pt x="641" y="346"/>
                </a:lnTo>
                <a:lnTo>
                  <a:pt x="646" y="347"/>
                </a:lnTo>
                <a:lnTo>
                  <a:pt x="650" y="349"/>
                </a:lnTo>
                <a:lnTo>
                  <a:pt x="659" y="349"/>
                </a:lnTo>
                <a:lnTo>
                  <a:pt x="663" y="349"/>
                </a:lnTo>
                <a:lnTo>
                  <a:pt x="664" y="350"/>
                </a:lnTo>
                <a:lnTo>
                  <a:pt x="663" y="354"/>
                </a:lnTo>
                <a:lnTo>
                  <a:pt x="660" y="360"/>
                </a:lnTo>
                <a:lnTo>
                  <a:pt x="660" y="360"/>
                </a:lnTo>
                <a:lnTo>
                  <a:pt x="656" y="364"/>
                </a:lnTo>
                <a:lnTo>
                  <a:pt x="651" y="367"/>
                </a:lnTo>
                <a:lnTo>
                  <a:pt x="647" y="367"/>
                </a:lnTo>
                <a:lnTo>
                  <a:pt x="643" y="364"/>
                </a:lnTo>
                <a:lnTo>
                  <a:pt x="636" y="359"/>
                </a:lnTo>
                <a:lnTo>
                  <a:pt x="633" y="357"/>
                </a:lnTo>
                <a:lnTo>
                  <a:pt x="627" y="357"/>
                </a:lnTo>
                <a:lnTo>
                  <a:pt x="627" y="357"/>
                </a:lnTo>
                <a:lnTo>
                  <a:pt x="624" y="359"/>
                </a:lnTo>
                <a:lnTo>
                  <a:pt x="622" y="361"/>
                </a:lnTo>
                <a:lnTo>
                  <a:pt x="622" y="364"/>
                </a:lnTo>
                <a:lnTo>
                  <a:pt x="622" y="367"/>
                </a:lnTo>
                <a:lnTo>
                  <a:pt x="624" y="371"/>
                </a:lnTo>
                <a:lnTo>
                  <a:pt x="629" y="374"/>
                </a:lnTo>
                <a:lnTo>
                  <a:pt x="633" y="378"/>
                </a:lnTo>
                <a:lnTo>
                  <a:pt x="640" y="380"/>
                </a:lnTo>
                <a:lnTo>
                  <a:pt x="640" y="380"/>
                </a:lnTo>
                <a:lnTo>
                  <a:pt x="646" y="383"/>
                </a:lnTo>
                <a:lnTo>
                  <a:pt x="651" y="386"/>
                </a:lnTo>
                <a:lnTo>
                  <a:pt x="657" y="393"/>
                </a:lnTo>
                <a:lnTo>
                  <a:pt x="664" y="400"/>
                </a:lnTo>
                <a:lnTo>
                  <a:pt x="667" y="404"/>
                </a:lnTo>
                <a:lnTo>
                  <a:pt x="673" y="407"/>
                </a:lnTo>
                <a:lnTo>
                  <a:pt x="673" y="407"/>
                </a:lnTo>
                <a:close/>
                <a:moveTo>
                  <a:pt x="788" y="293"/>
                </a:moveTo>
                <a:lnTo>
                  <a:pt x="788" y="293"/>
                </a:lnTo>
                <a:lnTo>
                  <a:pt x="791" y="297"/>
                </a:lnTo>
                <a:lnTo>
                  <a:pt x="792" y="300"/>
                </a:lnTo>
                <a:lnTo>
                  <a:pt x="795" y="302"/>
                </a:lnTo>
                <a:lnTo>
                  <a:pt x="797" y="302"/>
                </a:lnTo>
                <a:lnTo>
                  <a:pt x="801" y="302"/>
                </a:lnTo>
                <a:lnTo>
                  <a:pt x="804" y="302"/>
                </a:lnTo>
                <a:lnTo>
                  <a:pt x="806" y="303"/>
                </a:lnTo>
                <a:lnTo>
                  <a:pt x="806" y="303"/>
                </a:lnTo>
                <a:lnTo>
                  <a:pt x="814" y="307"/>
                </a:lnTo>
                <a:lnTo>
                  <a:pt x="821" y="310"/>
                </a:lnTo>
                <a:lnTo>
                  <a:pt x="828" y="310"/>
                </a:lnTo>
                <a:lnTo>
                  <a:pt x="831" y="309"/>
                </a:lnTo>
                <a:lnTo>
                  <a:pt x="834" y="307"/>
                </a:lnTo>
                <a:lnTo>
                  <a:pt x="834" y="307"/>
                </a:lnTo>
                <a:lnTo>
                  <a:pt x="841" y="300"/>
                </a:lnTo>
                <a:lnTo>
                  <a:pt x="843" y="300"/>
                </a:lnTo>
                <a:lnTo>
                  <a:pt x="845" y="302"/>
                </a:lnTo>
                <a:lnTo>
                  <a:pt x="845" y="302"/>
                </a:lnTo>
                <a:lnTo>
                  <a:pt x="846" y="305"/>
                </a:lnTo>
                <a:lnTo>
                  <a:pt x="849" y="307"/>
                </a:lnTo>
                <a:lnTo>
                  <a:pt x="861" y="310"/>
                </a:lnTo>
                <a:lnTo>
                  <a:pt x="876" y="312"/>
                </a:lnTo>
                <a:lnTo>
                  <a:pt x="898" y="312"/>
                </a:lnTo>
                <a:lnTo>
                  <a:pt x="898" y="312"/>
                </a:lnTo>
                <a:lnTo>
                  <a:pt x="909" y="312"/>
                </a:lnTo>
                <a:lnTo>
                  <a:pt x="916" y="310"/>
                </a:lnTo>
                <a:lnTo>
                  <a:pt x="922" y="309"/>
                </a:lnTo>
                <a:lnTo>
                  <a:pt x="925" y="306"/>
                </a:lnTo>
                <a:lnTo>
                  <a:pt x="929" y="303"/>
                </a:lnTo>
                <a:lnTo>
                  <a:pt x="930" y="303"/>
                </a:lnTo>
                <a:lnTo>
                  <a:pt x="933" y="303"/>
                </a:lnTo>
                <a:lnTo>
                  <a:pt x="933" y="303"/>
                </a:lnTo>
                <a:lnTo>
                  <a:pt x="943" y="307"/>
                </a:lnTo>
                <a:lnTo>
                  <a:pt x="954" y="309"/>
                </a:lnTo>
                <a:lnTo>
                  <a:pt x="967" y="309"/>
                </a:lnTo>
                <a:lnTo>
                  <a:pt x="976" y="307"/>
                </a:lnTo>
                <a:lnTo>
                  <a:pt x="976" y="307"/>
                </a:lnTo>
                <a:lnTo>
                  <a:pt x="980" y="306"/>
                </a:lnTo>
                <a:lnTo>
                  <a:pt x="983" y="303"/>
                </a:lnTo>
                <a:lnTo>
                  <a:pt x="987" y="296"/>
                </a:lnTo>
                <a:lnTo>
                  <a:pt x="990" y="289"/>
                </a:lnTo>
                <a:lnTo>
                  <a:pt x="990" y="282"/>
                </a:lnTo>
                <a:lnTo>
                  <a:pt x="990" y="282"/>
                </a:lnTo>
                <a:lnTo>
                  <a:pt x="990" y="280"/>
                </a:lnTo>
                <a:lnTo>
                  <a:pt x="987" y="279"/>
                </a:lnTo>
                <a:lnTo>
                  <a:pt x="979" y="276"/>
                </a:lnTo>
                <a:lnTo>
                  <a:pt x="966" y="275"/>
                </a:lnTo>
                <a:lnTo>
                  <a:pt x="950" y="273"/>
                </a:lnTo>
                <a:lnTo>
                  <a:pt x="935" y="272"/>
                </a:lnTo>
                <a:lnTo>
                  <a:pt x="920" y="272"/>
                </a:lnTo>
                <a:lnTo>
                  <a:pt x="907" y="273"/>
                </a:lnTo>
                <a:lnTo>
                  <a:pt x="900" y="275"/>
                </a:lnTo>
                <a:lnTo>
                  <a:pt x="900" y="275"/>
                </a:lnTo>
                <a:lnTo>
                  <a:pt x="895" y="277"/>
                </a:lnTo>
                <a:lnTo>
                  <a:pt x="889" y="277"/>
                </a:lnTo>
                <a:lnTo>
                  <a:pt x="876" y="277"/>
                </a:lnTo>
                <a:lnTo>
                  <a:pt x="865" y="276"/>
                </a:lnTo>
                <a:lnTo>
                  <a:pt x="859" y="276"/>
                </a:lnTo>
                <a:lnTo>
                  <a:pt x="855" y="277"/>
                </a:lnTo>
                <a:lnTo>
                  <a:pt x="855" y="277"/>
                </a:lnTo>
                <a:lnTo>
                  <a:pt x="851" y="279"/>
                </a:lnTo>
                <a:lnTo>
                  <a:pt x="849" y="279"/>
                </a:lnTo>
                <a:lnTo>
                  <a:pt x="845" y="276"/>
                </a:lnTo>
                <a:lnTo>
                  <a:pt x="839" y="272"/>
                </a:lnTo>
                <a:lnTo>
                  <a:pt x="835" y="270"/>
                </a:lnTo>
                <a:lnTo>
                  <a:pt x="828" y="269"/>
                </a:lnTo>
                <a:lnTo>
                  <a:pt x="828" y="269"/>
                </a:lnTo>
                <a:lnTo>
                  <a:pt x="824" y="269"/>
                </a:lnTo>
                <a:lnTo>
                  <a:pt x="821" y="268"/>
                </a:lnTo>
                <a:lnTo>
                  <a:pt x="821" y="266"/>
                </a:lnTo>
                <a:lnTo>
                  <a:pt x="822" y="263"/>
                </a:lnTo>
                <a:lnTo>
                  <a:pt x="834" y="255"/>
                </a:lnTo>
                <a:lnTo>
                  <a:pt x="834" y="255"/>
                </a:lnTo>
                <a:lnTo>
                  <a:pt x="834" y="253"/>
                </a:lnTo>
                <a:lnTo>
                  <a:pt x="831" y="250"/>
                </a:lnTo>
                <a:lnTo>
                  <a:pt x="818" y="246"/>
                </a:lnTo>
                <a:lnTo>
                  <a:pt x="804" y="242"/>
                </a:lnTo>
                <a:lnTo>
                  <a:pt x="797" y="242"/>
                </a:lnTo>
                <a:lnTo>
                  <a:pt x="791" y="242"/>
                </a:lnTo>
                <a:lnTo>
                  <a:pt x="791" y="242"/>
                </a:lnTo>
                <a:lnTo>
                  <a:pt x="781" y="242"/>
                </a:lnTo>
                <a:lnTo>
                  <a:pt x="774" y="240"/>
                </a:lnTo>
                <a:lnTo>
                  <a:pt x="757" y="232"/>
                </a:lnTo>
                <a:lnTo>
                  <a:pt x="757" y="232"/>
                </a:lnTo>
                <a:lnTo>
                  <a:pt x="751" y="231"/>
                </a:lnTo>
                <a:lnTo>
                  <a:pt x="744" y="229"/>
                </a:lnTo>
                <a:lnTo>
                  <a:pt x="728" y="229"/>
                </a:lnTo>
                <a:lnTo>
                  <a:pt x="723" y="229"/>
                </a:lnTo>
                <a:lnTo>
                  <a:pt x="717" y="232"/>
                </a:lnTo>
                <a:lnTo>
                  <a:pt x="715" y="235"/>
                </a:lnTo>
                <a:lnTo>
                  <a:pt x="715" y="238"/>
                </a:lnTo>
                <a:lnTo>
                  <a:pt x="715" y="238"/>
                </a:lnTo>
                <a:lnTo>
                  <a:pt x="720" y="240"/>
                </a:lnTo>
                <a:lnTo>
                  <a:pt x="725" y="243"/>
                </a:lnTo>
                <a:lnTo>
                  <a:pt x="741" y="250"/>
                </a:lnTo>
                <a:lnTo>
                  <a:pt x="758" y="255"/>
                </a:lnTo>
                <a:lnTo>
                  <a:pt x="764" y="255"/>
                </a:lnTo>
                <a:lnTo>
                  <a:pt x="767" y="252"/>
                </a:lnTo>
                <a:lnTo>
                  <a:pt x="767" y="252"/>
                </a:lnTo>
                <a:lnTo>
                  <a:pt x="768" y="250"/>
                </a:lnTo>
                <a:lnTo>
                  <a:pt x="771" y="250"/>
                </a:lnTo>
                <a:lnTo>
                  <a:pt x="777" y="255"/>
                </a:lnTo>
                <a:lnTo>
                  <a:pt x="788" y="269"/>
                </a:lnTo>
                <a:lnTo>
                  <a:pt x="788" y="269"/>
                </a:lnTo>
                <a:lnTo>
                  <a:pt x="789" y="272"/>
                </a:lnTo>
                <a:lnTo>
                  <a:pt x="789" y="275"/>
                </a:lnTo>
                <a:lnTo>
                  <a:pt x="788" y="279"/>
                </a:lnTo>
                <a:lnTo>
                  <a:pt x="787" y="285"/>
                </a:lnTo>
                <a:lnTo>
                  <a:pt x="788" y="289"/>
                </a:lnTo>
                <a:lnTo>
                  <a:pt x="788" y="293"/>
                </a:lnTo>
                <a:lnTo>
                  <a:pt x="788" y="293"/>
                </a:lnTo>
                <a:close/>
                <a:moveTo>
                  <a:pt x="825" y="209"/>
                </a:moveTo>
                <a:lnTo>
                  <a:pt x="825" y="209"/>
                </a:lnTo>
                <a:lnTo>
                  <a:pt x="819" y="208"/>
                </a:lnTo>
                <a:lnTo>
                  <a:pt x="815" y="208"/>
                </a:lnTo>
                <a:lnTo>
                  <a:pt x="811" y="209"/>
                </a:lnTo>
                <a:lnTo>
                  <a:pt x="806" y="212"/>
                </a:lnTo>
                <a:lnTo>
                  <a:pt x="805" y="215"/>
                </a:lnTo>
                <a:lnTo>
                  <a:pt x="804" y="216"/>
                </a:lnTo>
                <a:lnTo>
                  <a:pt x="805" y="219"/>
                </a:lnTo>
                <a:lnTo>
                  <a:pt x="809" y="222"/>
                </a:lnTo>
                <a:lnTo>
                  <a:pt x="809" y="222"/>
                </a:lnTo>
                <a:lnTo>
                  <a:pt x="814" y="223"/>
                </a:lnTo>
                <a:lnTo>
                  <a:pt x="818" y="222"/>
                </a:lnTo>
                <a:lnTo>
                  <a:pt x="822" y="222"/>
                </a:lnTo>
                <a:lnTo>
                  <a:pt x="826" y="219"/>
                </a:lnTo>
                <a:lnTo>
                  <a:pt x="828" y="218"/>
                </a:lnTo>
                <a:lnTo>
                  <a:pt x="829" y="215"/>
                </a:lnTo>
                <a:lnTo>
                  <a:pt x="828" y="212"/>
                </a:lnTo>
                <a:lnTo>
                  <a:pt x="825" y="209"/>
                </a:lnTo>
                <a:lnTo>
                  <a:pt x="825" y="209"/>
                </a:lnTo>
                <a:close/>
                <a:moveTo>
                  <a:pt x="723" y="130"/>
                </a:moveTo>
                <a:lnTo>
                  <a:pt x="723" y="130"/>
                </a:lnTo>
                <a:lnTo>
                  <a:pt x="725" y="132"/>
                </a:lnTo>
                <a:lnTo>
                  <a:pt x="728" y="134"/>
                </a:lnTo>
                <a:lnTo>
                  <a:pt x="730" y="138"/>
                </a:lnTo>
                <a:lnTo>
                  <a:pt x="733" y="144"/>
                </a:lnTo>
                <a:lnTo>
                  <a:pt x="734" y="145"/>
                </a:lnTo>
                <a:lnTo>
                  <a:pt x="738" y="147"/>
                </a:lnTo>
                <a:lnTo>
                  <a:pt x="738" y="147"/>
                </a:lnTo>
                <a:lnTo>
                  <a:pt x="742" y="148"/>
                </a:lnTo>
                <a:lnTo>
                  <a:pt x="750" y="148"/>
                </a:lnTo>
                <a:lnTo>
                  <a:pt x="765" y="147"/>
                </a:lnTo>
                <a:lnTo>
                  <a:pt x="778" y="145"/>
                </a:lnTo>
                <a:lnTo>
                  <a:pt x="782" y="147"/>
                </a:lnTo>
                <a:lnTo>
                  <a:pt x="785" y="148"/>
                </a:lnTo>
                <a:lnTo>
                  <a:pt x="785" y="148"/>
                </a:lnTo>
                <a:lnTo>
                  <a:pt x="784" y="151"/>
                </a:lnTo>
                <a:lnTo>
                  <a:pt x="781" y="154"/>
                </a:lnTo>
                <a:lnTo>
                  <a:pt x="769" y="157"/>
                </a:lnTo>
                <a:lnTo>
                  <a:pt x="760" y="159"/>
                </a:lnTo>
                <a:lnTo>
                  <a:pt x="757" y="161"/>
                </a:lnTo>
                <a:lnTo>
                  <a:pt x="757" y="161"/>
                </a:lnTo>
                <a:lnTo>
                  <a:pt x="757" y="162"/>
                </a:lnTo>
                <a:lnTo>
                  <a:pt x="757" y="162"/>
                </a:lnTo>
                <a:lnTo>
                  <a:pt x="762" y="167"/>
                </a:lnTo>
                <a:lnTo>
                  <a:pt x="771" y="171"/>
                </a:lnTo>
                <a:lnTo>
                  <a:pt x="778" y="175"/>
                </a:lnTo>
                <a:lnTo>
                  <a:pt x="779" y="178"/>
                </a:lnTo>
                <a:lnTo>
                  <a:pt x="779" y="179"/>
                </a:lnTo>
                <a:lnTo>
                  <a:pt x="779" y="179"/>
                </a:lnTo>
                <a:lnTo>
                  <a:pt x="779" y="181"/>
                </a:lnTo>
                <a:lnTo>
                  <a:pt x="784" y="184"/>
                </a:lnTo>
                <a:lnTo>
                  <a:pt x="795" y="188"/>
                </a:lnTo>
                <a:lnTo>
                  <a:pt x="809" y="191"/>
                </a:lnTo>
                <a:lnTo>
                  <a:pt x="814" y="191"/>
                </a:lnTo>
                <a:lnTo>
                  <a:pt x="816" y="189"/>
                </a:lnTo>
                <a:lnTo>
                  <a:pt x="816" y="189"/>
                </a:lnTo>
                <a:lnTo>
                  <a:pt x="821" y="186"/>
                </a:lnTo>
                <a:lnTo>
                  <a:pt x="826" y="186"/>
                </a:lnTo>
                <a:lnTo>
                  <a:pt x="832" y="186"/>
                </a:lnTo>
                <a:lnTo>
                  <a:pt x="839" y="189"/>
                </a:lnTo>
                <a:lnTo>
                  <a:pt x="839" y="189"/>
                </a:lnTo>
                <a:lnTo>
                  <a:pt x="843" y="189"/>
                </a:lnTo>
                <a:lnTo>
                  <a:pt x="845" y="188"/>
                </a:lnTo>
                <a:lnTo>
                  <a:pt x="849" y="179"/>
                </a:lnTo>
                <a:lnTo>
                  <a:pt x="852" y="172"/>
                </a:lnTo>
                <a:lnTo>
                  <a:pt x="853" y="171"/>
                </a:lnTo>
                <a:lnTo>
                  <a:pt x="856" y="171"/>
                </a:lnTo>
                <a:lnTo>
                  <a:pt x="856" y="171"/>
                </a:lnTo>
                <a:lnTo>
                  <a:pt x="858" y="172"/>
                </a:lnTo>
                <a:lnTo>
                  <a:pt x="859" y="172"/>
                </a:lnTo>
                <a:lnTo>
                  <a:pt x="862" y="168"/>
                </a:lnTo>
                <a:lnTo>
                  <a:pt x="866" y="162"/>
                </a:lnTo>
                <a:lnTo>
                  <a:pt x="869" y="159"/>
                </a:lnTo>
                <a:lnTo>
                  <a:pt x="872" y="158"/>
                </a:lnTo>
                <a:lnTo>
                  <a:pt x="872" y="158"/>
                </a:lnTo>
                <a:lnTo>
                  <a:pt x="880" y="155"/>
                </a:lnTo>
                <a:lnTo>
                  <a:pt x="889" y="154"/>
                </a:lnTo>
                <a:lnTo>
                  <a:pt x="896" y="151"/>
                </a:lnTo>
                <a:lnTo>
                  <a:pt x="899" y="151"/>
                </a:lnTo>
                <a:lnTo>
                  <a:pt x="899" y="148"/>
                </a:lnTo>
                <a:lnTo>
                  <a:pt x="899" y="148"/>
                </a:lnTo>
                <a:lnTo>
                  <a:pt x="899" y="145"/>
                </a:lnTo>
                <a:lnTo>
                  <a:pt x="896" y="144"/>
                </a:lnTo>
                <a:lnTo>
                  <a:pt x="892" y="141"/>
                </a:lnTo>
                <a:lnTo>
                  <a:pt x="883" y="141"/>
                </a:lnTo>
                <a:lnTo>
                  <a:pt x="883" y="141"/>
                </a:lnTo>
                <a:lnTo>
                  <a:pt x="875" y="141"/>
                </a:lnTo>
                <a:lnTo>
                  <a:pt x="869" y="139"/>
                </a:lnTo>
                <a:lnTo>
                  <a:pt x="868" y="138"/>
                </a:lnTo>
                <a:lnTo>
                  <a:pt x="866" y="135"/>
                </a:lnTo>
                <a:lnTo>
                  <a:pt x="866" y="134"/>
                </a:lnTo>
                <a:lnTo>
                  <a:pt x="868" y="131"/>
                </a:lnTo>
                <a:lnTo>
                  <a:pt x="868" y="131"/>
                </a:lnTo>
                <a:lnTo>
                  <a:pt x="869" y="128"/>
                </a:lnTo>
                <a:lnTo>
                  <a:pt x="869" y="127"/>
                </a:lnTo>
                <a:lnTo>
                  <a:pt x="863" y="122"/>
                </a:lnTo>
                <a:lnTo>
                  <a:pt x="861" y="120"/>
                </a:lnTo>
                <a:lnTo>
                  <a:pt x="859" y="118"/>
                </a:lnTo>
                <a:lnTo>
                  <a:pt x="861" y="115"/>
                </a:lnTo>
                <a:lnTo>
                  <a:pt x="861" y="115"/>
                </a:lnTo>
                <a:lnTo>
                  <a:pt x="862" y="114"/>
                </a:lnTo>
                <a:lnTo>
                  <a:pt x="862" y="112"/>
                </a:lnTo>
                <a:lnTo>
                  <a:pt x="861" y="110"/>
                </a:lnTo>
                <a:lnTo>
                  <a:pt x="858" y="110"/>
                </a:lnTo>
                <a:lnTo>
                  <a:pt x="855" y="108"/>
                </a:lnTo>
                <a:lnTo>
                  <a:pt x="852" y="110"/>
                </a:lnTo>
                <a:lnTo>
                  <a:pt x="849" y="111"/>
                </a:lnTo>
                <a:lnTo>
                  <a:pt x="849" y="112"/>
                </a:lnTo>
                <a:lnTo>
                  <a:pt x="849" y="112"/>
                </a:lnTo>
                <a:lnTo>
                  <a:pt x="849" y="115"/>
                </a:lnTo>
                <a:lnTo>
                  <a:pt x="849" y="117"/>
                </a:lnTo>
                <a:lnTo>
                  <a:pt x="846" y="117"/>
                </a:lnTo>
                <a:lnTo>
                  <a:pt x="843" y="115"/>
                </a:lnTo>
                <a:lnTo>
                  <a:pt x="838" y="111"/>
                </a:lnTo>
                <a:lnTo>
                  <a:pt x="836" y="108"/>
                </a:lnTo>
                <a:lnTo>
                  <a:pt x="835" y="105"/>
                </a:lnTo>
                <a:lnTo>
                  <a:pt x="835" y="105"/>
                </a:lnTo>
                <a:lnTo>
                  <a:pt x="832" y="102"/>
                </a:lnTo>
                <a:lnTo>
                  <a:pt x="829" y="101"/>
                </a:lnTo>
                <a:lnTo>
                  <a:pt x="816" y="95"/>
                </a:lnTo>
                <a:lnTo>
                  <a:pt x="799" y="88"/>
                </a:lnTo>
                <a:lnTo>
                  <a:pt x="792" y="84"/>
                </a:lnTo>
                <a:lnTo>
                  <a:pt x="784" y="78"/>
                </a:lnTo>
                <a:lnTo>
                  <a:pt x="784" y="78"/>
                </a:lnTo>
                <a:lnTo>
                  <a:pt x="777" y="73"/>
                </a:lnTo>
                <a:lnTo>
                  <a:pt x="769" y="70"/>
                </a:lnTo>
                <a:lnTo>
                  <a:pt x="764" y="68"/>
                </a:lnTo>
                <a:lnTo>
                  <a:pt x="760" y="70"/>
                </a:lnTo>
                <a:lnTo>
                  <a:pt x="755" y="70"/>
                </a:lnTo>
                <a:lnTo>
                  <a:pt x="754" y="71"/>
                </a:lnTo>
                <a:lnTo>
                  <a:pt x="754" y="74"/>
                </a:lnTo>
                <a:lnTo>
                  <a:pt x="757" y="74"/>
                </a:lnTo>
                <a:lnTo>
                  <a:pt x="757" y="74"/>
                </a:lnTo>
                <a:lnTo>
                  <a:pt x="762" y="77"/>
                </a:lnTo>
                <a:lnTo>
                  <a:pt x="765" y="80"/>
                </a:lnTo>
                <a:lnTo>
                  <a:pt x="764" y="80"/>
                </a:lnTo>
                <a:lnTo>
                  <a:pt x="764" y="81"/>
                </a:lnTo>
                <a:lnTo>
                  <a:pt x="758" y="81"/>
                </a:lnTo>
                <a:lnTo>
                  <a:pt x="758" y="81"/>
                </a:lnTo>
                <a:lnTo>
                  <a:pt x="750" y="81"/>
                </a:lnTo>
                <a:lnTo>
                  <a:pt x="744" y="83"/>
                </a:lnTo>
                <a:lnTo>
                  <a:pt x="741" y="84"/>
                </a:lnTo>
                <a:lnTo>
                  <a:pt x="741" y="84"/>
                </a:lnTo>
                <a:lnTo>
                  <a:pt x="742" y="87"/>
                </a:lnTo>
                <a:lnTo>
                  <a:pt x="747" y="88"/>
                </a:lnTo>
                <a:lnTo>
                  <a:pt x="747" y="88"/>
                </a:lnTo>
                <a:lnTo>
                  <a:pt x="751" y="90"/>
                </a:lnTo>
                <a:lnTo>
                  <a:pt x="752" y="91"/>
                </a:lnTo>
                <a:lnTo>
                  <a:pt x="752" y="93"/>
                </a:lnTo>
                <a:lnTo>
                  <a:pt x="751" y="94"/>
                </a:lnTo>
                <a:lnTo>
                  <a:pt x="742" y="95"/>
                </a:lnTo>
                <a:lnTo>
                  <a:pt x="734" y="95"/>
                </a:lnTo>
                <a:lnTo>
                  <a:pt x="734" y="95"/>
                </a:lnTo>
                <a:lnTo>
                  <a:pt x="730" y="97"/>
                </a:lnTo>
                <a:lnTo>
                  <a:pt x="727" y="98"/>
                </a:lnTo>
                <a:lnTo>
                  <a:pt x="725" y="101"/>
                </a:lnTo>
                <a:lnTo>
                  <a:pt x="725" y="104"/>
                </a:lnTo>
                <a:lnTo>
                  <a:pt x="725" y="107"/>
                </a:lnTo>
                <a:lnTo>
                  <a:pt x="728" y="110"/>
                </a:lnTo>
                <a:lnTo>
                  <a:pt x="731" y="112"/>
                </a:lnTo>
                <a:lnTo>
                  <a:pt x="737" y="114"/>
                </a:lnTo>
                <a:lnTo>
                  <a:pt x="737" y="114"/>
                </a:lnTo>
                <a:lnTo>
                  <a:pt x="741" y="115"/>
                </a:lnTo>
                <a:lnTo>
                  <a:pt x="744" y="117"/>
                </a:lnTo>
                <a:lnTo>
                  <a:pt x="744" y="118"/>
                </a:lnTo>
                <a:lnTo>
                  <a:pt x="742" y="120"/>
                </a:lnTo>
                <a:lnTo>
                  <a:pt x="741" y="121"/>
                </a:lnTo>
                <a:lnTo>
                  <a:pt x="737" y="122"/>
                </a:lnTo>
                <a:lnTo>
                  <a:pt x="733" y="122"/>
                </a:lnTo>
                <a:lnTo>
                  <a:pt x="728" y="121"/>
                </a:lnTo>
                <a:lnTo>
                  <a:pt x="728" y="121"/>
                </a:lnTo>
                <a:lnTo>
                  <a:pt x="720" y="121"/>
                </a:lnTo>
                <a:lnTo>
                  <a:pt x="718" y="121"/>
                </a:lnTo>
                <a:lnTo>
                  <a:pt x="715" y="122"/>
                </a:lnTo>
                <a:lnTo>
                  <a:pt x="715" y="124"/>
                </a:lnTo>
                <a:lnTo>
                  <a:pt x="717" y="125"/>
                </a:lnTo>
                <a:lnTo>
                  <a:pt x="723" y="130"/>
                </a:lnTo>
                <a:lnTo>
                  <a:pt x="723" y="130"/>
                </a:lnTo>
                <a:close/>
                <a:moveTo>
                  <a:pt x="808" y="60"/>
                </a:moveTo>
                <a:lnTo>
                  <a:pt x="808" y="60"/>
                </a:lnTo>
                <a:lnTo>
                  <a:pt x="815" y="57"/>
                </a:lnTo>
                <a:lnTo>
                  <a:pt x="819" y="57"/>
                </a:lnTo>
                <a:lnTo>
                  <a:pt x="821" y="57"/>
                </a:lnTo>
                <a:lnTo>
                  <a:pt x="821" y="58"/>
                </a:lnTo>
                <a:lnTo>
                  <a:pt x="821" y="60"/>
                </a:lnTo>
                <a:lnTo>
                  <a:pt x="818" y="61"/>
                </a:lnTo>
                <a:lnTo>
                  <a:pt x="818" y="61"/>
                </a:lnTo>
                <a:lnTo>
                  <a:pt x="814" y="64"/>
                </a:lnTo>
                <a:lnTo>
                  <a:pt x="812" y="66"/>
                </a:lnTo>
                <a:lnTo>
                  <a:pt x="814" y="67"/>
                </a:lnTo>
                <a:lnTo>
                  <a:pt x="816" y="68"/>
                </a:lnTo>
                <a:lnTo>
                  <a:pt x="824" y="68"/>
                </a:lnTo>
                <a:lnTo>
                  <a:pt x="824" y="68"/>
                </a:lnTo>
                <a:lnTo>
                  <a:pt x="828" y="68"/>
                </a:lnTo>
                <a:lnTo>
                  <a:pt x="826" y="71"/>
                </a:lnTo>
                <a:lnTo>
                  <a:pt x="822" y="74"/>
                </a:lnTo>
                <a:lnTo>
                  <a:pt x="819" y="77"/>
                </a:lnTo>
                <a:lnTo>
                  <a:pt x="819" y="78"/>
                </a:lnTo>
                <a:lnTo>
                  <a:pt x="819" y="78"/>
                </a:lnTo>
                <a:lnTo>
                  <a:pt x="819" y="81"/>
                </a:lnTo>
                <a:lnTo>
                  <a:pt x="821" y="83"/>
                </a:lnTo>
                <a:lnTo>
                  <a:pt x="826" y="84"/>
                </a:lnTo>
                <a:lnTo>
                  <a:pt x="831" y="85"/>
                </a:lnTo>
                <a:lnTo>
                  <a:pt x="834" y="87"/>
                </a:lnTo>
                <a:lnTo>
                  <a:pt x="834" y="88"/>
                </a:lnTo>
                <a:lnTo>
                  <a:pt x="834" y="88"/>
                </a:lnTo>
                <a:lnTo>
                  <a:pt x="835" y="91"/>
                </a:lnTo>
                <a:lnTo>
                  <a:pt x="839" y="94"/>
                </a:lnTo>
                <a:lnTo>
                  <a:pt x="851" y="95"/>
                </a:lnTo>
                <a:lnTo>
                  <a:pt x="858" y="95"/>
                </a:lnTo>
                <a:lnTo>
                  <a:pt x="865" y="94"/>
                </a:lnTo>
                <a:lnTo>
                  <a:pt x="870" y="93"/>
                </a:lnTo>
                <a:lnTo>
                  <a:pt x="875" y="90"/>
                </a:lnTo>
                <a:lnTo>
                  <a:pt x="875" y="90"/>
                </a:lnTo>
                <a:lnTo>
                  <a:pt x="879" y="87"/>
                </a:lnTo>
                <a:lnTo>
                  <a:pt x="880" y="87"/>
                </a:lnTo>
                <a:lnTo>
                  <a:pt x="880" y="88"/>
                </a:lnTo>
                <a:lnTo>
                  <a:pt x="879" y="98"/>
                </a:lnTo>
                <a:lnTo>
                  <a:pt x="879" y="98"/>
                </a:lnTo>
                <a:lnTo>
                  <a:pt x="882" y="100"/>
                </a:lnTo>
                <a:lnTo>
                  <a:pt x="886" y="102"/>
                </a:lnTo>
                <a:lnTo>
                  <a:pt x="902" y="105"/>
                </a:lnTo>
                <a:lnTo>
                  <a:pt x="917" y="105"/>
                </a:lnTo>
                <a:lnTo>
                  <a:pt x="923" y="104"/>
                </a:lnTo>
                <a:lnTo>
                  <a:pt x="925" y="101"/>
                </a:lnTo>
                <a:lnTo>
                  <a:pt x="925" y="101"/>
                </a:lnTo>
                <a:lnTo>
                  <a:pt x="927" y="98"/>
                </a:lnTo>
                <a:lnTo>
                  <a:pt x="932" y="97"/>
                </a:lnTo>
                <a:lnTo>
                  <a:pt x="942" y="100"/>
                </a:lnTo>
                <a:lnTo>
                  <a:pt x="942" y="100"/>
                </a:lnTo>
                <a:lnTo>
                  <a:pt x="947" y="100"/>
                </a:lnTo>
                <a:lnTo>
                  <a:pt x="953" y="100"/>
                </a:lnTo>
                <a:lnTo>
                  <a:pt x="970" y="95"/>
                </a:lnTo>
                <a:lnTo>
                  <a:pt x="986" y="90"/>
                </a:lnTo>
                <a:lnTo>
                  <a:pt x="991" y="87"/>
                </a:lnTo>
                <a:lnTo>
                  <a:pt x="993" y="83"/>
                </a:lnTo>
                <a:lnTo>
                  <a:pt x="993" y="83"/>
                </a:lnTo>
                <a:lnTo>
                  <a:pt x="994" y="81"/>
                </a:lnTo>
                <a:lnTo>
                  <a:pt x="996" y="80"/>
                </a:lnTo>
                <a:lnTo>
                  <a:pt x="997" y="81"/>
                </a:lnTo>
                <a:lnTo>
                  <a:pt x="999" y="83"/>
                </a:lnTo>
                <a:lnTo>
                  <a:pt x="1000" y="85"/>
                </a:lnTo>
                <a:lnTo>
                  <a:pt x="999" y="90"/>
                </a:lnTo>
                <a:lnTo>
                  <a:pt x="997" y="93"/>
                </a:lnTo>
                <a:lnTo>
                  <a:pt x="993" y="97"/>
                </a:lnTo>
                <a:lnTo>
                  <a:pt x="993" y="97"/>
                </a:lnTo>
                <a:lnTo>
                  <a:pt x="987" y="100"/>
                </a:lnTo>
                <a:lnTo>
                  <a:pt x="981" y="102"/>
                </a:lnTo>
                <a:lnTo>
                  <a:pt x="966" y="104"/>
                </a:lnTo>
                <a:lnTo>
                  <a:pt x="952" y="107"/>
                </a:lnTo>
                <a:lnTo>
                  <a:pt x="940" y="108"/>
                </a:lnTo>
                <a:lnTo>
                  <a:pt x="940" y="108"/>
                </a:lnTo>
                <a:lnTo>
                  <a:pt x="937" y="110"/>
                </a:lnTo>
                <a:lnTo>
                  <a:pt x="937" y="111"/>
                </a:lnTo>
                <a:lnTo>
                  <a:pt x="939" y="114"/>
                </a:lnTo>
                <a:lnTo>
                  <a:pt x="942" y="117"/>
                </a:lnTo>
                <a:lnTo>
                  <a:pt x="960" y="130"/>
                </a:lnTo>
                <a:lnTo>
                  <a:pt x="960" y="130"/>
                </a:lnTo>
                <a:lnTo>
                  <a:pt x="963" y="132"/>
                </a:lnTo>
                <a:lnTo>
                  <a:pt x="963" y="134"/>
                </a:lnTo>
                <a:lnTo>
                  <a:pt x="960" y="134"/>
                </a:lnTo>
                <a:lnTo>
                  <a:pt x="956" y="134"/>
                </a:lnTo>
                <a:lnTo>
                  <a:pt x="944" y="130"/>
                </a:lnTo>
                <a:lnTo>
                  <a:pt x="939" y="125"/>
                </a:lnTo>
                <a:lnTo>
                  <a:pt x="933" y="121"/>
                </a:lnTo>
                <a:lnTo>
                  <a:pt x="933" y="121"/>
                </a:lnTo>
                <a:lnTo>
                  <a:pt x="929" y="118"/>
                </a:lnTo>
                <a:lnTo>
                  <a:pt x="923" y="115"/>
                </a:lnTo>
                <a:lnTo>
                  <a:pt x="916" y="112"/>
                </a:lnTo>
                <a:lnTo>
                  <a:pt x="909" y="111"/>
                </a:lnTo>
                <a:lnTo>
                  <a:pt x="895" y="110"/>
                </a:lnTo>
                <a:lnTo>
                  <a:pt x="883" y="110"/>
                </a:lnTo>
                <a:lnTo>
                  <a:pt x="883" y="110"/>
                </a:lnTo>
                <a:lnTo>
                  <a:pt x="879" y="111"/>
                </a:lnTo>
                <a:lnTo>
                  <a:pt x="876" y="114"/>
                </a:lnTo>
                <a:lnTo>
                  <a:pt x="875" y="118"/>
                </a:lnTo>
                <a:lnTo>
                  <a:pt x="875" y="124"/>
                </a:lnTo>
                <a:lnTo>
                  <a:pt x="876" y="128"/>
                </a:lnTo>
                <a:lnTo>
                  <a:pt x="878" y="132"/>
                </a:lnTo>
                <a:lnTo>
                  <a:pt x="880" y="135"/>
                </a:lnTo>
                <a:lnTo>
                  <a:pt x="883" y="135"/>
                </a:lnTo>
                <a:lnTo>
                  <a:pt x="883" y="135"/>
                </a:lnTo>
                <a:lnTo>
                  <a:pt x="892" y="137"/>
                </a:lnTo>
                <a:lnTo>
                  <a:pt x="899" y="139"/>
                </a:lnTo>
                <a:lnTo>
                  <a:pt x="906" y="145"/>
                </a:lnTo>
                <a:lnTo>
                  <a:pt x="913" y="155"/>
                </a:lnTo>
                <a:lnTo>
                  <a:pt x="913" y="155"/>
                </a:lnTo>
                <a:lnTo>
                  <a:pt x="917" y="159"/>
                </a:lnTo>
                <a:lnTo>
                  <a:pt x="923" y="164"/>
                </a:lnTo>
                <a:lnTo>
                  <a:pt x="933" y="168"/>
                </a:lnTo>
                <a:lnTo>
                  <a:pt x="942" y="171"/>
                </a:lnTo>
                <a:lnTo>
                  <a:pt x="944" y="172"/>
                </a:lnTo>
                <a:lnTo>
                  <a:pt x="944" y="174"/>
                </a:lnTo>
                <a:lnTo>
                  <a:pt x="944" y="174"/>
                </a:lnTo>
                <a:lnTo>
                  <a:pt x="943" y="176"/>
                </a:lnTo>
                <a:lnTo>
                  <a:pt x="940" y="176"/>
                </a:lnTo>
                <a:lnTo>
                  <a:pt x="929" y="174"/>
                </a:lnTo>
                <a:lnTo>
                  <a:pt x="915" y="169"/>
                </a:lnTo>
                <a:lnTo>
                  <a:pt x="902" y="165"/>
                </a:lnTo>
                <a:lnTo>
                  <a:pt x="902" y="165"/>
                </a:lnTo>
                <a:lnTo>
                  <a:pt x="895" y="165"/>
                </a:lnTo>
                <a:lnTo>
                  <a:pt x="889" y="165"/>
                </a:lnTo>
                <a:lnTo>
                  <a:pt x="882" y="168"/>
                </a:lnTo>
                <a:lnTo>
                  <a:pt x="875" y="169"/>
                </a:lnTo>
                <a:lnTo>
                  <a:pt x="869" y="172"/>
                </a:lnTo>
                <a:lnTo>
                  <a:pt x="865" y="176"/>
                </a:lnTo>
                <a:lnTo>
                  <a:pt x="862" y="179"/>
                </a:lnTo>
                <a:lnTo>
                  <a:pt x="861" y="184"/>
                </a:lnTo>
                <a:lnTo>
                  <a:pt x="861" y="184"/>
                </a:lnTo>
                <a:lnTo>
                  <a:pt x="861" y="188"/>
                </a:lnTo>
                <a:lnTo>
                  <a:pt x="863" y="191"/>
                </a:lnTo>
                <a:lnTo>
                  <a:pt x="868" y="192"/>
                </a:lnTo>
                <a:lnTo>
                  <a:pt x="873" y="192"/>
                </a:lnTo>
                <a:lnTo>
                  <a:pt x="886" y="191"/>
                </a:lnTo>
                <a:lnTo>
                  <a:pt x="893" y="188"/>
                </a:lnTo>
                <a:lnTo>
                  <a:pt x="899" y="185"/>
                </a:lnTo>
                <a:lnTo>
                  <a:pt x="899" y="185"/>
                </a:lnTo>
                <a:lnTo>
                  <a:pt x="906" y="182"/>
                </a:lnTo>
                <a:lnTo>
                  <a:pt x="906" y="182"/>
                </a:lnTo>
                <a:lnTo>
                  <a:pt x="906" y="184"/>
                </a:lnTo>
                <a:lnTo>
                  <a:pt x="895" y="195"/>
                </a:lnTo>
                <a:lnTo>
                  <a:pt x="895" y="195"/>
                </a:lnTo>
                <a:lnTo>
                  <a:pt x="893" y="198"/>
                </a:lnTo>
                <a:lnTo>
                  <a:pt x="895" y="201"/>
                </a:lnTo>
                <a:lnTo>
                  <a:pt x="902" y="205"/>
                </a:lnTo>
                <a:lnTo>
                  <a:pt x="910" y="211"/>
                </a:lnTo>
                <a:lnTo>
                  <a:pt x="913" y="213"/>
                </a:lnTo>
                <a:lnTo>
                  <a:pt x="913" y="216"/>
                </a:lnTo>
                <a:lnTo>
                  <a:pt x="913" y="216"/>
                </a:lnTo>
                <a:lnTo>
                  <a:pt x="913" y="219"/>
                </a:lnTo>
                <a:lnTo>
                  <a:pt x="910" y="221"/>
                </a:lnTo>
                <a:lnTo>
                  <a:pt x="907" y="222"/>
                </a:lnTo>
                <a:lnTo>
                  <a:pt x="903" y="221"/>
                </a:lnTo>
                <a:lnTo>
                  <a:pt x="896" y="219"/>
                </a:lnTo>
                <a:lnTo>
                  <a:pt x="893" y="216"/>
                </a:lnTo>
                <a:lnTo>
                  <a:pt x="892" y="213"/>
                </a:lnTo>
                <a:lnTo>
                  <a:pt x="892" y="213"/>
                </a:lnTo>
                <a:lnTo>
                  <a:pt x="889" y="208"/>
                </a:lnTo>
                <a:lnTo>
                  <a:pt x="885" y="203"/>
                </a:lnTo>
                <a:lnTo>
                  <a:pt x="876" y="201"/>
                </a:lnTo>
                <a:lnTo>
                  <a:pt x="865" y="199"/>
                </a:lnTo>
                <a:lnTo>
                  <a:pt x="865" y="199"/>
                </a:lnTo>
                <a:lnTo>
                  <a:pt x="859" y="201"/>
                </a:lnTo>
                <a:lnTo>
                  <a:pt x="855" y="202"/>
                </a:lnTo>
                <a:lnTo>
                  <a:pt x="853" y="205"/>
                </a:lnTo>
                <a:lnTo>
                  <a:pt x="852" y="208"/>
                </a:lnTo>
                <a:lnTo>
                  <a:pt x="853" y="211"/>
                </a:lnTo>
                <a:lnTo>
                  <a:pt x="855" y="212"/>
                </a:lnTo>
                <a:lnTo>
                  <a:pt x="859" y="215"/>
                </a:lnTo>
                <a:lnTo>
                  <a:pt x="862" y="215"/>
                </a:lnTo>
                <a:lnTo>
                  <a:pt x="862" y="215"/>
                </a:lnTo>
                <a:lnTo>
                  <a:pt x="869" y="218"/>
                </a:lnTo>
                <a:lnTo>
                  <a:pt x="870" y="219"/>
                </a:lnTo>
                <a:lnTo>
                  <a:pt x="870" y="221"/>
                </a:lnTo>
                <a:lnTo>
                  <a:pt x="870" y="222"/>
                </a:lnTo>
                <a:lnTo>
                  <a:pt x="869" y="223"/>
                </a:lnTo>
                <a:lnTo>
                  <a:pt x="866" y="225"/>
                </a:lnTo>
                <a:lnTo>
                  <a:pt x="862" y="225"/>
                </a:lnTo>
                <a:lnTo>
                  <a:pt x="862" y="225"/>
                </a:lnTo>
                <a:lnTo>
                  <a:pt x="851" y="226"/>
                </a:lnTo>
                <a:lnTo>
                  <a:pt x="838" y="231"/>
                </a:lnTo>
                <a:lnTo>
                  <a:pt x="832" y="233"/>
                </a:lnTo>
                <a:lnTo>
                  <a:pt x="829" y="236"/>
                </a:lnTo>
                <a:lnTo>
                  <a:pt x="828" y="239"/>
                </a:lnTo>
                <a:lnTo>
                  <a:pt x="829" y="242"/>
                </a:lnTo>
                <a:lnTo>
                  <a:pt x="829" y="242"/>
                </a:lnTo>
                <a:lnTo>
                  <a:pt x="834" y="245"/>
                </a:lnTo>
                <a:lnTo>
                  <a:pt x="841" y="246"/>
                </a:lnTo>
                <a:lnTo>
                  <a:pt x="856" y="246"/>
                </a:lnTo>
                <a:lnTo>
                  <a:pt x="872" y="246"/>
                </a:lnTo>
                <a:lnTo>
                  <a:pt x="878" y="246"/>
                </a:lnTo>
                <a:lnTo>
                  <a:pt x="882" y="248"/>
                </a:lnTo>
                <a:lnTo>
                  <a:pt x="882" y="248"/>
                </a:lnTo>
                <a:lnTo>
                  <a:pt x="888" y="250"/>
                </a:lnTo>
                <a:lnTo>
                  <a:pt x="896" y="253"/>
                </a:lnTo>
                <a:lnTo>
                  <a:pt x="905" y="252"/>
                </a:lnTo>
                <a:lnTo>
                  <a:pt x="907" y="250"/>
                </a:lnTo>
                <a:lnTo>
                  <a:pt x="910" y="249"/>
                </a:lnTo>
                <a:lnTo>
                  <a:pt x="910" y="249"/>
                </a:lnTo>
                <a:lnTo>
                  <a:pt x="912" y="248"/>
                </a:lnTo>
                <a:lnTo>
                  <a:pt x="915" y="246"/>
                </a:lnTo>
                <a:lnTo>
                  <a:pt x="923" y="245"/>
                </a:lnTo>
                <a:lnTo>
                  <a:pt x="943" y="245"/>
                </a:lnTo>
                <a:lnTo>
                  <a:pt x="943" y="245"/>
                </a:lnTo>
                <a:lnTo>
                  <a:pt x="952" y="246"/>
                </a:lnTo>
                <a:lnTo>
                  <a:pt x="957" y="248"/>
                </a:lnTo>
                <a:lnTo>
                  <a:pt x="963" y="249"/>
                </a:lnTo>
                <a:lnTo>
                  <a:pt x="967" y="253"/>
                </a:lnTo>
                <a:lnTo>
                  <a:pt x="967" y="253"/>
                </a:lnTo>
                <a:lnTo>
                  <a:pt x="973" y="256"/>
                </a:lnTo>
                <a:lnTo>
                  <a:pt x="979" y="256"/>
                </a:lnTo>
                <a:lnTo>
                  <a:pt x="986" y="255"/>
                </a:lnTo>
                <a:lnTo>
                  <a:pt x="993" y="250"/>
                </a:lnTo>
                <a:lnTo>
                  <a:pt x="993" y="250"/>
                </a:lnTo>
                <a:lnTo>
                  <a:pt x="1001" y="246"/>
                </a:lnTo>
                <a:lnTo>
                  <a:pt x="1010" y="245"/>
                </a:lnTo>
                <a:lnTo>
                  <a:pt x="1010" y="245"/>
                </a:lnTo>
                <a:lnTo>
                  <a:pt x="1017" y="245"/>
                </a:lnTo>
                <a:lnTo>
                  <a:pt x="1020" y="240"/>
                </a:lnTo>
                <a:lnTo>
                  <a:pt x="1020" y="236"/>
                </a:lnTo>
                <a:lnTo>
                  <a:pt x="1017" y="231"/>
                </a:lnTo>
                <a:lnTo>
                  <a:pt x="1017" y="231"/>
                </a:lnTo>
                <a:lnTo>
                  <a:pt x="1016" y="229"/>
                </a:lnTo>
                <a:lnTo>
                  <a:pt x="1013" y="229"/>
                </a:lnTo>
                <a:lnTo>
                  <a:pt x="1007" y="231"/>
                </a:lnTo>
                <a:lnTo>
                  <a:pt x="1001" y="232"/>
                </a:lnTo>
                <a:lnTo>
                  <a:pt x="1000" y="232"/>
                </a:lnTo>
                <a:lnTo>
                  <a:pt x="999" y="231"/>
                </a:lnTo>
                <a:lnTo>
                  <a:pt x="999" y="231"/>
                </a:lnTo>
                <a:lnTo>
                  <a:pt x="997" y="229"/>
                </a:lnTo>
                <a:lnTo>
                  <a:pt x="996" y="226"/>
                </a:lnTo>
                <a:lnTo>
                  <a:pt x="989" y="225"/>
                </a:lnTo>
                <a:lnTo>
                  <a:pt x="979" y="223"/>
                </a:lnTo>
                <a:lnTo>
                  <a:pt x="964" y="225"/>
                </a:lnTo>
                <a:lnTo>
                  <a:pt x="964" y="225"/>
                </a:lnTo>
                <a:lnTo>
                  <a:pt x="959" y="225"/>
                </a:lnTo>
                <a:lnTo>
                  <a:pt x="954" y="223"/>
                </a:lnTo>
                <a:lnTo>
                  <a:pt x="953" y="222"/>
                </a:lnTo>
                <a:lnTo>
                  <a:pt x="953" y="219"/>
                </a:lnTo>
                <a:lnTo>
                  <a:pt x="954" y="218"/>
                </a:lnTo>
                <a:lnTo>
                  <a:pt x="957" y="216"/>
                </a:lnTo>
                <a:lnTo>
                  <a:pt x="962" y="215"/>
                </a:lnTo>
                <a:lnTo>
                  <a:pt x="966" y="215"/>
                </a:lnTo>
                <a:lnTo>
                  <a:pt x="966" y="215"/>
                </a:lnTo>
                <a:lnTo>
                  <a:pt x="976" y="218"/>
                </a:lnTo>
                <a:lnTo>
                  <a:pt x="986" y="218"/>
                </a:lnTo>
                <a:lnTo>
                  <a:pt x="997" y="216"/>
                </a:lnTo>
                <a:lnTo>
                  <a:pt x="1007" y="213"/>
                </a:lnTo>
                <a:lnTo>
                  <a:pt x="1007" y="213"/>
                </a:lnTo>
                <a:lnTo>
                  <a:pt x="1011" y="212"/>
                </a:lnTo>
                <a:lnTo>
                  <a:pt x="1014" y="211"/>
                </a:lnTo>
                <a:lnTo>
                  <a:pt x="1014" y="209"/>
                </a:lnTo>
                <a:lnTo>
                  <a:pt x="1014" y="206"/>
                </a:lnTo>
                <a:lnTo>
                  <a:pt x="1011" y="202"/>
                </a:lnTo>
                <a:lnTo>
                  <a:pt x="1010" y="198"/>
                </a:lnTo>
                <a:lnTo>
                  <a:pt x="1010" y="198"/>
                </a:lnTo>
                <a:lnTo>
                  <a:pt x="1011" y="196"/>
                </a:lnTo>
                <a:lnTo>
                  <a:pt x="1013" y="195"/>
                </a:lnTo>
                <a:lnTo>
                  <a:pt x="1020" y="195"/>
                </a:lnTo>
                <a:lnTo>
                  <a:pt x="1040" y="196"/>
                </a:lnTo>
                <a:lnTo>
                  <a:pt x="1040" y="196"/>
                </a:lnTo>
                <a:lnTo>
                  <a:pt x="1045" y="195"/>
                </a:lnTo>
                <a:lnTo>
                  <a:pt x="1051" y="194"/>
                </a:lnTo>
                <a:lnTo>
                  <a:pt x="1055" y="189"/>
                </a:lnTo>
                <a:lnTo>
                  <a:pt x="1061" y="185"/>
                </a:lnTo>
                <a:lnTo>
                  <a:pt x="1068" y="174"/>
                </a:lnTo>
                <a:lnTo>
                  <a:pt x="1071" y="168"/>
                </a:lnTo>
                <a:lnTo>
                  <a:pt x="1073" y="164"/>
                </a:lnTo>
                <a:lnTo>
                  <a:pt x="1073" y="164"/>
                </a:lnTo>
                <a:lnTo>
                  <a:pt x="1071" y="159"/>
                </a:lnTo>
                <a:lnTo>
                  <a:pt x="1068" y="157"/>
                </a:lnTo>
                <a:lnTo>
                  <a:pt x="1063" y="155"/>
                </a:lnTo>
                <a:lnTo>
                  <a:pt x="1057" y="154"/>
                </a:lnTo>
                <a:lnTo>
                  <a:pt x="1043" y="154"/>
                </a:lnTo>
                <a:lnTo>
                  <a:pt x="1030" y="154"/>
                </a:lnTo>
                <a:lnTo>
                  <a:pt x="1030" y="154"/>
                </a:lnTo>
                <a:lnTo>
                  <a:pt x="1026" y="154"/>
                </a:lnTo>
                <a:lnTo>
                  <a:pt x="1026" y="152"/>
                </a:lnTo>
                <a:lnTo>
                  <a:pt x="1028" y="151"/>
                </a:lnTo>
                <a:lnTo>
                  <a:pt x="1033" y="149"/>
                </a:lnTo>
                <a:lnTo>
                  <a:pt x="1047" y="147"/>
                </a:lnTo>
                <a:lnTo>
                  <a:pt x="1055" y="145"/>
                </a:lnTo>
                <a:lnTo>
                  <a:pt x="1065" y="145"/>
                </a:lnTo>
                <a:lnTo>
                  <a:pt x="1065" y="145"/>
                </a:lnTo>
                <a:lnTo>
                  <a:pt x="1074" y="145"/>
                </a:lnTo>
                <a:lnTo>
                  <a:pt x="1080" y="144"/>
                </a:lnTo>
                <a:lnTo>
                  <a:pt x="1082" y="142"/>
                </a:lnTo>
                <a:lnTo>
                  <a:pt x="1084" y="139"/>
                </a:lnTo>
                <a:lnTo>
                  <a:pt x="1084" y="134"/>
                </a:lnTo>
                <a:lnTo>
                  <a:pt x="1085" y="132"/>
                </a:lnTo>
                <a:lnTo>
                  <a:pt x="1085" y="130"/>
                </a:lnTo>
                <a:lnTo>
                  <a:pt x="1085" y="130"/>
                </a:lnTo>
                <a:lnTo>
                  <a:pt x="1088" y="130"/>
                </a:lnTo>
                <a:lnTo>
                  <a:pt x="1091" y="130"/>
                </a:lnTo>
                <a:lnTo>
                  <a:pt x="1098" y="131"/>
                </a:lnTo>
                <a:lnTo>
                  <a:pt x="1107" y="132"/>
                </a:lnTo>
                <a:lnTo>
                  <a:pt x="1112" y="132"/>
                </a:lnTo>
                <a:lnTo>
                  <a:pt x="1117" y="132"/>
                </a:lnTo>
                <a:lnTo>
                  <a:pt x="1117" y="132"/>
                </a:lnTo>
                <a:lnTo>
                  <a:pt x="1121" y="131"/>
                </a:lnTo>
                <a:lnTo>
                  <a:pt x="1124" y="130"/>
                </a:lnTo>
                <a:lnTo>
                  <a:pt x="1125" y="124"/>
                </a:lnTo>
                <a:lnTo>
                  <a:pt x="1127" y="120"/>
                </a:lnTo>
                <a:lnTo>
                  <a:pt x="1128" y="118"/>
                </a:lnTo>
                <a:lnTo>
                  <a:pt x="1131" y="118"/>
                </a:lnTo>
                <a:lnTo>
                  <a:pt x="1131" y="118"/>
                </a:lnTo>
                <a:lnTo>
                  <a:pt x="1137" y="117"/>
                </a:lnTo>
                <a:lnTo>
                  <a:pt x="1148" y="111"/>
                </a:lnTo>
                <a:lnTo>
                  <a:pt x="1181" y="91"/>
                </a:lnTo>
                <a:lnTo>
                  <a:pt x="1181" y="91"/>
                </a:lnTo>
                <a:lnTo>
                  <a:pt x="1192" y="87"/>
                </a:lnTo>
                <a:lnTo>
                  <a:pt x="1202" y="83"/>
                </a:lnTo>
                <a:lnTo>
                  <a:pt x="1218" y="78"/>
                </a:lnTo>
                <a:lnTo>
                  <a:pt x="1229" y="74"/>
                </a:lnTo>
                <a:lnTo>
                  <a:pt x="1233" y="71"/>
                </a:lnTo>
                <a:lnTo>
                  <a:pt x="1235" y="68"/>
                </a:lnTo>
                <a:lnTo>
                  <a:pt x="1235" y="68"/>
                </a:lnTo>
                <a:lnTo>
                  <a:pt x="1235" y="67"/>
                </a:lnTo>
                <a:lnTo>
                  <a:pt x="1233" y="67"/>
                </a:lnTo>
                <a:lnTo>
                  <a:pt x="1229" y="66"/>
                </a:lnTo>
                <a:lnTo>
                  <a:pt x="1213" y="66"/>
                </a:lnTo>
                <a:lnTo>
                  <a:pt x="1198" y="67"/>
                </a:lnTo>
                <a:lnTo>
                  <a:pt x="1191" y="67"/>
                </a:lnTo>
                <a:lnTo>
                  <a:pt x="1186" y="66"/>
                </a:lnTo>
                <a:lnTo>
                  <a:pt x="1186" y="66"/>
                </a:lnTo>
                <a:lnTo>
                  <a:pt x="1186" y="66"/>
                </a:lnTo>
                <a:lnTo>
                  <a:pt x="1186" y="66"/>
                </a:lnTo>
                <a:lnTo>
                  <a:pt x="1189" y="63"/>
                </a:lnTo>
                <a:lnTo>
                  <a:pt x="1199" y="60"/>
                </a:lnTo>
                <a:lnTo>
                  <a:pt x="1213" y="57"/>
                </a:lnTo>
                <a:lnTo>
                  <a:pt x="1225" y="57"/>
                </a:lnTo>
                <a:lnTo>
                  <a:pt x="1225" y="57"/>
                </a:lnTo>
                <a:lnTo>
                  <a:pt x="1232" y="58"/>
                </a:lnTo>
                <a:lnTo>
                  <a:pt x="1242" y="57"/>
                </a:lnTo>
                <a:lnTo>
                  <a:pt x="1255" y="51"/>
                </a:lnTo>
                <a:lnTo>
                  <a:pt x="1273" y="43"/>
                </a:lnTo>
                <a:lnTo>
                  <a:pt x="1273" y="43"/>
                </a:lnTo>
                <a:lnTo>
                  <a:pt x="1283" y="38"/>
                </a:lnTo>
                <a:lnTo>
                  <a:pt x="1289" y="34"/>
                </a:lnTo>
                <a:lnTo>
                  <a:pt x="1292" y="31"/>
                </a:lnTo>
                <a:lnTo>
                  <a:pt x="1292" y="30"/>
                </a:lnTo>
                <a:lnTo>
                  <a:pt x="1290" y="29"/>
                </a:lnTo>
                <a:lnTo>
                  <a:pt x="1286" y="27"/>
                </a:lnTo>
                <a:lnTo>
                  <a:pt x="1277" y="27"/>
                </a:lnTo>
                <a:lnTo>
                  <a:pt x="1277" y="27"/>
                </a:lnTo>
                <a:lnTo>
                  <a:pt x="1269" y="29"/>
                </a:lnTo>
                <a:lnTo>
                  <a:pt x="1260" y="27"/>
                </a:lnTo>
                <a:lnTo>
                  <a:pt x="1255" y="23"/>
                </a:lnTo>
                <a:lnTo>
                  <a:pt x="1253" y="20"/>
                </a:lnTo>
                <a:lnTo>
                  <a:pt x="1253" y="17"/>
                </a:lnTo>
                <a:lnTo>
                  <a:pt x="1253" y="17"/>
                </a:lnTo>
                <a:lnTo>
                  <a:pt x="1252" y="16"/>
                </a:lnTo>
                <a:lnTo>
                  <a:pt x="1250" y="14"/>
                </a:lnTo>
                <a:lnTo>
                  <a:pt x="1245" y="14"/>
                </a:lnTo>
                <a:lnTo>
                  <a:pt x="1238" y="14"/>
                </a:lnTo>
                <a:lnTo>
                  <a:pt x="1236" y="14"/>
                </a:lnTo>
                <a:lnTo>
                  <a:pt x="1235" y="13"/>
                </a:lnTo>
                <a:lnTo>
                  <a:pt x="1235" y="13"/>
                </a:lnTo>
                <a:lnTo>
                  <a:pt x="1233" y="11"/>
                </a:lnTo>
                <a:lnTo>
                  <a:pt x="1230" y="10"/>
                </a:lnTo>
                <a:lnTo>
                  <a:pt x="1223" y="11"/>
                </a:lnTo>
                <a:lnTo>
                  <a:pt x="1212" y="13"/>
                </a:lnTo>
                <a:lnTo>
                  <a:pt x="1198" y="17"/>
                </a:lnTo>
                <a:lnTo>
                  <a:pt x="1198" y="17"/>
                </a:lnTo>
                <a:lnTo>
                  <a:pt x="1193" y="20"/>
                </a:lnTo>
                <a:lnTo>
                  <a:pt x="1191" y="20"/>
                </a:lnTo>
                <a:lnTo>
                  <a:pt x="1191" y="19"/>
                </a:lnTo>
                <a:lnTo>
                  <a:pt x="1192" y="17"/>
                </a:lnTo>
                <a:lnTo>
                  <a:pt x="1198" y="11"/>
                </a:lnTo>
                <a:lnTo>
                  <a:pt x="1205" y="7"/>
                </a:lnTo>
                <a:lnTo>
                  <a:pt x="1205" y="7"/>
                </a:lnTo>
                <a:lnTo>
                  <a:pt x="1205" y="7"/>
                </a:lnTo>
                <a:lnTo>
                  <a:pt x="1205" y="7"/>
                </a:lnTo>
                <a:lnTo>
                  <a:pt x="1201" y="6"/>
                </a:lnTo>
                <a:lnTo>
                  <a:pt x="1183" y="6"/>
                </a:lnTo>
                <a:lnTo>
                  <a:pt x="1162" y="4"/>
                </a:lnTo>
                <a:lnTo>
                  <a:pt x="1154" y="3"/>
                </a:lnTo>
                <a:lnTo>
                  <a:pt x="1148" y="1"/>
                </a:lnTo>
                <a:lnTo>
                  <a:pt x="1148" y="1"/>
                </a:lnTo>
                <a:lnTo>
                  <a:pt x="1145" y="0"/>
                </a:lnTo>
                <a:lnTo>
                  <a:pt x="1141" y="0"/>
                </a:lnTo>
                <a:lnTo>
                  <a:pt x="1134" y="3"/>
                </a:lnTo>
                <a:lnTo>
                  <a:pt x="1127" y="6"/>
                </a:lnTo>
                <a:lnTo>
                  <a:pt x="1124" y="6"/>
                </a:lnTo>
                <a:lnTo>
                  <a:pt x="1119" y="3"/>
                </a:lnTo>
                <a:lnTo>
                  <a:pt x="1119" y="3"/>
                </a:lnTo>
                <a:lnTo>
                  <a:pt x="1117" y="1"/>
                </a:lnTo>
                <a:lnTo>
                  <a:pt x="1111" y="0"/>
                </a:lnTo>
                <a:lnTo>
                  <a:pt x="1107" y="0"/>
                </a:lnTo>
                <a:lnTo>
                  <a:pt x="1102" y="0"/>
                </a:lnTo>
                <a:lnTo>
                  <a:pt x="1098" y="1"/>
                </a:lnTo>
                <a:lnTo>
                  <a:pt x="1094" y="4"/>
                </a:lnTo>
                <a:lnTo>
                  <a:pt x="1092" y="6"/>
                </a:lnTo>
                <a:lnTo>
                  <a:pt x="1092" y="9"/>
                </a:lnTo>
                <a:lnTo>
                  <a:pt x="1092" y="9"/>
                </a:lnTo>
                <a:lnTo>
                  <a:pt x="1092" y="11"/>
                </a:lnTo>
                <a:lnTo>
                  <a:pt x="1091" y="13"/>
                </a:lnTo>
                <a:lnTo>
                  <a:pt x="1085" y="11"/>
                </a:lnTo>
                <a:lnTo>
                  <a:pt x="1080" y="7"/>
                </a:lnTo>
                <a:lnTo>
                  <a:pt x="1080" y="7"/>
                </a:lnTo>
                <a:lnTo>
                  <a:pt x="1077" y="6"/>
                </a:lnTo>
                <a:lnTo>
                  <a:pt x="1073" y="4"/>
                </a:lnTo>
                <a:lnTo>
                  <a:pt x="1063" y="6"/>
                </a:lnTo>
                <a:lnTo>
                  <a:pt x="1051" y="6"/>
                </a:lnTo>
                <a:lnTo>
                  <a:pt x="1040" y="6"/>
                </a:lnTo>
                <a:lnTo>
                  <a:pt x="1040" y="6"/>
                </a:lnTo>
                <a:lnTo>
                  <a:pt x="1036" y="6"/>
                </a:lnTo>
                <a:lnTo>
                  <a:pt x="1033" y="7"/>
                </a:lnTo>
                <a:lnTo>
                  <a:pt x="1028" y="10"/>
                </a:lnTo>
                <a:lnTo>
                  <a:pt x="1027" y="13"/>
                </a:lnTo>
                <a:lnTo>
                  <a:pt x="1024" y="13"/>
                </a:lnTo>
                <a:lnTo>
                  <a:pt x="1020" y="13"/>
                </a:lnTo>
                <a:lnTo>
                  <a:pt x="1016" y="11"/>
                </a:lnTo>
                <a:lnTo>
                  <a:pt x="1016" y="11"/>
                </a:lnTo>
                <a:lnTo>
                  <a:pt x="1010" y="9"/>
                </a:lnTo>
                <a:lnTo>
                  <a:pt x="1003" y="7"/>
                </a:lnTo>
                <a:lnTo>
                  <a:pt x="993" y="7"/>
                </a:lnTo>
                <a:lnTo>
                  <a:pt x="986" y="9"/>
                </a:lnTo>
                <a:lnTo>
                  <a:pt x="986" y="9"/>
                </a:lnTo>
                <a:lnTo>
                  <a:pt x="986" y="10"/>
                </a:lnTo>
                <a:lnTo>
                  <a:pt x="986" y="10"/>
                </a:lnTo>
                <a:lnTo>
                  <a:pt x="989" y="11"/>
                </a:lnTo>
                <a:lnTo>
                  <a:pt x="987" y="14"/>
                </a:lnTo>
                <a:lnTo>
                  <a:pt x="983" y="14"/>
                </a:lnTo>
                <a:lnTo>
                  <a:pt x="977" y="14"/>
                </a:lnTo>
                <a:lnTo>
                  <a:pt x="977" y="14"/>
                </a:lnTo>
                <a:lnTo>
                  <a:pt x="973" y="13"/>
                </a:lnTo>
                <a:lnTo>
                  <a:pt x="969" y="14"/>
                </a:lnTo>
                <a:lnTo>
                  <a:pt x="967" y="17"/>
                </a:lnTo>
                <a:lnTo>
                  <a:pt x="967" y="21"/>
                </a:lnTo>
                <a:lnTo>
                  <a:pt x="967" y="21"/>
                </a:lnTo>
                <a:lnTo>
                  <a:pt x="967" y="24"/>
                </a:lnTo>
                <a:lnTo>
                  <a:pt x="966" y="24"/>
                </a:lnTo>
                <a:lnTo>
                  <a:pt x="956" y="24"/>
                </a:lnTo>
                <a:lnTo>
                  <a:pt x="946" y="24"/>
                </a:lnTo>
                <a:lnTo>
                  <a:pt x="943" y="26"/>
                </a:lnTo>
                <a:lnTo>
                  <a:pt x="942" y="27"/>
                </a:lnTo>
                <a:lnTo>
                  <a:pt x="942" y="27"/>
                </a:lnTo>
                <a:lnTo>
                  <a:pt x="942" y="30"/>
                </a:lnTo>
                <a:lnTo>
                  <a:pt x="940" y="33"/>
                </a:lnTo>
                <a:lnTo>
                  <a:pt x="935" y="36"/>
                </a:lnTo>
                <a:lnTo>
                  <a:pt x="929" y="36"/>
                </a:lnTo>
                <a:lnTo>
                  <a:pt x="926" y="34"/>
                </a:lnTo>
                <a:lnTo>
                  <a:pt x="922" y="33"/>
                </a:lnTo>
                <a:lnTo>
                  <a:pt x="922" y="33"/>
                </a:lnTo>
                <a:lnTo>
                  <a:pt x="919" y="30"/>
                </a:lnTo>
                <a:lnTo>
                  <a:pt x="913" y="29"/>
                </a:lnTo>
                <a:lnTo>
                  <a:pt x="902" y="26"/>
                </a:lnTo>
                <a:lnTo>
                  <a:pt x="895" y="27"/>
                </a:lnTo>
                <a:lnTo>
                  <a:pt x="893" y="29"/>
                </a:lnTo>
                <a:lnTo>
                  <a:pt x="895" y="30"/>
                </a:lnTo>
                <a:lnTo>
                  <a:pt x="895" y="30"/>
                </a:lnTo>
                <a:lnTo>
                  <a:pt x="896" y="31"/>
                </a:lnTo>
                <a:lnTo>
                  <a:pt x="895" y="33"/>
                </a:lnTo>
                <a:lnTo>
                  <a:pt x="886" y="34"/>
                </a:lnTo>
                <a:lnTo>
                  <a:pt x="879" y="36"/>
                </a:lnTo>
                <a:lnTo>
                  <a:pt x="878" y="37"/>
                </a:lnTo>
                <a:lnTo>
                  <a:pt x="879" y="38"/>
                </a:lnTo>
                <a:lnTo>
                  <a:pt x="879" y="38"/>
                </a:lnTo>
                <a:lnTo>
                  <a:pt x="880" y="41"/>
                </a:lnTo>
                <a:lnTo>
                  <a:pt x="880" y="44"/>
                </a:lnTo>
                <a:lnTo>
                  <a:pt x="879" y="46"/>
                </a:lnTo>
                <a:lnTo>
                  <a:pt x="876" y="47"/>
                </a:lnTo>
                <a:lnTo>
                  <a:pt x="870" y="48"/>
                </a:lnTo>
                <a:lnTo>
                  <a:pt x="869" y="48"/>
                </a:lnTo>
                <a:lnTo>
                  <a:pt x="868" y="47"/>
                </a:lnTo>
                <a:lnTo>
                  <a:pt x="868" y="47"/>
                </a:lnTo>
                <a:lnTo>
                  <a:pt x="868" y="46"/>
                </a:lnTo>
                <a:lnTo>
                  <a:pt x="865" y="44"/>
                </a:lnTo>
                <a:lnTo>
                  <a:pt x="858" y="41"/>
                </a:lnTo>
                <a:lnTo>
                  <a:pt x="851" y="41"/>
                </a:lnTo>
                <a:lnTo>
                  <a:pt x="846" y="41"/>
                </a:lnTo>
                <a:lnTo>
                  <a:pt x="843" y="43"/>
                </a:lnTo>
                <a:lnTo>
                  <a:pt x="843" y="43"/>
                </a:lnTo>
                <a:lnTo>
                  <a:pt x="839" y="48"/>
                </a:lnTo>
                <a:lnTo>
                  <a:pt x="835" y="53"/>
                </a:lnTo>
                <a:lnTo>
                  <a:pt x="834" y="54"/>
                </a:lnTo>
                <a:lnTo>
                  <a:pt x="832" y="54"/>
                </a:lnTo>
                <a:lnTo>
                  <a:pt x="831" y="53"/>
                </a:lnTo>
                <a:lnTo>
                  <a:pt x="831" y="53"/>
                </a:lnTo>
                <a:lnTo>
                  <a:pt x="829" y="51"/>
                </a:lnTo>
                <a:lnTo>
                  <a:pt x="826" y="51"/>
                </a:lnTo>
                <a:lnTo>
                  <a:pt x="818" y="51"/>
                </a:lnTo>
                <a:lnTo>
                  <a:pt x="808" y="53"/>
                </a:lnTo>
                <a:lnTo>
                  <a:pt x="797" y="56"/>
                </a:lnTo>
                <a:lnTo>
                  <a:pt x="797" y="56"/>
                </a:lnTo>
                <a:lnTo>
                  <a:pt x="792" y="58"/>
                </a:lnTo>
                <a:lnTo>
                  <a:pt x="791" y="60"/>
                </a:lnTo>
                <a:lnTo>
                  <a:pt x="791" y="61"/>
                </a:lnTo>
                <a:lnTo>
                  <a:pt x="794" y="63"/>
                </a:lnTo>
                <a:lnTo>
                  <a:pt x="801" y="63"/>
                </a:lnTo>
                <a:lnTo>
                  <a:pt x="805" y="61"/>
                </a:lnTo>
                <a:lnTo>
                  <a:pt x="808" y="60"/>
                </a:lnTo>
                <a:lnTo>
                  <a:pt x="808" y="60"/>
                </a:lnTo>
                <a:close/>
                <a:moveTo>
                  <a:pt x="987" y="673"/>
                </a:moveTo>
                <a:lnTo>
                  <a:pt x="987" y="673"/>
                </a:lnTo>
                <a:lnTo>
                  <a:pt x="990" y="673"/>
                </a:lnTo>
                <a:lnTo>
                  <a:pt x="991" y="670"/>
                </a:lnTo>
                <a:lnTo>
                  <a:pt x="996" y="664"/>
                </a:lnTo>
                <a:lnTo>
                  <a:pt x="996" y="662"/>
                </a:lnTo>
                <a:lnTo>
                  <a:pt x="996" y="659"/>
                </a:lnTo>
                <a:lnTo>
                  <a:pt x="994" y="656"/>
                </a:lnTo>
                <a:lnTo>
                  <a:pt x="990" y="656"/>
                </a:lnTo>
                <a:lnTo>
                  <a:pt x="990" y="656"/>
                </a:lnTo>
                <a:lnTo>
                  <a:pt x="986" y="657"/>
                </a:lnTo>
                <a:lnTo>
                  <a:pt x="983" y="659"/>
                </a:lnTo>
                <a:lnTo>
                  <a:pt x="981" y="662"/>
                </a:lnTo>
                <a:lnTo>
                  <a:pt x="981" y="666"/>
                </a:lnTo>
                <a:lnTo>
                  <a:pt x="981" y="669"/>
                </a:lnTo>
                <a:lnTo>
                  <a:pt x="983" y="672"/>
                </a:lnTo>
                <a:lnTo>
                  <a:pt x="984" y="673"/>
                </a:lnTo>
                <a:lnTo>
                  <a:pt x="987" y="673"/>
                </a:lnTo>
                <a:lnTo>
                  <a:pt x="987" y="673"/>
                </a:lnTo>
                <a:close/>
                <a:moveTo>
                  <a:pt x="925" y="657"/>
                </a:moveTo>
                <a:lnTo>
                  <a:pt x="925" y="657"/>
                </a:lnTo>
                <a:lnTo>
                  <a:pt x="930" y="659"/>
                </a:lnTo>
                <a:lnTo>
                  <a:pt x="935" y="659"/>
                </a:lnTo>
                <a:lnTo>
                  <a:pt x="939" y="657"/>
                </a:lnTo>
                <a:lnTo>
                  <a:pt x="943" y="654"/>
                </a:lnTo>
                <a:lnTo>
                  <a:pt x="950" y="646"/>
                </a:lnTo>
                <a:lnTo>
                  <a:pt x="952" y="643"/>
                </a:lnTo>
                <a:lnTo>
                  <a:pt x="952" y="640"/>
                </a:lnTo>
                <a:lnTo>
                  <a:pt x="952" y="640"/>
                </a:lnTo>
                <a:lnTo>
                  <a:pt x="950" y="639"/>
                </a:lnTo>
                <a:lnTo>
                  <a:pt x="946" y="639"/>
                </a:lnTo>
                <a:lnTo>
                  <a:pt x="933" y="643"/>
                </a:lnTo>
                <a:lnTo>
                  <a:pt x="927" y="647"/>
                </a:lnTo>
                <a:lnTo>
                  <a:pt x="923" y="650"/>
                </a:lnTo>
                <a:lnTo>
                  <a:pt x="922" y="654"/>
                </a:lnTo>
                <a:lnTo>
                  <a:pt x="923" y="656"/>
                </a:lnTo>
                <a:lnTo>
                  <a:pt x="925" y="657"/>
                </a:lnTo>
                <a:lnTo>
                  <a:pt x="925" y="657"/>
                </a:lnTo>
                <a:close/>
                <a:moveTo>
                  <a:pt x="976" y="619"/>
                </a:moveTo>
                <a:lnTo>
                  <a:pt x="976" y="619"/>
                </a:lnTo>
                <a:lnTo>
                  <a:pt x="976" y="616"/>
                </a:lnTo>
                <a:lnTo>
                  <a:pt x="973" y="615"/>
                </a:lnTo>
                <a:lnTo>
                  <a:pt x="966" y="610"/>
                </a:lnTo>
                <a:lnTo>
                  <a:pt x="957" y="606"/>
                </a:lnTo>
                <a:lnTo>
                  <a:pt x="954" y="603"/>
                </a:lnTo>
                <a:lnTo>
                  <a:pt x="954" y="600"/>
                </a:lnTo>
                <a:lnTo>
                  <a:pt x="954" y="600"/>
                </a:lnTo>
                <a:lnTo>
                  <a:pt x="953" y="598"/>
                </a:lnTo>
                <a:lnTo>
                  <a:pt x="952" y="595"/>
                </a:lnTo>
                <a:lnTo>
                  <a:pt x="942" y="590"/>
                </a:lnTo>
                <a:lnTo>
                  <a:pt x="923" y="582"/>
                </a:lnTo>
                <a:lnTo>
                  <a:pt x="923" y="582"/>
                </a:lnTo>
                <a:lnTo>
                  <a:pt x="910" y="576"/>
                </a:lnTo>
                <a:lnTo>
                  <a:pt x="905" y="573"/>
                </a:lnTo>
                <a:lnTo>
                  <a:pt x="903" y="571"/>
                </a:lnTo>
                <a:lnTo>
                  <a:pt x="903" y="568"/>
                </a:lnTo>
                <a:lnTo>
                  <a:pt x="903" y="568"/>
                </a:lnTo>
                <a:lnTo>
                  <a:pt x="902" y="565"/>
                </a:lnTo>
                <a:lnTo>
                  <a:pt x="900" y="563"/>
                </a:lnTo>
                <a:lnTo>
                  <a:pt x="898" y="563"/>
                </a:lnTo>
                <a:lnTo>
                  <a:pt x="895" y="565"/>
                </a:lnTo>
                <a:lnTo>
                  <a:pt x="892" y="568"/>
                </a:lnTo>
                <a:lnTo>
                  <a:pt x="889" y="571"/>
                </a:lnTo>
                <a:lnTo>
                  <a:pt x="886" y="573"/>
                </a:lnTo>
                <a:lnTo>
                  <a:pt x="885" y="578"/>
                </a:lnTo>
                <a:lnTo>
                  <a:pt x="885" y="578"/>
                </a:lnTo>
                <a:lnTo>
                  <a:pt x="883" y="585"/>
                </a:lnTo>
                <a:lnTo>
                  <a:pt x="882" y="589"/>
                </a:lnTo>
                <a:lnTo>
                  <a:pt x="880" y="593"/>
                </a:lnTo>
                <a:lnTo>
                  <a:pt x="880" y="600"/>
                </a:lnTo>
                <a:lnTo>
                  <a:pt x="880" y="600"/>
                </a:lnTo>
                <a:lnTo>
                  <a:pt x="882" y="605"/>
                </a:lnTo>
                <a:lnTo>
                  <a:pt x="880" y="608"/>
                </a:lnTo>
                <a:lnTo>
                  <a:pt x="878" y="610"/>
                </a:lnTo>
                <a:lnTo>
                  <a:pt x="875" y="613"/>
                </a:lnTo>
                <a:lnTo>
                  <a:pt x="869" y="617"/>
                </a:lnTo>
                <a:lnTo>
                  <a:pt x="868" y="619"/>
                </a:lnTo>
                <a:lnTo>
                  <a:pt x="868" y="622"/>
                </a:lnTo>
                <a:lnTo>
                  <a:pt x="868" y="622"/>
                </a:lnTo>
                <a:lnTo>
                  <a:pt x="869" y="623"/>
                </a:lnTo>
                <a:lnTo>
                  <a:pt x="870" y="625"/>
                </a:lnTo>
                <a:lnTo>
                  <a:pt x="875" y="623"/>
                </a:lnTo>
                <a:lnTo>
                  <a:pt x="880" y="622"/>
                </a:lnTo>
                <a:lnTo>
                  <a:pt x="888" y="620"/>
                </a:lnTo>
                <a:lnTo>
                  <a:pt x="888" y="620"/>
                </a:lnTo>
                <a:lnTo>
                  <a:pt x="890" y="622"/>
                </a:lnTo>
                <a:lnTo>
                  <a:pt x="890" y="623"/>
                </a:lnTo>
                <a:lnTo>
                  <a:pt x="890" y="627"/>
                </a:lnTo>
                <a:lnTo>
                  <a:pt x="892" y="632"/>
                </a:lnTo>
                <a:lnTo>
                  <a:pt x="893" y="633"/>
                </a:lnTo>
                <a:lnTo>
                  <a:pt x="896" y="633"/>
                </a:lnTo>
                <a:lnTo>
                  <a:pt x="896" y="633"/>
                </a:lnTo>
                <a:lnTo>
                  <a:pt x="903" y="633"/>
                </a:lnTo>
                <a:lnTo>
                  <a:pt x="912" y="629"/>
                </a:lnTo>
                <a:lnTo>
                  <a:pt x="919" y="623"/>
                </a:lnTo>
                <a:lnTo>
                  <a:pt x="923" y="619"/>
                </a:lnTo>
                <a:lnTo>
                  <a:pt x="923" y="619"/>
                </a:lnTo>
                <a:lnTo>
                  <a:pt x="926" y="615"/>
                </a:lnTo>
                <a:lnTo>
                  <a:pt x="930" y="613"/>
                </a:lnTo>
                <a:lnTo>
                  <a:pt x="936" y="615"/>
                </a:lnTo>
                <a:lnTo>
                  <a:pt x="943" y="617"/>
                </a:lnTo>
                <a:lnTo>
                  <a:pt x="943" y="617"/>
                </a:lnTo>
                <a:lnTo>
                  <a:pt x="947" y="620"/>
                </a:lnTo>
                <a:lnTo>
                  <a:pt x="953" y="622"/>
                </a:lnTo>
                <a:lnTo>
                  <a:pt x="963" y="623"/>
                </a:lnTo>
                <a:lnTo>
                  <a:pt x="972" y="623"/>
                </a:lnTo>
                <a:lnTo>
                  <a:pt x="974" y="622"/>
                </a:lnTo>
                <a:lnTo>
                  <a:pt x="976" y="619"/>
                </a:lnTo>
                <a:lnTo>
                  <a:pt x="976" y="619"/>
                </a:lnTo>
                <a:close/>
                <a:moveTo>
                  <a:pt x="1209" y="556"/>
                </a:moveTo>
                <a:lnTo>
                  <a:pt x="1209" y="556"/>
                </a:lnTo>
                <a:lnTo>
                  <a:pt x="1212" y="556"/>
                </a:lnTo>
                <a:lnTo>
                  <a:pt x="1215" y="558"/>
                </a:lnTo>
                <a:lnTo>
                  <a:pt x="1219" y="563"/>
                </a:lnTo>
                <a:lnTo>
                  <a:pt x="1225" y="571"/>
                </a:lnTo>
                <a:lnTo>
                  <a:pt x="1232" y="579"/>
                </a:lnTo>
                <a:lnTo>
                  <a:pt x="1232" y="579"/>
                </a:lnTo>
                <a:lnTo>
                  <a:pt x="1240" y="585"/>
                </a:lnTo>
                <a:lnTo>
                  <a:pt x="1243" y="585"/>
                </a:lnTo>
                <a:lnTo>
                  <a:pt x="1245" y="583"/>
                </a:lnTo>
                <a:lnTo>
                  <a:pt x="1247" y="580"/>
                </a:lnTo>
                <a:lnTo>
                  <a:pt x="1249" y="575"/>
                </a:lnTo>
                <a:lnTo>
                  <a:pt x="1249" y="575"/>
                </a:lnTo>
                <a:lnTo>
                  <a:pt x="1250" y="572"/>
                </a:lnTo>
                <a:lnTo>
                  <a:pt x="1253" y="571"/>
                </a:lnTo>
                <a:lnTo>
                  <a:pt x="1259" y="571"/>
                </a:lnTo>
                <a:lnTo>
                  <a:pt x="1263" y="569"/>
                </a:lnTo>
                <a:lnTo>
                  <a:pt x="1266" y="568"/>
                </a:lnTo>
                <a:lnTo>
                  <a:pt x="1266" y="565"/>
                </a:lnTo>
                <a:lnTo>
                  <a:pt x="1266" y="565"/>
                </a:lnTo>
                <a:lnTo>
                  <a:pt x="1266" y="562"/>
                </a:lnTo>
                <a:lnTo>
                  <a:pt x="1267" y="559"/>
                </a:lnTo>
                <a:lnTo>
                  <a:pt x="1273" y="553"/>
                </a:lnTo>
                <a:lnTo>
                  <a:pt x="1279" y="548"/>
                </a:lnTo>
                <a:lnTo>
                  <a:pt x="1286" y="545"/>
                </a:lnTo>
                <a:lnTo>
                  <a:pt x="1286" y="545"/>
                </a:lnTo>
                <a:lnTo>
                  <a:pt x="1289" y="543"/>
                </a:lnTo>
                <a:lnTo>
                  <a:pt x="1289" y="542"/>
                </a:lnTo>
                <a:lnTo>
                  <a:pt x="1287" y="539"/>
                </a:lnTo>
                <a:lnTo>
                  <a:pt x="1284" y="538"/>
                </a:lnTo>
                <a:lnTo>
                  <a:pt x="1277" y="535"/>
                </a:lnTo>
                <a:lnTo>
                  <a:pt x="1267" y="534"/>
                </a:lnTo>
                <a:lnTo>
                  <a:pt x="1267" y="534"/>
                </a:lnTo>
                <a:lnTo>
                  <a:pt x="1260" y="532"/>
                </a:lnTo>
                <a:lnTo>
                  <a:pt x="1257" y="529"/>
                </a:lnTo>
                <a:lnTo>
                  <a:pt x="1255" y="525"/>
                </a:lnTo>
                <a:lnTo>
                  <a:pt x="1255" y="521"/>
                </a:lnTo>
                <a:lnTo>
                  <a:pt x="1255" y="521"/>
                </a:lnTo>
                <a:lnTo>
                  <a:pt x="1253" y="519"/>
                </a:lnTo>
                <a:lnTo>
                  <a:pt x="1250" y="516"/>
                </a:lnTo>
                <a:lnTo>
                  <a:pt x="1243" y="511"/>
                </a:lnTo>
                <a:lnTo>
                  <a:pt x="1233" y="507"/>
                </a:lnTo>
                <a:lnTo>
                  <a:pt x="1229" y="507"/>
                </a:lnTo>
                <a:lnTo>
                  <a:pt x="1226" y="507"/>
                </a:lnTo>
                <a:lnTo>
                  <a:pt x="1226" y="507"/>
                </a:lnTo>
                <a:lnTo>
                  <a:pt x="1223" y="507"/>
                </a:lnTo>
                <a:lnTo>
                  <a:pt x="1220" y="507"/>
                </a:lnTo>
                <a:lnTo>
                  <a:pt x="1212" y="502"/>
                </a:lnTo>
                <a:lnTo>
                  <a:pt x="1205" y="498"/>
                </a:lnTo>
                <a:lnTo>
                  <a:pt x="1198" y="497"/>
                </a:lnTo>
                <a:lnTo>
                  <a:pt x="1198" y="497"/>
                </a:lnTo>
                <a:lnTo>
                  <a:pt x="1191" y="495"/>
                </a:lnTo>
                <a:lnTo>
                  <a:pt x="1183" y="491"/>
                </a:lnTo>
                <a:lnTo>
                  <a:pt x="1178" y="485"/>
                </a:lnTo>
                <a:lnTo>
                  <a:pt x="1176" y="482"/>
                </a:lnTo>
                <a:lnTo>
                  <a:pt x="1176" y="478"/>
                </a:lnTo>
                <a:lnTo>
                  <a:pt x="1176" y="478"/>
                </a:lnTo>
                <a:lnTo>
                  <a:pt x="1178" y="475"/>
                </a:lnTo>
                <a:lnTo>
                  <a:pt x="1179" y="475"/>
                </a:lnTo>
                <a:lnTo>
                  <a:pt x="1186" y="475"/>
                </a:lnTo>
                <a:lnTo>
                  <a:pt x="1193" y="477"/>
                </a:lnTo>
                <a:lnTo>
                  <a:pt x="1196" y="475"/>
                </a:lnTo>
                <a:lnTo>
                  <a:pt x="1198" y="474"/>
                </a:lnTo>
                <a:lnTo>
                  <a:pt x="1198" y="474"/>
                </a:lnTo>
                <a:lnTo>
                  <a:pt x="1199" y="471"/>
                </a:lnTo>
                <a:lnTo>
                  <a:pt x="1196" y="470"/>
                </a:lnTo>
                <a:lnTo>
                  <a:pt x="1191" y="468"/>
                </a:lnTo>
                <a:lnTo>
                  <a:pt x="1183" y="467"/>
                </a:lnTo>
                <a:lnTo>
                  <a:pt x="1181" y="467"/>
                </a:lnTo>
                <a:lnTo>
                  <a:pt x="1179" y="464"/>
                </a:lnTo>
                <a:lnTo>
                  <a:pt x="1179" y="464"/>
                </a:lnTo>
                <a:lnTo>
                  <a:pt x="1181" y="461"/>
                </a:lnTo>
                <a:lnTo>
                  <a:pt x="1182" y="460"/>
                </a:lnTo>
                <a:lnTo>
                  <a:pt x="1185" y="460"/>
                </a:lnTo>
                <a:lnTo>
                  <a:pt x="1189" y="457"/>
                </a:lnTo>
                <a:lnTo>
                  <a:pt x="1189" y="457"/>
                </a:lnTo>
                <a:lnTo>
                  <a:pt x="1191" y="455"/>
                </a:lnTo>
                <a:lnTo>
                  <a:pt x="1191" y="454"/>
                </a:lnTo>
                <a:lnTo>
                  <a:pt x="1188" y="450"/>
                </a:lnTo>
                <a:lnTo>
                  <a:pt x="1185" y="447"/>
                </a:lnTo>
                <a:lnTo>
                  <a:pt x="1181" y="444"/>
                </a:lnTo>
                <a:lnTo>
                  <a:pt x="1181" y="444"/>
                </a:lnTo>
                <a:lnTo>
                  <a:pt x="1179" y="444"/>
                </a:lnTo>
                <a:lnTo>
                  <a:pt x="1178" y="444"/>
                </a:lnTo>
                <a:lnTo>
                  <a:pt x="1175" y="445"/>
                </a:lnTo>
                <a:lnTo>
                  <a:pt x="1172" y="448"/>
                </a:lnTo>
                <a:lnTo>
                  <a:pt x="1169" y="450"/>
                </a:lnTo>
                <a:lnTo>
                  <a:pt x="1169" y="450"/>
                </a:lnTo>
                <a:lnTo>
                  <a:pt x="1168" y="450"/>
                </a:lnTo>
                <a:lnTo>
                  <a:pt x="1166" y="448"/>
                </a:lnTo>
                <a:lnTo>
                  <a:pt x="1168" y="445"/>
                </a:lnTo>
                <a:lnTo>
                  <a:pt x="1172" y="437"/>
                </a:lnTo>
                <a:lnTo>
                  <a:pt x="1172" y="437"/>
                </a:lnTo>
                <a:lnTo>
                  <a:pt x="1172" y="435"/>
                </a:lnTo>
                <a:lnTo>
                  <a:pt x="1171" y="433"/>
                </a:lnTo>
                <a:lnTo>
                  <a:pt x="1164" y="430"/>
                </a:lnTo>
                <a:lnTo>
                  <a:pt x="1155" y="428"/>
                </a:lnTo>
                <a:lnTo>
                  <a:pt x="1146" y="428"/>
                </a:lnTo>
                <a:lnTo>
                  <a:pt x="1146" y="428"/>
                </a:lnTo>
                <a:lnTo>
                  <a:pt x="1142" y="430"/>
                </a:lnTo>
                <a:lnTo>
                  <a:pt x="1138" y="428"/>
                </a:lnTo>
                <a:lnTo>
                  <a:pt x="1137" y="425"/>
                </a:lnTo>
                <a:lnTo>
                  <a:pt x="1135" y="421"/>
                </a:lnTo>
                <a:lnTo>
                  <a:pt x="1135" y="421"/>
                </a:lnTo>
                <a:lnTo>
                  <a:pt x="1135" y="420"/>
                </a:lnTo>
                <a:lnTo>
                  <a:pt x="1134" y="418"/>
                </a:lnTo>
                <a:lnTo>
                  <a:pt x="1128" y="420"/>
                </a:lnTo>
                <a:lnTo>
                  <a:pt x="1121" y="423"/>
                </a:lnTo>
                <a:lnTo>
                  <a:pt x="1115" y="425"/>
                </a:lnTo>
                <a:lnTo>
                  <a:pt x="1115" y="425"/>
                </a:lnTo>
                <a:lnTo>
                  <a:pt x="1112" y="427"/>
                </a:lnTo>
                <a:lnTo>
                  <a:pt x="1111" y="427"/>
                </a:lnTo>
                <a:lnTo>
                  <a:pt x="1107" y="424"/>
                </a:lnTo>
                <a:lnTo>
                  <a:pt x="1107" y="423"/>
                </a:lnTo>
                <a:lnTo>
                  <a:pt x="1107" y="421"/>
                </a:lnTo>
                <a:lnTo>
                  <a:pt x="1109" y="420"/>
                </a:lnTo>
                <a:lnTo>
                  <a:pt x="1109" y="420"/>
                </a:lnTo>
                <a:lnTo>
                  <a:pt x="1115" y="418"/>
                </a:lnTo>
                <a:lnTo>
                  <a:pt x="1119" y="415"/>
                </a:lnTo>
                <a:lnTo>
                  <a:pt x="1122" y="413"/>
                </a:lnTo>
                <a:lnTo>
                  <a:pt x="1124" y="410"/>
                </a:lnTo>
                <a:lnTo>
                  <a:pt x="1122" y="407"/>
                </a:lnTo>
                <a:lnTo>
                  <a:pt x="1122" y="407"/>
                </a:lnTo>
                <a:lnTo>
                  <a:pt x="1121" y="406"/>
                </a:lnTo>
                <a:lnTo>
                  <a:pt x="1118" y="404"/>
                </a:lnTo>
                <a:lnTo>
                  <a:pt x="1111" y="403"/>
                </a:lnTo>
                <a:lnTo>
                  <a:pt x="1104" y="404"/>
                </a:lnTo>
                <a:lnTo>
                  <a:pt x="1101" y="406"/>
                </a:lnTo>
                <a:lnTo>
                  <a:pt x="1098" y="408"/>
                </a:lnTo>
                <a:lnTo>
                  <a:pt x="1098" y="408"/>
                </a:lnTo>
                <a:lnTo>
                  <a:pt x="1097" y="410"/>
                </a:lnTo>
                <a:lnTo>
                  <a:pt x="1094" y="410"/>
                </a:lnTo>
                <a:lnTo>
                  <a:pt x="1091" y="408"/>
                </a:lnTo>
                <a:lnTo>
                  <a:pt x="1088" y="406"/>
                </a:lnTo>
                <a:lnTo>
                  <a:pt x="1082" y="400"/>
                </a:lnTo>
                <a:lnTo>
                  <a:pt x="1081" y="396"/>
                </a:lnTo>
                <a:lnTo>
                  <a:pt x="1080" y="393"/>
                </a:lnTo>
                <a:lnTo>
                  <a:pt x="1080" y="393"/>
                </a:lnTo>
                <a:lnTo>
                  <a:pt x="1080" y="391"/>
                </a:lnTo>
                <a:lnTo>
                  <a:pt x="1077" y="390"/>
                </a:lnTo>
                <a:lnTo>
                  <a:pt x="1070" y="390"/>
                </a:lnTo>
                <a:lnTo>
                  <a:pt x="1065" y="388"/>
                </a:lnTo>
                <a:lnTo>
                  <a:pt x="1063" y="387"/>
                </a:lnTo>
                <a:lnTo>
                  <a:pt x="1060" y="386"/>
                </a:lnTo>
                <a:lnTo>
                  <a:pt x="1060" y="381"/>
                </a:lnTo>
                <a:lnTo>
                  <a:pt x="1060" y="381"/>
                </a:lnTo>
                <a:lnTo>
                  <a:pt x="1060" y="378"/>
                </a:lnTo>
                <a:lnTo>
                  <a:pt x="1057" y="376"/>
                </a:lnTo>
                <a:lnTo>
                  <a:pt x="1053" y="373"/>
                </a:lnTo>
                <a:lnTo>
                  <a:pt x="1047" y="371"/>
                </a:lnTo>
                <a:lnTo>
                  <a:pt x="1036" y="369"/>
                </a:lnTo>
                <a:lnTo>
                  <a:pt x="1026" y="369"/>
                </a:lnTo>
                <a:lnTo>
                  <a:pt x="1026" y="369"/>
                </a:lnTo>
                <a:lnTo>
                  <a:pt x="1020" y="370"/>
                </a:lnTo>
                <a:lnTo>
                  <a:pt x="1014" y="373"/>
                </a:lnTo>
                <a:lnTo>
                  <a:pt x="1010" y="377"/>
                </a:lnTo>
                <a:lnTo>
                  <a:pt x="1008" y="380"/>
                </a:lnTo>
                <a:lnTo>
                  <a:pt x="1008" y="381"/>
                </a:lnTo>
                <a:lnTo>
                  <a:pt x="1008" y="381"/>
                </a:lnTo>
                <a:lnTo>
                  <a:pt x="1008" y="384"/>
                </a:lnTo>
                <a:lnTo>
                  <a:pt x="1007" y="386"/>
                </a:lnTo>
                <a:lnTo>
                  <a:pt x="1004" y="386"/>
                </a:lnTo>
                <a:lnTo>
                  <a:pt x="1001" y="383"/>
                </a:lnTo>
                <a:lnTo>
                  <a:pt x="999" y="378"/>
                </a:lnTo>
                <a:lnTo>
                  <a:pt x="999" y="378"/>
                </a:lnTo>
                <a:lnTo>
                  <a:pt x="997" y="377"/>
                </a:lnTo>
                <a:lnTo>
                  <a:pt x="994" y="377"/>
                </a:lnTo>
                <a:lnTo>
                  <a:pt x="987" y="380"/>
                </a:lnTo>
                <a:lnTo>
                  <a:pt x="979" y="384"/>
                </a:lnTo>
                <a:lnTo>
                  <a:pt x="972" y="387"/>
                </a:lnTo>
                <a:lnTo>
                  <a:pt x="972" y="387"/>
                </a:lnTo>
                <a:lnTo>
                  <a:pt x="970" y="386"/>
                </a:lnTo>
                <a:lnTo>
                  <a:pt x="970" y="384"/>
                </a:lnTo>
                <a:lnTo>
                  <a:pt x="972" y="376"/>
                </a:lnTo>
                <a:lnTo>
                  <a:pt x="973" y="367"/>
                </a:lnTo>
                <a:lnTo>
                  <a:pt x="973" y="363"/>
                </a:lnTo>
                <a:lnTo>
                  <a:pt x="973" y="360"/>
                </a:lnTo>
                <a:lnTo>
                  <a:pt x="973" y="360"/>
                </a:lnTo>
                <a:lnTo>
                  <a:pt x="967" y="351"/>
                </a:lnTo>
                <a:lnTo>
                  <a:pt x="964" y="347"/>
                </a:lnTo>
                <a:lnTo>
                  <a:pt x="962" y="340"/>
                </a:lnTo>
                <a:lnTo>
                  <a:pt x="962" y="340"/>
                </a:lnTo>
                <a:lnTo>
                  <a:pt x="959" y="337"/>
                </a:lnTo>
                <a:lnTo>
                  <a:pt x="956" y="336"/>
                </a:lnTo>
                <a:lnTo>
                  <a:pt x="952" y="334"/>
                </a:lnTo>
                <a:lnTo>
                  <a:pt x="946" y="334"/>
                </a:lnTo>
                <a:lnTo>
                  <a:pt x="937" y="336"/>
                </a:lnTo>
                <a:lnTo>
                  <a:pt x="933" y="339"/>
                </a:lnTo>
                <a:lnTo>
                  <a:pt x="930" y="340"/>
                </a:lnTo>
                <a:lnTo>
                  <a:pt x="930" y="340"/>
                </a:lnTo>
                <a:lnTo>
                  <a:pt x="927" y="343"/>
                </a:lnTo>
                <a:lnTo>
                  <a:pt x="923" y="344"/>
                </a:lnTo>
                <a:lnTo>
                  <a:pt x="915" y="346"/>
                </a:lnTo>
                <a:lnTo>
                  <a:pt x="905" y="349"/>
                </a:lnTo>
                <a:lnTo>
                  <a:pt x="900" y="351"/>
                </a:lnTo>
                <a:lnTo>
                  <a:pt x="896" y="354"/>
                </a:lnTo>
                <a:lnTo>
                  <a:pt x="896" y="354"/>
                </a:lnTo>
                <a:lnTo>
                  <a:pt x="893" y="359"/>
                </a:lnTo>
                <a:lnTo>
                  <a:pt x="892" y="361"/>
                </a:lnTo>
                <a:lnTo>
                  <a:pt x="892" y="366"/>
                </a:lnTo>
                <a:lnTo>
                  <a:pt x="893" y="369"/>
                </a:lnTo>
                <a:lnTo>
                  <a:pt x="898" y="374"/>
                </a:lnTo>
                <a:lnTo>
                  <a:pt x="900" y="377"/>
                </a:lnTo>
                <a:lnTo>
                  <a:pt x="900" y="377"/>
                </a:lnTo>
                <a:lnTo>
                  <a:pt x="902" y="378"/>
                </a:lnTo>
                <a:lnTo>
                  <a:pt x="900" y="381"/>
                </a:lnTo>
                <a:lnTo>
                  <a:pt x="896" y="384"/>
                </a:lnTo>
                <a:lnTo>
                  <a:pt x="892" y="388"/>
                </a:lnTo>
                <a:lnTo>
                  <a:pt x="890" y="390"/>
                </a:lnTo>
                <a:lnTo>
                  <a:pt x="892" y="393"/>
                </a:lnTo>
                <a:lnTo>
                  <a:pt x="892" y="393"/>
                </a:lnTo>
                <a:lnTo>
                  <a:pt x="898" y="396"/>
                </a:lnTo>
                <a:lnTo>
                  <a:pt x="903" y="397"/>
                </a:lnTo>
                <a:lnTo>
                  <a:pt x="907" y="400"/>
                </a:lnTo>
                <a:lnTo>
                  <a:pt x="909" y="401"/>
                </a:lnTo>
                <a:lnTo>
                  <a:pt x="909" y="404"/>
                </a:lnTo>
                <a:lnTo>
                  <a:pt x="909" y="404"/>
                </a:lnTo>
                <a:lnTo>
                  <a:pt x="909" y="407"/>
                </a:lnTo>
                <a:lnTo>
                  <a:pt x="906" y="408"/>
                </a:lnTo>
                <a:lnTo>
                  <a:pt x="902" y="407"/>
                </a:lnTo>
                <a:lnTo>
                  <a:pt x="898" y="406"/>
                </a:lnTo>
                <a:lnTo>
                  <a:pt x="888" y="400"/>
                </a:lnTo>
                <a:lnTo>
                  <a:pt x="885" y="397"/>
                </a:lnTo>
                <a:lnTo>
                  <a:pt x="882" y="394"/>
                </a:lnTo>
                <a:lnTo>
                  <a:pt x="882" y="394"/>
                </a:lnTo>
                <a:lnTo>
                  <a:pt x="880" y="388"/>
                </a:lnTo>
                <a:lnTo>
                  <a:pt x="880" y="383"/>
                </a:lnTo>
                <a:lnTo>
                  <a:pt x="880" y="378"/>
                </a:lnTo>
                <a:lnTo>
                  <a:pt x="879" y="373"/>
                </a:lnTo>
                <a:lnTo>
                  <a:pt x="879" y="373"/>
                </a:lnTo>
                <a:lnTo>
                  <a:pt x="876" y="369"/>
                </a:lnTo>
                <a:lnTo>
                  <a:pt x="878" y="364"/>
                </a:lnTo>
                <a:lnTo>
                  <a:pt x="882" y="357"/>
                </a:lnTo>
                <a:lnTo>
                  <a:pt x="888" y="350"/>
                </a:lnTo>
                <a:lnTo>
                  <a:pt x="888" y="350"/>
                </a:lnTo>
                <a:lnTo>
                  <a:pt x="893" y="344"/>
                </a:lnTo>
                <a:lnTo>
                  <a:pt x="899" y="341"/>
                </a:lnTo>
                <a:lnTo>
                  <a:pt x="902" y="340"/>
                </a:lnTo>
                <a:lnTo>
                  <a:pt x="903" y="336"/>
                </a:lnTo>
                <a:lnTo>
                  <a:pt x="903" y="336"/>
                </a:lnTo>
                <a:lnTo>
                  <a:pt x="902" y="334"/>
                </a:lnTo>
                <a:lnTo>
                  <a:pt x="898" y="333"/>
                </a:lnTo>
                <a:lnTo>
                  <a:pt x="890" y="333"/>
                </a:lnTo>
                <a:lnTo>
                  <a:pt x="880" y="334"/>
                </a:lnTo>
                <a:lnTo>
                  <a:pt x="870" y="336"/>
                </a:lnTo>
                <a:lnTo>
                  <a:pt x="861" y="340"/>
                </a:lnTo>
                <a:lnTo>
                  <a:pt x="849" y="344"/>
                </a:lnTo>
                <a:lnTo>
                  <a:pt x="841" y="351"/>
                </a:lnTo>
                <a:lnTo>
                  <a:pt x="841" y="351"/>
                </a:lnTo>
                <a:lnTo>
                  <a:pt x="834" y="360"/>
                </a:lnTo>
                <a:lnTo>
                  <a:pt x="828" y="369"/>
                </a:lnTo>
                <a:lnTo>
                  <a:pt x="825" y="377"/>
                </a:lnTo>
                <a:lnTo>
                  <a:pt x="824" y="386"/>
                </a:lnTo>
                <a:lnTo>
                  <a:pt x="824" y="393"/>
                </a:lnTo>
                <a:lnTo>
                  <a:pt x="824" y="400"/>
                </a:lnTo>
                <a:lnTo>
                  <a:pt x="825" y="407"/>
                </a:lnTo>
                <a:lnTo>
                  <a:pt x="825" y="407"/>
                </a:lnTo>
                <a:lnTo>
                  <a:pt x="826" y="410"/>
                </a:lnTo>
                <a:lnTo>
                  <a:pt x="829" y="410"/>
                </a:lnTo>
                <a:lnTo>
                  <a:pt x="839" y="411"/>
                </a:lnTo>
                <a:lnTo>
                  <a:pt x="849" y="413"/>
                </a:lnTo>
                <a:lnTo>
                  <a:pt x="859" y="414"/>
                </a:lnTo>
                <a:lnTo>
                  <a:pt x="859" y="414"/>
                </a:lnTo>
                <a:lnTo>
                  <a:pt x="865" y="417"/>
                </a:lnTo>
                <a:lnTo>
                  <a:pt x="866" y="418"/>
                </a:lnTo>
                <a:lnTo>
                  <a:pt x="866" y="420"/>
                </a:lnTo>
                <a:lnTo>
                  <a:pt x="862" y="421"/>
                </a:lnTo>
                <a:lnTo>
                  <a:pt x="856" y="421"/>
                </a:lnTo>
                <a:lnTo>
                  <a:pt x="856" y="421"/>
                </a:lnTo>
                <a:lnTo>
                  <a:pt x="841" y="420"/>
                </a:lnTo>
                <a:lnTo>
                  <a:pt x="834" y="420"/>
                </a:lnTo>
                <a:lnTo>
                  <a:pt x="832" y="421"/>
                </a:lnTo>
                <a:lnTo>
                  <a:pt x="832" y="423"/>
                </a:lnTo>
                <a:lnTo>
                  <a:pt x="832" y="423"/>
                </a:lnTo>
                <a:lnTo>
                  <a:pt x="834" y="425"/>
                </a:lnTo>
                <a:lnTo>
                  <a:pt x="835" y="428"/>
                </a:lnTo>
                <a:lnTo>
                  <a:pt x="843" y="434"/>
                </a:lnTo>
                <a:lnTo>
                  <a:pt x="853" y="438"/>
                </a:lnTo>
                <a:lnTo>
                  <a:pt x="859" y="440"/>
                </a:lnTo>
                <a:lnTo>
                  <a:pt x="863" y="438"/>
                </a:lnTo>
                <a:lnTo>
                  <a:pt x="863" y="438"/>
                </a:lnTo>
                <a:lnTo>
                  <a:pt x="870" y="437"/>
                </a:lnTo>
                <a:lnTo>
                  <a:pt x="873" y="437"/>
                </a:lnTo>
                <a:lnTo>
                  <a:pt x="876" y="438"/>
                </a:lnTo>
                <a:lnTo>
                  <a:pt x="879" y="442"/>
                </a:lnTo>
                <a:lnTo>
                  <a:pt x="879" y="442"/>
                </a:lnTo>
                <a:lnTo>
                  <a:pt x="882" y="444"/>
                </a:lnTo>
                <a:lnTo>
                  <a:pt x="885" y="445"/>
                </a:lnTo>
                <a:lnTo>
                  <a:pt x="892" y="447"/>
                </a:lnTo>
                <a:lnTo>
                  <a:pt x="912" y="447"/>
                </a:lnTo>
                <a:lnTo>
                  <a:pt x="912" y="447"/>
                </a:lnTo>
                <a:lnTo>
                  <a:pt x="922" y="448"/>
                </a:lnTo>
                <a:lnTo>
                  <a:pt x="932" y="451"/>
                </a:lnTo>
                <a:lnTo>
                  <a:pt x="947" y="454"/>
                </a:lnTo>
                <a:lnTo>
                  <a:pt x="947" y="454"/>
                </a:lnTo>
                <a:lnTo>
                  <a:pt x="952" y="454"/>
                </a:lnTo>
                <a:lnTo>
                  <a:pt x="957" y="452"/>
                </a:lnTo>
                <a:lnTo>
                  <a:pt x="962" y="450"/>
                </a:lnTo>
                <a:lnTo>
                  <a:pt x="963" y="447"/>
                </a:lnTo>
                <a:lnTo>
                  <a:pt x="963" y="447"/>
                </a:lnTo>
                <a:lnTo>
                  <a:pt x="966" y="445"/>
                </a:lnTo>
                <a:lnTo>
                  <a:pt x="969" y="445"/>
                </a:lnTo>
                <a:lnTo>
                  <a:pt x="980" y="448"/>
                </a:lnTo>
                <a:lnTo>
                  <a:pt x="991" y="451"/>
                </a:lnTo>
                <a:lnTo>
                  <a:pt x="1000" y="451"/>
                </a:lnTo>
                <a:lnTo>
                  <a:pt x="1000" y="451"/>
                </a:lnTo>
                <a:lnTo>
                  <a:pt x="1003" y="451"/>
                </a:lnTo>
                <a:lnTo>
                  <a:pt x="1003" y="450"/>
                </a:lnTo>
                <a:lnTo>
                  <a:pt x="1003" y="447"/>
                </a:lnTo>
                <a:lnTo>
                  <a:pt x="1001" y="444"/>
                </a:lnTo>
                <a:lnTo>
                  <a:pt x="997" y="441"/>
                </a:lnTo>
                <a:lnTo>
                  <a:pt x="997" y="441"/>
                </a:lnTo>
                <a:lnTo>
                  <a:pt x="996" y="440"/>
                </a:lnTo>
                <a:lnTo>
                  <a:pt x="996" y="435"/>
                </a:lnTo>
                <a:lnTo>
                  <a:pt x="997" y="434"/>
                </a:lnTo>
                <a:lnTo>
                  <a:pt x="999" y="433"/>
                </a:lnTo>
                <a:lnTo>
                  <a:pt x="1001" y="434"/>
                </a:lnTo>
                <a:lnTo>
                  <a:pt x="1001" y="434"/>
                </a:lnTo>
                <a:lnTo>
                  <a:pt x="1013" y="438"/>
                </a:lnTo>
                <a:lnTo>
                  <a:pt x="1017" y="442"/>
                </a:lnTo>
                <a:lnTo>
                  <a:pt x="1020" y="445"/>
                </a:lnTo>
                <a:lnTo>
                  <a:pt x="1020" y="445"/>
                </a:lnTo>
                <a:lnTo>
                  <a:pt x="1023" y="448"/>
                </a:lnTo>
                <a:lnTo>
                  <a:pt x="1026" y="450"/>
                </a:lnTo>
                <a:lnTo>
                  <a:pt x="1027" y="451"/>
                </a:lnTo>
                <a:lnTo>
                  <a:pt x="1028" y="454"/>
                </a:lnTo>
                <a:lnTo>
                  <a:pt x="1028" y="454"/>
                </a:lnTo>
                <a:lnTo>
                  <a:pt x="1030" y="455"/>
                </a:lnTo>
                <a:lnTo>
                  <a:pt x="1033" y="458"/>
                </a:lnTo>
                <a:lnTo>
                  <a:pt x="1041" y="461"/>
                </a:lnTo>
                <a:lnTo>
                  <a:pt x="1050" y="465"/>
                </a:lnTo>
                <a:lnTo>
                  <a:pt x="1051" y="468"/>
                </a:lnTo>
                <a:lnTo>
                  <a:pt x="1053" y="470"/>
                </a:lnTo>
                <a:lnTo>
                  <a:pt x="1053" y="470"/>
                </a:lnTo>
                <a:lnTo>
                  <a:pt x="1053" y="472"/>
                </a:lnTo>
                <a:lnTo>
                  <a:pt x="1050" y="474"/>
                </a:lnTo>
                <a:lnTo>
                  <a:pt x="1043" y="477"/>
                </a:lnTo>
                <a:lnTo>
                  <a:pt x="1037" y="481"/>
                </a:lnTo>
                <a:lnTo>
                  <a:pt x="1037" y="482"/>
                </a:lnTo>
                <a:lnTo>
                  <a:pt x="1037" y="484"/>
                </a:lnTo>
                <a:lnTo>
                  <a:pt x="1037" y="484"/>
                </a:lnTo>
                <a:lnTo>
                  <a:pt x="1040" y="485"/>
                </a:lnTo>
                <a:lnTo>
                  <a:pt x="1043" y="485"/>
                </a:lnTo>
                <a:lnTo>
                  <a:pt x="1050" y="482"/>
                </a:lnTo>
                <a:lnTo>
                  <a:pt x="1055" y="478"/>
                </a:lnTo>
                <a:lnTo>
                  <a:pt x="1063" y="477"/>
                </a:lnTo>
                <a:lnTo>
                  <a:pt x="1063" y="477"/>
                </a:lnTo>
                <a:lnTo>
                  <a:pt x="1065" y="477"/>
                </a:lnTo>
                <a:lnTo>
                  <a:pt x="1067" y="479"/>
                </a:lnTo>
                <a:lnTo>
                  <a:pt x="1071" y="485"/>
                </a:lnTo>
                <a:lnTo>
                  <a:pt x="1074" y="491"/>
                </a:lnTo>
                <a:lnTo>
                  <a:pt x="1075" y="492"/>
                </a:lnTo>
                <a:lnTo>
                  <a:pt x="1077" y="492"/>
                </a:lnTo>
                <a:lnTo>
                  <a:pt x="1077" y="492"/>
                </a:lnTo>
                <a:lnTo>
                  <a:pt x="1081" y="491"/>
                </a:lnTo>
                <a:lnTo>
                  <a:pt x="1084" y="491"/>
                </a:lnTo>
                <a:lnTo>
                  <a:pt x="1090" y="494"/>
                </a:lnTo>
                <a:lnTo>
                  <a:pt x="1095" y="499"/>
                </a:lnTo>
                <a:lnTo>
                  <a:pt x="1101" y="508"/>
                </a:lnTo>
                <a:lnTo>
                  <a:pt x="1101" y="508"/>
                </a:lnTo>
                <a:lnTo>
                  <a:pt x="1104" y="512"/>
                </a:lnTo>
                <a:lnTo>
                  <a:pt x="1105" y="516"/>
                </a:lnTo>
                <a:lnTo>
                  <a:pt x="1104" y="525"/>
                </a:lnTo>
                <a:lnTo>
                  <a:pt x="1102" y="531"/>
                </a:lnTo>
                <a:lnTo>
                  <a:pt x="1101" y="535"/>
                </a:lnTo>
                <a:lnTo>
                  <a:pt x="1101" y="535"/>
                </a:lnTo>
                <a:lnTo>
                  <a:pt x="1102" y="536"/>
                </a:lnTo>
                <a:lnTo>
                  <a:pt x="1105" y="538"/>
                </a:lnTo>
                <a:lnTo>
                  <a:pt x="1111" y="538"/>
                </a:lnTo>
                <a:lnTo>
                  <a:pt x="1119" y="536"/>
                </a:lnTo>
                <a:lnTo>
                  <a:pt x="1128" y="534"/>
                </a:lnTo>
                <a:lnTo>
                  <a:pt x="1128" y="534"/>
                </a:lnTo>
                <a:lnTo>
                  <a:pt x="1131" y="532"/>
                </a:lnTo>
                <a:lnTo>
                  <a:pt x="1135" y="532"/>
                </a:lnTo>
                <a:lnTo>
                  <a:pt x="1141" y="535"/>
                </a:lnTo>
                <a:lnTo>
                  <a:pt x="1146" y="541"/>
                </a:lnTo>
                <a:lnTo>
                  <a:pt x="1152" y="545"/>
                </a:lnTo>
                <a:lnTo>
                  <a:pt x="1152" y="545"/>
                </a:lnTo>
                <a:lnTo>
                  <a:pt x="1154" y="548"/>
                </a:lnTo>
                <a:lnTo>
                  <a:pt x="1152" y="551"/>
                </a:lnTo>
                <a:lnTo>
                  <a:pt x="1148" y="553"/>
                </a:lnTo>
                <a:lnTo>
                  <a:pt x="1142" y="556"/>
                </a:lnTo>
                <a:lnTo>
                  <a:pt x="1132" y="558"/>
                </a:lnTo>
                <a:lnTo>
                  <a:pt x="1129" y="558"/>
                </a:lnTo>
                <a:lnTo>
                  <a:pt x="1129" y="556"/>
                </a:lnTo>
                <a:lnTo>
                  <a:pt x="1129" y="556"/>
                </a:lnTo>
                <a:lnTo>
                  <a:pt x="1129" y="555"/>
                </a:lnTo>
                <a:lnTo>
                  <a:pt x="1127" y="551"/>
                </a:lnTo>
                <a:lnTo>
                  <a:pt x="1124" y="548"/>
                </a:lnTo>
                <a:lnTo>
                  <a:pt x="1118" y="545"/>
                </a:lnTo>
                <a:lnTo>
                  <a:pt x="1111" y="542"/>
                </a:lnTo>
                <a:lnTo>
                  <a:pt x="1104" y="541"/>
                </a:lnTo>
                <a:lnTo>
                  <a:pt x="1097" y="541"/>
                </a:lnTo>
                <a:lnTo>
                  <a:pt x="1088" y="542"/>
                </a:lnTo>
                <a:lnTo>
                  <a:pt x="1088" y="542"/>
                </a:lnTo>
                <a:lnTo>
                  <a:pt x="1082" y="545"/>
                </a:lnTo>
                <a:lnTo>
                  <a:pt x="1080" y="548"/>
                </a:lnTo>
                <a:lnTo>
                  <a:pt x="1078" y="552"/>
                </a:lnTo>
                <a:lnTo>
                  <a:pt x="1078" y="556"/>
                </a:lnTo>
                <a:lnTo>
                  <a:pt x="1081" y="563"/>
                </a:lnTo>
                <a:lnTo>
                  <a:pt x="1084" y="569"/>
                </a:lnTo>
                <a:lnTo>
                  <a:pt x="1084" y="569"/>
                </a:lnTo>
                <a:lnTo>
                  <a:pt x="1084" y="572"/>
                </a:lnTo>
                <a:lnTo>
                  <a:pt x="1082" y="575"/>
                </a:lnTo>
                <a:lnTo>
                  <a:pt x="1078" y="576"/>
                </a:lnTo>
                <a:lnTo>
                  <a:pt x="1074" y="578"/>
                </a:lnTo>
                <a:lnTo>
                  <a:pt x="1068" y="579"/>
                </a:lnTo>
                <a:lnTo>
                  <a:pt x="1061" y="579"/>
                </a:lnTo>
                <a:lnTo>
                  <a:pt x="1054" y="579"/>
                </a:lnTo>
                <a:lnTo>
                  <a:pt x="1047" y="576"/>
                </a:lnTo>
                <a:lnTo>
                  <a:pt x="1047" y="576"/>
                </a:lnTo>
                <a:lnTo>
                  <a:pt x="1041" y="575"/>
                </a:lnTo>
                <a:lnTo>
                  <a:pt x="1037" y="575"/>
                </a:lnTo>
                <a:lnTo>
                  <a:pt x="1034" y="575"/>
                </a:lnTo>
                <a:lnTo>
                  <a:pt x="1031" y="576"/>
                </a:lnTo>
                <a:lnTo>
                  <a:pt x="1030" y="579"/>
                </a:lnTo>
                <a:lnTo>
                  <a:pt x="1028" y="580"/>
                </a:lnTo>
                <a:lnTo>
                  <a:pt x="1026" y="580"/>
                </a:lnTo>
                <a:lnTo>
                  <a:pt x="1026" y="580"/>
                </a:lnTo>
                <a:lnTo>
                  <a:pt x="1023" y="582"/>
                </a:lnTo>
                <a:lnTo>
                  <a:pt x="1020" y="583"/>
                </a:lnTo>
                <a:lnTo>
                  <a:pt x="1016" y="588"/>
                </a:lnTo>
                <a:lnTo>
                  <a:pt x="1014" y="592"/>
                </a:lnTo>
                <a:lnTo>
                  <a:pt x="1013" y="595"/>
                </a:lnTo>
                <a:lnTo>
                  <a:pt x="1014" y="598"/>
                </a:lnTo>
                <a:lnTo>
                  <a:pt x="1016" y="600"/>
                </a:lnTo>
                <a:lnTo>
                  <a:pt x="1016" y="600"/>
                </a:lnTo>
                <a:lnTo>
                  <a:pt x="1018" y="603"/>
                </a:lnTo>
                <a:lnTo>
                  <a:pt x="1023" y="605"/>
                </a:lnTo>
                <a:lnTo>
                  <a:pt x="1031" y="605"/>
                </a:lnTo>
                <a:lnTo>
                  <a:pt x="1041" y="603"/>
                </a:lnTo>
                <a:lnTo>
                  <a:pt x="1051" y="602"/>
                </a:lnTo>
                <a:lnTo>
                  <a:pt x="1051" y="602"/>
                </a:lnTo>
                <a:lnTo>
                  <a:pt x="1064" y="603"/>
                </a:lnTo>
                <a:lnTo>
                  <a:pt x="1065" y="603"/>
                </a:lnTo>
                <a:lnTo>
                  <a:pt x="1067" y="599"/>
                </a:lnTo>
                <a:lnTo>
                  <a:pt x="1067" y="599"/>
                </a:lnTo>
                <a:lnTo>
                  <a:pt x="1068" y="598"/>
                </a:lnTo>
                <a:lnTo>
                  <a:pt x="1071" y="596"/>
                </a:lnTo>
                <a:lnTo>
                  <a:pt x="1077" y="595"/>
                </a:lnTo>
                <a:lnTo>
                  <a:pt x="1084" y="596"/>
                </a:lnTo>
                <a:lnTo>
                  <a:pt x="1091" y="598"/>
                </a:lnTo>
                <a:lnTo>
                  <a:pt x="1091" y="598"/>
                </a:lnTo>
                <a:lnTo>
                  <a:pt x="1094" y="599"/>
                </a:lnTo>
                <a:lnTo>
                  <a:pt x="1097" y="602"/>
                </a:lnTo>
                <a:lnTo>
                  <a:pt x="1100" y="606"/>
                </a:lnTo>
                <a:lnTo>
                  <a:pt x="1104" y="612"/>
                </a:lnTo>
                <a:lnTo>
                  <a:pt x="1107" y="613"/>
                </a:lnTo>
                <a:lnTo>
                  <a:pt x="1109" y="615"/>
                </a:lnTo>
                <a:lnTo>
                  <a:pt x="1109" y="615"/>
                </a:lnTo>
                <a:lnTo>
                  <a:pt x="1114" y="616"/>
                </a:lnTo>
                <a:lnTo>
                  <a:pt x="1115" y="617"/>
                </a:lnTo>
                <a:lnTo>
                  <a:pt x="1117" y="619"/>
                </a:lnTo>
                <a:lnTo>
                  <a:pt x="1117" y="622"/>
                </a:lnTo>
                <a:lnTo>
                  <a:pt x="1117" y="629"/>
                </a:lnTo>
                <a:lnTo>
                  <a:pt x="1117" y="632"/>
                </a:lnTo>
                <a:lnTo>
                  <a:pt x="1119" y="635"/>
                </a:lnTo>
                <a:lnTo>
                  <a:pt x="1119" y="635"/>
                </a:lnTo>
                <a:lnTo>
                  <a:pt x="1122" y="637"/>
                </a:lnTo>
                <a:lnTo>
                  <a:pt x="1127" y="639"/>
                </a:lnTo>
                <a:lnTo>
                  <a:pt x="1138" y="640"/>
                </a:lnTo>
                <a:lnTo>
                  <a:pt x="1149" y="643"/>
                </a:lnTo>
                <a:lnTo>
                  <a:pt x="1154" y="644"/>
                </a:lnTo>
                <a:lnTo>
                  <a:pt x="1158" y="647"/>
                </a:lnTo>
                <a:lnTo>
                  <a:pt x="1158" y="647"/>
                </a:lnTo>
                <a:lnTo>
                  <a:pt x="1168" y="654"/>
                </a:lnTo>
                <a:lnTo>
                  <a:pt x="1183" y="663"/>
                </a:lnTo>
                <a:lnTo>
                  <a:pt x="1199" y="667"/>
                </a:lnTo>
                <a:lnTo>
                  <a:pt x="1205" y="667"/>
                </a:lnTo>
                <a:lnTo>
                  <a:pt x="1208" y="666"/>
                </a:lnTo>
                <a:lnTo>
                  <a:pt x="1208" y="666"/>
                </a:lnTo>
                <a:lnTo>
                  <a:pt x="1208" y="664"/>
                </a:lnTo>
                <a:lnTo>
                  <a:pt x="1208" y="663"/>
                </a:lnTo>
                <a:lnTo>
                  <a:pt x="1205" y="657"/>
                </a:lnTo>
                <a:lnTo>
                  <a:pt x="1199" y="650"/>
                </a:lnTo>
                <a:lnTo>
                  <a:pt x="1192" y="643"/>
                </a:lnTo>
                <a:lnTo>
                  <a:pt x="1178" y="630"/>
                </a:lnTo>
                <a:lnTo>
                  <a:pt x="1171" y="626"/>
                </a:lnTo>
                <a:lnTo>
                  <a:pt x="1165" y="623"/>
                </a:lnTo>
                <a:lnTo>
                  <a:pt x="1165" y="623"/>
                </a:lnTo>
                <a:lnTo>
                  <a:pt x="1164" y="623"/>
                </a:lnTo>
                <a:lnTo>
                  <a:pt x="1164" y="622"/>
                </a:lnTo>
                <a:lnTo>
                  <a:pt x="1168" y="620"/>
                </a:lnTo>
                <a:lnTo>
                  <a:pt x="1179" y="622"/>
                </a:lnTo>
                <a:lnTo>
                  <a:pt x="1185" y="625"/>
                </a:lnTo>
                <a:lnTo>
                  <a:pt x="1189" y="627"/>
                </a:lnTo>
                <a:lnTo>
                  <a:pt x="1189" y="627"/>
                </a:lnTo>
                <a:lnTo>
                  <a:pt x="1201" y="635"/>
                </a:lnTo>
                <a:lnTo>
                  <a:pt x="1206" y="637"/>
                </a:lnTo>
                <a:lnTo>
                  <a:pt x="1213" y="639"/>
                </a:lnTo>
                <a:lnTo>
                  <a:pt x="1219" y="639"/>
                </a:lnTo>
                <a:lnTo>
                  <a:pt x="1223" y="637"/>
                </a:lnTo>
                <a:lnTo>
                  <a:pt x="1229" y="635"/>
                </a:lnTo>
                <a:lnTo>
                  <a:pt x="1233" y="630"/>
                </a:lnTo>
                <a:lnTo>
                  <a:pt x="1233" y="630"/>
                </a:lnTo>
                <a:lnTo>
                  <a:pt x="1236" y="627"/>
                </a:lnTo>
                <a:lnTo>
                  <a:pt x="1236" y="623"/>
                </a:lnTo>
                <a:lnTo>
                  <a:pt x="1235" y="622"/>
                </a:lnTo>
                <a:lnTo>
                  <a:pt x="1232" y="620"/>
                </a:lnTo>
                <a:lnTo>
                  <a:pt x="1228" y="617"/>
                </a:lnTo>
                <a:lnTo>
                  <a:pt x="1225" y="615"/>
                </a:lnTo>
                <a:lnTo>
                  <a:pt x="1225" y="612"/>
                </a:lnTo>
                <a:lnTo>
                  <a:pt x="1225" y="612"/>
                </a:lnTo>
                <a:lnTo>
                  <a:pt x="1223" y="605"/>
                </a:lnTo>
                <a:lnTo>
                  <a:pt x="1220" y="598"/>
                </a:lnTo>
                <a:lnTo>
                  <a:pt x="1215" y="592"/>
                </a:lnTo>
                <a:lnTo>
                  <a:pt x="1212" y="590"/>
                </a:lnTo>
                <a:lnTo>
                  <a:pt x="1208" y="590"/>
                </a:lnTo>
                <a:lnTo>
                  <a:pt x="1208" y="590"/>
                </a:lnTo>
                <a:lnTo>
                  <a:pt x="1203" y="589"/>
                </a:lnTo>
                <a:lnTo>
                  <a:pt x="1199" y="588"/>
                </a:lnTo>
                <a:lnTo>
                  <a:pt x="1188" y="580"/>
                </a:lnTo>
                <a:lnTo>
                  <a:pt x="1183" y="576"/>
                </a:lnTo>
                <a:lnTo>
                  <a:pt x="1181" y="572"/>
                </a:lnTo>
                <a:lnTo>
                  <a:pt x="1179" y="569"/>
                </a:lnTo>
                <a:lnTo>
                  <a:pt x="1182" y="566"/>
                </a:lnTo>
                <a:lnTo>
                  <a:pt x="1182" y="566"/>
                </a:lnTo>
                <a:lnTo>
                  <a:pt x="1185" y="565"/>
                </a:lnTo>
                <a:lnTo>
                  <a:pt x="1185" y="562"/>
                </a:lnTo>
                <a:lnTo>
                  <a:pt x="1185" y="559"/>
                </a:lnTo>
                <a:lnTo>
                  <a:pt x="1183" y="553"/>
                </a:lnTo>
                <a:lnTo>
                  <a:pt x="1185" y="551"/>
                </a:lnTo>
                <a:lnTo>
                  <a:pt x="1186" y="548"/>
                </a:lnTo>
                <a:lnTo>
                  <a:pt x="1186" y="548"/>
                </a:lnTo>
                <a:lnTo>
                  <a:pt x="1189" y="546"/>
                </a:lnTo>
                <a:lnTo>
                  <a:pt x="1192" y="546"/>
                </a:lnTo>
                <a:lnTo>
                  <a:pt x="1196" y="549"/>
                </a:lnTo>
                <a:lnTo>
                  <a:pt x="1203" y="553"/>
                </a:lnTo>
                <a:lnTo>
                  <a:pt x="1206" y="555"/>
                </a:lnTo>
                <a:lnTo>
                  <a:pt x="1209" y="556"/>
                </a:lnTo>
                <a:lnTo>
                  <a:pt x="1209" y="556"/>
                </a:lnTo>
                <a:close/>
                <a:moveTo>
                  <a:pt x="1058" y="522"/>
                </a:moveTo>
                <a:lnTo>
                  <a:pt x="1058" y="522"/>
                </a:lnTo>
                <a:lnTo>
                  <a:pt x="1061" y="521"/>
                </a:lnTo>
                <a:lnTo>
                  <a:pt x="1064" y="519"/>
                </a:lnTo>
                <a:lnTo>
                  <a:pt x="1065" y="514"/>
                </a:lnTo>
                <a:lnTo>
                  <a:pt x="1064" y="507"/>
                </a:lnTo>
                <a:lnTo>
                  <a:pt x="1061" y="501"/>
                </a:lnTo>
                <a:lnTo>
                  <a:pt x="1061" y="501"/>
                </a:lnTo>
                <a:lnTo>
                  <a:pt x="1057" y="498"/>
                </a:lnTo>
                <a:lnTo>
                  <a:pt x="1053" y="497"/>
                </a:lnTo>
                <a:lnTo>
                  <a:pt x="1047" y="495"/>
                </a:lnTo>
                <a:lnTo>
                  <a:pt x="1040" y="495"/>
                </a:lnTo>
                <a:lnTo>
                  <a:pt x="1040" y="495"/>
                </a:lnTo>
                <a:lnTo>
                  <a:pt x="1034" y="498"/>
                </a:lnTo>
                <a:lnTo>
                  <a:pt x="1027" y="504"/>
                </a:lnTo>
                <a:lnTo>
                  <a:pt x="1026" y="508"/>
                </a:lnTo>
                <a:lnTo>
                  <a:pt x="1024" y="512"/>
                </a:lnTo>
                <a:lnTo>
                  <a:pt x="1024" y="516"/>
                </a:lnTo>
                <a:lnTo>
                  <a:pt x="1026" y="521"/>
                </a:lnTo>
                <a:lnTo>
                  <a:pt x="1026" y="521"/>
                </a:lnTo>
                <a:lnTo>
                  <a:pt x="1030" y="524"/>
                </a:lnTo>
                <a:lnTo>
                  <a:pt x="1033" y="526"/>
                </a:lnTo>
                <a:lnTo>
                  <a:pt x="1037" y="526"/>
                </a:lnTo>
                <a:lnTo>
                  <a:pt x="1041" y="526"/>
                </a:lnTo>
                <a:lnTo>
                  <a:pt x="1051" y="524"/>
                </a:lnTo>
                <a:lnTo>
                  <a:pt x="1058" y="522"/>
                </a:lnTo>
                <a:lnTo>
                  <a:pt x="1058" y="522"/>
                </a:lnTo>
                <a:close/>
                <a:moveTo>
                  <a:pt x="970" y="337"/>
                </a:moveTo>
                <a:lnTo>
                  <a:pt x="970" y="337"/>
                </a:lnTo>
                <a:lnTo>
                  <a:pt x="969" y="340"/>
                </a:lnTo>
                <a:lnTo>
                  <a:pt x="970" y="343"/>
                </a:lnTo>
                <a:lnTo>
                  <a:pt x="973" y="347"/>
                </a:lnTo>
                <a:lnTo>
                  <a:pt x="977" y="350"/>
                </a:lnTo>
                <a:lnTo>
                  <a:pt x="979" y="353"/>
                </a:lnTo>
                <a:lnTo>
                  <a:pt x="980" y="357"/>
                </a:lnTo>
                <a:lnTo>
                  <a:pt x="980" y="357"/>
                </a:lnTo>
                <a:lnTo>
                  <a:pt x="980" y="360"/>
                </a:lnTo>
                <a:lnTo>
                  <a:pt x="983" y="364"/>
                </a:lnTo>
                <a:lnTo>
                  <a:pt x="986" y="366"/>
                </a:lnTo>
                <a:lnTo>
                  <a:pt x="989" y="367"/>
                </a:lnTo>
                <a:lnTo>
                  <a:pt x="993" y="369"/>
                </a:lnTo>
                <a:lnTo>
                  <a:pt x="996" y="369"/>
                </a:lnTo>
                <a:lnTo>
                  <a:pt x="1000" y="367"/>
                </a:lnTo>
                <a:lnTo>
                  <a:pt x="1004" y="364"/>
                </a:lnTo>
                <a:lnTo>
                  <a:pt x="1004" y="364"/>
                </a:lnTo>
                <a:lnTo>
                  <a:pt x="1008" y="363"/>
                </a:lnTo>
                <a:lnTo>
                  <a:pt x="1014" y="363"/>
                </a:lnTo>
                <a:lnTo>
                  <a:pt x="1027" y="363"/>
                </a:lnTo>
                <a:lnTo>
                  <a:pt x="1038" y="361"/>
                </a:lnTo>
                <a:lnTo>
                  <a:pt x="1041" y="361"/>
                </a:lnTo>
                <a:lnTo>
                  <a:pt x="1043" y="359"/>
                </a:lnTo>
                <a:lnTo>
                  <a:pt x="1043" y="359"/>
                </a:lnTo>
                <a:lnTo>
                  <a:pt x="1041" y="356"/>
                </a:lnTo>
                <a:lnTo>
                  <a:pt x="1037" y="351"/>
                </a:lnTo>
                <a:lnTo>
                  <a:pt x="1026" y="344"/>
                </a:lnTo>
                <a:lnTo>
                  <a:pt x="1013" y="340"/>
                </a:lnTo>
                <a:lnTo>
                  <a:pt x="1007" y="339"/>
                </a:lnTo>
                <a:lnTo>
                  <a:pt x="1001" y="339"/>
                </a:lnTo>
                <a:lnTo>
                  <a:pt x="1001" y="339"/>
                </a:lnTo>
                <a:lnTo>
                  <a:pt x="997" y="339"/>
                </a:lnTo>
                <a:lnTo>
                  <a:pt x="993" y="337"/>
                </a:lnTo>
                <a:lnTo>
                  <a:pt x="983" y="336"/>
                </a:lnTo>
                <a:lnTo>
                  <a:pt x="976" y="334"/>
                </a:lnTo>
                <a:lnTo>
                  <a:pt x="972" y="334"/>
                </a:lnTo>
                <a:lnTo>
                  <a:pt x="970" y="337"/>
                </a:lnTo>
                <a:lnTo>
                  <a:pt x="970" y="337"/>
                </a:lnTo>
                <a:close/>
                <a:moveTo>
                  <a:pt x="1236" y="942"/>
                </a:moveTo>
                <a:lnTo>
                  <a:pt x="1236" y="942"/>
                </a:lnTo>
                <a:lnTo>
                  <a:pt x="1239" y="945"/>
                </a:lnTo>
                <a:lnTo>
                  <a:pt x="1243" y="949"/>
                </a:lnTo>
                <a:lnTo>
                  <a:pt x="1259" y="955"/>
                </a:lnTo>
                <a:lnTo>
                  <a:pt x="1273" y="959"/>
                </a:lnTo>
                <a:lnTo>
                  <a:pt x="1279" y="959"/>
                </a:lnTo>
                <a:lnTo>
                  <a:pt x="1280" y="959"/>
                </a:lnTo>
                <a:lnTo>
                  <a:pt x="1280" y="957"/>
                </a:lnTo>
                <a:lnTo>
                  <a:pt x="1280" y="957"/>
                </a:lnTo>
                <a:lnTo>
                  <a:pt x="1280" y="956"/>
                </a:lnTo>
                <a:lnTo>
                  <a:pt x="1279" y="955"/>
                </a:lnTo>
                <a:lnTo>
                  <a:pt x="1275" y="950"/>
                </a:lnTo>
                <a:lnTo>
                  <a:pt x="1259" y="945"/>
                </a:lnTo>
                <a:lnTo>
                  <a:pt x="1243" y="942"/>
                </a:lnTo>
                <a:lnTo>
                  <a:pt x="1238" y="942"/>
                </a:lnTo>
                <a:lnTo>
                  <a:pt x="1238" y="942"/>
                </a:lnTo>
                <a:lnTo>
                  <a:pt x="1236" y="942"/>
                </a:lnTo>
                <a:lnTo>
                  <a:pt x="1236" y="942"/>
                </a:lnTo>
                <a:close/>
                <a:moveTo>
                  <a:pt x="1417" y="984"/>
                </a:moveTo>
                <a:lnTo>
                  <a:pt x="1417" y="984"/>
                </a:lnTo>
                <a:lnTo>
                  <a:pt x="1415" y="986"/>
                </a:lnTo>
                <a:lnTo>
                  <a:pt x="1415" y="986"/>
                </a:lnTo>
                <a:lnTo>
                  <a:pt x="1413" y="984"/>
                </a:lnTo>
                <a:lnTo>
                  <a:pt x="1414" y="980"/>
                </a:lnTo>
                <a:lnTo>
                  <a:pt x="1414" y="979"/>
                </a:lnTo>
                <a:lnTo>
                  <a:pt x="1417" y="976"/>
                </a:lnTo>
                <a:lnTo>
                  <a:pt x="1417" y="976"/>
                </a:lnTo>
                <a:lnTo>
                  <a:pt x="1418" y="973"/>
                </a:lnTo>
                <a:lnTo>
                  <a:pt x="1417" y="972"/>
                </a:lnTo>
                <a:lnTo>
                  <a:pt x="1414" y="972"/>
                </a:lnTo>
                <a:lnTo>
                  <a:pt x="1410" y="973"/>
                </a:lnTo>
                <a:lnTo>
                  <a:pt x="1410" y="973"/>
                </a:lnTo>
                <a:lnTo>
                  <a:pt x="1408" y="973"/>
                </a:lnTo>
                <a:lnTo>
                  <a:pt x="1407" y="972"/>
                </a:lnTo>
                <a:lnTo>
                  <a:pt x="1405" y="967"/>
                </a:lnTo>
                <a:lnTo>
                  <a:pt x="1407" y="960"/>
                </a:lnTo>
                <a:lnTo>
                  <a:pt x="1408" y="959"/>
                </a:lnTo>
                <a:lnTo>
                  <a:pt x="1411" y="957"/>
                </a:lnTo>
                <a:lnTo>
                  <a:pt x="1411" y="957"/>
                </a:lnTo>
                <a:lnTo>
                  <a:pt x="1411" y="956"/>
                </a:lnTo>
                <a:lnTo>
                  <a:pt x="1411" y="955"/>
                </a:lnTo>
                <a:lnTo>
                  <a:pt x="1405" y="952"/>
                </a:lnTo>
                <a:lnTo>
                  <a:pt x="1400" y="952"/>
                </a:lnTo>
                <a:lnTo>
                  <a:pt x="1398" y="952"/>
                </a:lnTo>
                <a:lnTo>
                  <a:pt x="1398" y="953"/>
                </a:lnTo>
                <a:lnTo>
                  <a:pt x="1398" y="953"/>
                </a:lnTo>
                <a:lnTo>
                  <a:pt x="1397" y="955"/>
                </a:lnTo>
                <a:lnTo>
                  <a:pt x="1395" y="956"/>
                </a:lnTo>
                <a:lnTo>
                  <a:pt x="1391" y="956"/>
                </a:lnTo>
                <a:lnTo>
                  <a:pt x="1387" y="953"/>
                </a:lnTo>
                <a:lnTo>
                  <a:pt x="1384" y="950"/>
                </a:lnTo>
                <a:lnTo>
                  <a:pt x="1384" y="950"/>
                </a:lnTo>
                <a:lnTo>
                  <a:pt x="1381" y="948"/>
                </a:lnTo>
                <a:lnTo>
                  <a:pt x="1378" y="946"/>
                </a:lnTo>
                <a:lnTo>
                  <a:pt x="1376" y="943"/>
                </a:lnTo>
                <a:lnTo>
                  <a:pt x="1376" y="942"/>
                </a:lnTo>
                <a:lnTo>
                  <a:pt x="1377" y="942"/>
                </a:lnTo>
                <a:lnTo>
                  <a:pt x="1377" y="942"/>
                </a:lnTo>
                <a:lnTo>
                  <a:pt x="1377" y="940"/>
                </a:lnTo>
                <a:lnTo>
                  <a:pt x="1376" y="939"/>
                </a:lnTo>
                <a:lnTo>
                  <a:pt x="1371" y="938"/>
                </a:lnTo>
                <a:lnTo>
                  <a:pt x="1367" y="939"/>
                </a:lnTo>
                <a:lnTo>
                  <a:pt x="1366" y="940"/>
                </a:lnTo>
                <a:lnTo>
                  <a:pt x="1364" y="942"/>
                </a:lnTo>
                <a:lnTo>
                  <a:pt x="1364" y="942"/>
                </a:lnTo>
                <a:lnTo>
                  <a:pt x="1363" y="943"/>
                </a:lnTo>
                <a:lnTo>
                  <a:pt x="1363" y="943"/>
                </a:lnTo>
                <a:lnTo>
                  <a:pt x="1361" y="940"/>
                </a:lnTo>
                <a:lnTo>
                  <a:pt x="1361" y="936"/>
                </a:lnTo>
                <a:lnTo>
                  <a:pt x="1366" y="930"/>
                </a:lnTo>
                <a:lnTo>
                  <a:pt x="1366" y="930"/>
                </a:lnTo>
                <a:lnTo>
                  <a:pt x="1370" y="925"/>
                </a:lnTo>
                <a:lnTo>
                  <a:pt x="1371" y="920"/>
                </a:lnTo>
                <a:lnTo>
                  <a:pt x="1373" y="916"/>
                </a:lnTo>
                <a:lnTo>
                  <a:pt x="1377" y="912"/>
                </a:lnTo>
                <a:lnTo>
                  <a:pt x="1377" y="912"/>
                </a:lnTo>
                <a:lnTo>
                  <a:pt x="1378" y="911"/>
                </a:lnTo>
                <a:lnTo>
                  <a:pt x="1380" y="909"/>
                </a:lnTo>
                <a:lnTo>
                  <a:pt x="1378" y="908"/>
                </a:lnTo>
                <a:lnTo>
                  <a:pt x="1374" y="906"/>
                </a:lnTo>
                <a:lnTo>
                  <a:pt x="1370" y="908"/>
                </a:lnTo>
                <a:lnTo>
                  <a:pt x="1370" y="908"/>
                </a:lnTo>
                <a:lnTo>
                  <a:pt x="1366" y="909"/>
                </a:lnTo>
                <a:lnTo>
                  <a:pt x="1363" y="913"/>
                </a:lnTo>
                <a:lnTo>
                  <a:pt x="1353" y="923"/>
                </a:lnTo>
                <a:lnTo>
                  <a:pt x="1346" y="935"/>
                </a:lnTo>
                <a:lnTo>
                  <a:pt x="1344" y="939"/>
                </a:lnTo>
                <a:lnTo>
                  <a:pt x="1343" y="943"/>
                </a:lnTo>
                <a:lnTo>
                  <a:pt x="1343" y="943"/>
                </a:lnTo>
                <a:lnTo>
                  <a:pt x="1343" y="949"/>
                </a:lnTo>
                <a:lnTo>
                  <a:pt x="1341" y="953"/>
                </a:lnTo>
                <a:lnTo>
                  <a:pt x="1340" y="957"/>
                </a:lnTo>
                <a:lnTo>
                  <a:pt x="1339" y="957"/>
                </a:lnTo>
                <a:lnTo>
                  <a:pt x="1336" y="959"/>
                </a:lnTo>
                <a:lnTo>
                  <a:pt x="1336" y="959"/>
                </a:lnTo>
                <a:lnTo>
                  <a:pt x="1331" y="959"/>
                </a:lnTo>
                <a:lnTo>
                  <a:pt x="1327" y="962"/>
                </a:lnTo>
                <a:lnTo>
                  <a:pt x="1326" y="965"/>
                </a:lnTo>
                <a:lnTo>
                  <a:pt x="1326" y="966"/>
                </a:lnTo>
                <a:lnTo>
                  <a:pt x="1327" y="967"/>
                </a:lnTo>
                <a:lnTo>
                  <a:pt x="1327" y="967"/>
                </a:lnTo>
                <a:lnTo>
                  <a:pt x="1327" y="969"/>
                </a:lnTo>
                <a:lnTo>
                  <a:pt x="1327" y="972"/>
                </a:lnTo>
                <a:lnTo>
                  <a:pt x="1323" y="977"/>
                </a:lnTo>
                <a:lnTo>
                  <a:pt x="1320" y="983"/>
                </a:lnTo>
                <a:lnTo>
                  <a:pt x="1320" y="984"/>
                </a:lnTo>
                <a:lnTo>
                  <a:pt x="1323" y="987"/>
                </a:lnTo>
                <a:lnTo>
                  <a:pt x="1323" y="987"/>
                </a:lnTo>
                <a:lnTo>
                  <a:pt x="1327" y="989"/>
                </a:lnTo>
                <a:lnTo>
                  <a:pt x="1334" y="987"/>
                </a:lnTo>
                <a:lnTo>
                  <a:pt x="1340" y="987"/>
                </a:lnTo>
                <a:lnTo>
                  <a:pt x="1347" y="987"/>
                </a:lnTo>
                <a:lnTo>
                  <a:pt x="1347" y="987"/>
                </a:lnTo>
                <a:lnTo>
                  <a:pt x="1358" y="987"/>
                </a:lnTo>
                <a:lnTo>
                  <a:pt x="1364" y="986"/>
                </a:lnTo>
                <a:lnTo>
                  <a:pt x="1370" y="983"/>
                </a:lnTo>
                <a:lnTo>
                  <a:pt x="1370" y="983"/>
                </a:lnTo>
                <a:lnTo>
                  <a:pt x="1373" y="982"/>
                </a:lnTo>
                <a:lnTo>
                  <a:pt x="1374" y="982"/>
                </a:lnTo>
                <a:lnTo>
                  <a:pt x="1377" y="983"/>
                </a:lnTo>
                <a:lnTo>
                  <a:pt x="1380" y="986"/>
                </a:lnTo>
                <a:lnTo>
                  <a:pt x="1381" y="987"/>
                </a:lnTo>
                <a:lnTo>
                  <a:pt x="1384" y="987"/>
                </a:lnTo>
                <a:lnTo>
                  <a:pt x="1384" y="987"/>
                </a:lnTo>
                <a:lnTo>
                  <a:pt x="1387" y="987"/>
                </a:lnTo>
                <a:lnTo>
                  <a:pt x="1387" y="987"/>
                </a:lnTo>
                <a:lnTo>
                  <a:pt x="1385" y="990"/>
                </a:lnTo>
                <a:lnTo>
                  <a:pt x="1383" y="994"/>
                </a:lnTo>
                <a:lnTo>
                  <a:pt x="1381" y="999"/>
                </a:lnTo>
                <a:lnTo>
                  <a:pt x="1381" y="999"/>
                </a:lnTo>
                <a:lnTo>
                  <a:pt x="1381" y="1000"/>
                </a:lnTo>
                <a:lnTo>
                  <a:pt x="1383" y="1000"/>
                </a:lnTo>
                <a:lnTo>
                  <a:pt x="1385" y="999"/>
                </a:lnTo>
                <a:lnTo>
                  <a:pt x="1394" y="993"/>
                </a:lnTo>
                <a:lnTo>
                  <a:pt x="1394" y="993"/>
                </a:lnTo>
                <a:lnTo>
                  <a:pt x="1398" y="992"/>
                </a:lnTo>
                <a:lnTo>
                  <a:pt x="1403" y="992"/>
                </a:lnTo>
                <a:lnTo>
                  <a:pt x="1404" y="994"/>
                </a:lnTo>
                <a:lnTo>
                  <a:pt x="1404" y="997"/>
                </a:lnTo>
                <a:lnTo>
                  <a:pt x="1404" y="997"/>
                </a:lnTo>
                <a:lnTo>
                  <a:pt x="1404" y="999"/>
                </a:lnTo>
                <a:lnTo>
                  <a:pt x="1405" y="1000"/>
                </a:lnTo>
                <a:lnTo>
                  <a:pt x="1411" y="1003"/>
                </a:lnTo>
                <a:lnTo>
                  <a:pt x="1418" y="1003"/>
                </a:lnTo>
                <a:lnTo>
                  <a:pt x="1422" y="1002"/>
                </a:lnTo>
                <a:lnTo>
                  <a:pt x="1424" y="999"/>
                </a:lnTo>
                <a:lnTo>
                  <a:pt x="1424" y="999"/>
                </a:lnTo>
                <a:lnTo>
                  <a:pt x="1425" y="996"/>
                </a:lnTo>
                <a:lnTo>
                  <a:pt x="1425" y="993"/>
                </a:lnTo>
                <a:lnTo>
                  <a:pt x="1424" y="987"/>
                </a:lnTo>
                <a:lnTo>
                  <a:pt x="1420" y="984"/>
                </a:lnTo>
                <a:lnTo>
                  <a:pt x="1418" y="983"/>
                </a:lnTo>
                <a:lnTo>
                  <a:pt x="1417" y="984"/>
                </a:lnTo>
                <a:lnTo>
                  <a:pt x="1417" y="984"/>
                </a:lnTo>
                <a:close/>
                <a:moveTo>
                  <a:pt x="131" y="854"/>
                </a:moveTo>
                <a:lnTo>
                  <a:pt x="131" y="854"/>
                </a:lnTo>
                <a:lnTo>
                  <a:pt x="129" y="855"/>
                </a:lnTo>
                <a:lnTo>
                  <a:pt x="128" y="858"/>
                </a:lnTo>
                <a:lnTo>
                  <a:pt x="129" y="864"/>
                </a:lnTo>
                <a:lnTo>
                  <a:pt x="132" y="869"/>
                </a:lnTo>
                <a:lnTo>
                  <a:pt x="136" y="876"/>
                </a:lnTo>
                <a:lnTo>
                  <a:pt x="142" y="882"/>
                </a:lnTo>
                <a:lnTo>
                  <a:pt x="148" y="886"/>
                </a:lnTo>
                <a:lnTo>
                  <a:pt x="152" y="889"/>
                </a:lnTo>
                <a:lnTo>
                  <a:pt x="156" y="889"/>
                </a:lnTo>
                <a:lnTo>
                  <a:pt x="156" y="889"/>
                </a:lnTo>
                <a:lnTo>
                  <a:pt x="156" y="888"/>
                </a:lnTo>
                <a:lnTo>
                  <a:pt x="156" y="885"/>
                </a:lnTo>
                <a:lnTo>
                  <a:pt x="154" y="879"/>
                </a:lnTo>
                <a:lnTo>
                  <a:pt x="151" y="872"/>
                </a:lnTo>
                <a:lnTo>
                  <a:pt x="148" y="865"/>
                </a:lnTo>
                <a:lnTo>
                  <a:pt x="148" y="865"/>
                </a:lnTo>
                <a:lnTo>
                  <a:pt x="148" y="858"/>
                </a:lnTo>
                <a:lnTo>
                  <a:pt x="145" y="854"/>
                </a:lnTo>
                <a:lnTo>
                  <a:pt x="142" y="852"/>
                </a:lnTo>
                <a:lnTo>
                  <a:pt x="139" y="852"/>
                </a:lnTo>
                <a:lnTo>
                  <a:pt x="136" y="852"/>
                </a:lnTo>
                <a:lnTo>
                  <a:pt x="131" y="854"/>
                </a:lnTo>
                <a:lnTo>
                  <a:pt x="131" y="854"/>
                </a:lnTo>
                <a:close/>
                <a:moveTo>
                  <a:pt x="1303" y="1016"/>
                </a:moveTo>
                <a:lnTo>
                  <a:pt x="1303" y="1016"/>
                </a:lnTo>
                <a:lnTo>
                  <a:pt x="1302" y="1016"/>
                </a:lnTo>
                <a:lnTo>
                  <a:pt x="1302" y="1016"/>
                </a:lnTo>
                <a:lnTo>
                  <a:pt x="1302" y="1013"/>
                </a:lnTo>
                <a:lnTo>
                  <a:pt x="1303" y="1006"/>
                </a:lnTo>
                <a:lnTo>
                  <a:pt x="1303" y="1006"/>
                </a:lnTo>
                <a:lnTo>
                  <a:pt x="1303" y="1004"/>
                </a:lnTo>
                <a:lnTo>
                  <a:pt x="1302" y="1004"/>
                </a:lnTo>
                <a:lnTo>
                  <a:pt x="1299" y="1006"/>
                </a:lnTo>
                <a:lnTo>
                  <a:pt x="1294" y="1009"/>
                </a:lnTo>
                <a:lnTo>
                  <a:pt x="1292" y="1012"/>
                </a:lnTo>
                <a:lnTo>
                  <a:pt x="1292" y="1012"/>
                </a:lnTo>
                <a:lnTo>
                  <a:pt x="1290" y="1014"/>
                </a:lnTo>
                <a:lnTo>
                  <a:pt x="1287" y="1017"/>
                </a:lnTo>
                <a:lnTo>
                  <a:pt x="1284" y="1019"/>
                </a:lnTo>
                <a:lnTo>
                  <a:pt x="1284" y="1021"/>
                </a:lnTo>
                <a:lnTo>
                  <a:pt x="1284" y="1021"/>
                </a:lnTo>
                <a:lnTo>
                  <a:pt x="1283" y="1026"/>
                </a:lnTo>
                <a:lnTo>
                  <a:pt x="1283" y="1026"/>
                </a:lnTo>
                <a:lnTo>
                  <a:pt x="1280" y="1027"/>
                </a:lnTo>
                <a:lnTo>
                  <a:pt x="1277" y="1027"/>
                </a:lnTo>
                <a:lnTo>
                  <a:pt x="1277" y="1027"/>
                </a:lnTo>
                <a:lnTo>
                  <a:pt x="1270" y="1029"/>
                </a:lnTo>
                <a:lnTo>
                  <a:pt x="1262" y="1029"/>
                </a:lnTo>
                <a:lnTo>
                  <a:pt x="1253" y="1026"/>
                </a:lnTo>
                <a:lnTo>
                  <a:pt x="1250" y="1024"/>
                </a:lnTo>
                <a:lnTo>
                  <a:pt x="1249" y="1023"/>
                </a:lnTo>
                <a:lnTo>
                  <a:pt x="1249" y="1023"/>
                </a:lnTo>
                <a:lnTo>
                  <a:pt x="1247" y="1021"/>
                </a:lnTo>
                <a:lnTo>
                  <a:pt x="1246" y="1020"/>
                </a:lnTo>
                <a:lnTo>
                  <a:pt x="1240" y="1016"/>
                </a:lnTo>
                <a:lnTo>
                  <a:pt x="1235" y="1013"/>
                </a:lnTo>
                <a:lnTo>
                  <a:pt x="1232" y="1012"/>
                </a:lnTo>
                <a:lnTo>
                  <a:pt x="1232" y="1009"/>
                </a:lnTo>
                <a:lnTo>
                  <a:pt x="1232" y="1009"/>
                </a:lnTo>
                <a:lnTo>
                  <a:pt x="1230" y="1004"/>
                </a:lnTo>
                <a:lnTo>
                  <a:pt x="1228" y="1000"/>
                </a:lnTo>
                <a:lnTo>
                  <a:pt x="1226" y="997"/>
                </a:lnTo>
                <a:lnTo>
                  <a:pt x="1229" y="992"/>
                </a:lnTo>
                <a:lnTo>
                  <a:pt x="1229" y="992"/>
                </a:lnTo>
                <a:lnTo>
                  <a:pt x="1230" y="990"/>
                </a:lnTo>
                <a:lnTo>
                  <a:pt x="1232" y="987"/>
                </a:lnTo>
                <a:lnTo>
                  <a:pt x="1232" y="986"/>
                </a:lnTo>
                <a:lnTo>
                  <a:pt x="1230" y="984"/>
                </a:lnTo>
                <a:lnTo>
                  <a:pt x="1226" y="984"/>
                </a:lnTo>
                <a:lnTo>
                  <a:pt x="1222" y="987"/>
                </a:lnTo>
                <a:lnTo>
                  <a:pt x="1222" y="987"/>
                </a:lnTo>
                <a:lnTo>
                  <a:pt x="1220" y="989"/>
                </a:lnTo>
                <a:lnTo>
                  <a:pt x="1218" y="989"/>
                </a:lnTo>
                <a:lnTo>
                  <a:pt x="1216" y="989"/>
                </a:lnTo>
                <a:lnTo>
                  <a:pt x="1216" y="987"/>
                </a:lnTo>
                <a:lnTo>
                  <a:pt x="1216" y="983"/>
                </a:lnTo>
                <a:lnTo>
                  <a:pt x="1218" y="982"/>
                </a:lnTo>
                <a:lnTo>
                  <a:pt x="1220" y="980"/>
                </a:lnTo>
                <a:lnTo>
                  <a:pt x="1220" y="980"/>
                </a:lnTo>
                <a:lnTo>
                  <a:pt x="1228" y="977"/>
                </a:lnTo>
                <a:lnTo>
                  <a:pt x="1235" y="975"/>
                </a:lnTo>
                <a:lnTo>
                  <a:pt x="1238" y="972"/>
                </a:lnTo>
                <a:lnTo>
                  <a:pt x="1239" y="969"/>
                </a:lnTo>
                <a:lnTo>
                  <a:pt x="1238" y="965"/>
                </a:lnTo>
                <a:lnTo>
                  <a:pt x="1236" y="960"/>
                </a:lnTo>
                <a:lnTo>
                  <a:pt x="1236" y="960"/>
                </a:lnTo>
                <a:lnTo>
                  <a:pt x="1235" y="957"/>
                </a:lnTo>
                <a:lnTo>
                  <a:pt x="1232" y="956"/>
                </a:lnTo>
                <a:lnTo>
                  <a:pt x="1223" y="955"/>
                </a:lnTo>
                <a:lnTo>
                  <a:pt x="1215" y="955"/>
                </a:lnTo>
                <a:lnTo>
                  <a:pt x="1203" y="957"/>
                </a:lnTo>
                <a:lnTo>
                  <a:pt x="1182" y="965"/>
                </a:lnTo>
                <a:lnTo>
                  <a:pt x="1166" y="972"/>
                </a:lnTo>
                <a:lnTo>
                  <a:pt x="1166" y="972"/>
                </a:lnTo>
                <a:lnTo>
                  <a:pt x="1156" y="979"/>
                </a:lnTo>
                <a:lnTo>
                  <a:pt x="1148" y="989"/>
                </a:lnTo>
                <a:lnTo>
                  <a:pt x="1138" y="997"/>
                </a:lnTo>
                <a:lnTo>
                  <a:pt x="1135" y="1000"/>
                </a:lnTo>
                <a:lnTo>
                  <a:pt x="1132" y="1002"/>
                </a:lnTo>
                <a:lnTo>
                  <a:pt x="1132" y="1002"/>
                </a:lnTo>
                <a:lnTo>
                  <a:pt x="1131" y="1000"/>
                </a:lnTo>
                <a:lnTo>
                  <a:pt x="1131" y="999"/>
                </a:lnTo>
                <a:lnTo>
                  <a:pt x="1135" y="994"/>
                </a:lnTo>
                <a:lnTo>
                  <a:pt x="1142" y="989"/>
                </a:lnTo>
                <a:lnTo>
                  <a:pt x="1146" y="984"/>
                </a:lnTo>
                <a:lnTo>
                  <a:pt x="1146" y="984"/>
                </a:lnTo>
                <a:lnTo>
                  <a:pt x="1148" y="982"/>
                </a:lnTo>
                <a:lnTo>
                  <a:pt x="1148" y="979"/>
                </a:lnTo>
                <a:lnTo>
                  <a:pt x="1148" y="977"/>
                </a:lnTo>
                <a:lnTo>
                  <a:pt x="1149" y="977"/>
                </a:lnTo>
                <a:lnTo>
                  <a:pt x="1149" y="977"/>
                </a:lnTo>
                <a:lnTo>
                  <a:pt x="1152" y="977"/>
                </a:lnTo>
                <a:lnTo>
                  <a:pt x="1154" y="975"/>
                </a:lnTo>
                <a:lnTo>
                  <a:pt x="1159" y="969"/>
                </a:lnTo>
                <a:lnTo>
                  <a:pt x="1166" y="962"/>
                </a:lnTo>
                <a:lnTo>
                  <a:pt x="1172" y="956"/>
                </a:lnTo>
                <a:lnTo>
                  <a:pt x="1172" y="956"/>
                </a:lnTo>
                <a:lnTo>
                  <a:pt x="1178" y="953"/>
                </a:lnTo>
                <a:lnTo>
                  <a:pt x="1183" y="953"/>
                </a:lnTo>
                <a:lnTo>
                  <a:pt x="1186" y="953"/>
                </a:lnTo>
                <a:lnTo>
                  <a:pt x="1188" y="952"/>
                </a:lnTo>
                <a:lnTo>
                  <a:pt x="1189" y="950"/>
                </a:lnTo>
                <a:lnTo>
                  <a:pt x="1189" y="950"/>
                </a:lnTo>
                <a:lnTo>
                  <a:pt x="1191" y="948"/>
                </a:lnTo>
                <a:lnTo>
                  <a:pt x="1192" y="945"/>
                </a:lnTo>
                <a:lnTo>
                  <a:pt x="1201" y="936"/>
                </a:lnTo>
                <a:lnTo>
                  <a:pt x="1201" y="936"/>
                </a:lnTo>
                <a:lnTo>
                  <a:pt x="1206" y="935"/>
                </a:lnTo>
                <a:lnTo>
                  <a:pt x="1218" y="933"/>
                </a:lnTo>
                <a:lnTo>
                  <a:pt x="1250" y="932"/>
                </a:lnTo>
                <a:lnTo>
                  <a:pt x="1302" y="932"/>
                </a:lnTo>
                <a:lnTo>
                  <a:pt x="1302" y="932"/>
                </a:lnTo>
                <a:lnTo>
                  <a:pt x="1309" y="930"/>
                </a:lnTo>
                <a:lnTo>
                  <a:pt x="1317" y="926"/>
                </a:lnTo>
                <a:lnTo>
                  <a:pt x="1324" y="920"/>
                </a:lnTo>
                <a:lnTo>
                  <a:pt x="1330" y="913"/>
                </a:lnTo>
                <a:lnTo>
                  <a:pt x="1330" y="913"/>
                </a:lnTo>
                <a:lnTo>
                  <a:pt x="1334" y="911"/>
                </a:lnTo>
                <a:lnTo>
                  <a:pt x="1339" y="908"/>
                </a:lnTo>
                <a:lnTo>
                  <a:pt x="1344" y="908"/>
                </a:lnTo>
                <a:lnTo>
                  <a:pt x="1351" y="908"/>
                </a:lnTo>
                <a:lnTo>
                  <a:pt x="1351" y="908"/>
                </a:lnTo>
                <a:lnTo>
                  <a:pt x="1356" y="908"/>
                </a:lnTo>
                <a:lnTo>
                  <a:pt x="1360" y="906"/>
                </a:lnTo>
                <a:lnTo>
                  <a:pt x="1366" y="902"/>
                </a:lnTo>
                <a:lnTo>
                  <a:pt x="1374" y="893"/>
                </a:lnTo>
                <a:lnTo>
                  <a:pt x="1374" y="893"/>
                </a:lnTo>
                <a:lnTo>
                  <a:pt x="1377" y="892"/>
                </a:lnTo>
                <a:lnTo>
                  <a:pt x="1377" y="889"/>
                </a:lnTo>
                <a:lnTo>
                  <a:pt x="1376" y="888"/>
                </a:lnTo>
                <a:lnTo>
                  <a:pt x="1373" y="888"/>
                </a:lnTo>
                <a:lnTo>
                  <a:pt x="1373" y="888"/>
                </a:lnTo>
                <a:lnTo>
                  <a:pt x="1367" y="885"/>
                </a:lnTo>
                <a:lnTo>
                  <a:pt x="1366" y="883"/>
                </a:lnTo>
                <a:lnTo>
                  <a:pt x="1368" y="882"/>
                </a:lnTo>
                <a:lnTo>
                  <a:pt x="1368" y="882"/>
                </a:lnTo>
                <a:lnTo>
                  <a:pt x="1371" y="882"/>
                </a:lnTo>
                <a:lnTo>
                  <a:pt x="1374" y="881"/>
                </a:lnTo>
                <a:lnTo>
                  <a:pt x="1376" y="878"/>
                </a:lnTo>
                <a:lnTo>
                  <a:pt x="1378" y="874"/>
                </a:lnTo>
                <a:lnTo>
                  <a:pt x="1378" y="874"/>
                </a:lnTo>
                <a:lnTo>
                  <a:pt x="1378" y="869"/>
                </a:lnTo>
                <a:lnTo>
                  <a:pt x="1377" y="868"/>
                </a:lnTo>
                <a:lnTo>
                  <a:pt x="1374" y="865"/>
                </a:lnTo>
                <a:lnTo>
                  <a:pt x="1370" y="861"/>
                </a:lnTo>
                <a:lnTo>
                  <a:pt x="1370" y="861"/>
                </a:lnTo>
                <a:lnTo>
                  <a:pt x="1367" y="858"/>
                </a:lnTo>
                <a:lnTo>
                  <a:pt x="1364" y="858"/>
                </a:lnTo>
                <a:lnTo>
                  <a:pt x="1363" y="858"/>
                </a:lnTo>
                <a:lnTo>
                  <a:pt x="1361" y="859"/>
                </a:lnTo>
                <a:lnTo>
                  <a:pt x="1357" y="862"/>
                </a:lnTo>
                <a:lnTo>
                  <a:pt x="1354" y="862"/>
                </a:lnTo>
                <a:lnTo>
                  <a:pt x="1353" y="862"/>
                </a:lnTo>
                <a:lnTo>
                  <a:pt x="1353" y="862"/>
                </a:lnTo>
                <a:lnTo>
                  <a:pt x="1350" y="862"/>
                </a:lnTo>
                <a:lnTo>
                  <a:pt x="1350" y="861"/>
                </a:lnTo>
                <a:lnTo>
                  <a:pt x="1351" y="858"/>
                </a:lnTo>
                <a:lnTo>
                  <a:pt x="1353" y="854"/>
                </a:lnTo>
                <a:lnTo>
                  <a:pt x="1353" y="852"/>
                </a:lnTo>
                <a:lnTo>
                  <a:pt x="1351" y="849"/>
                </a:lnTo>
                <a:lnTo>
                  <a:pt x="1351" y="849"/>
                </a:lnTo>
                <a:lnTo>
                  <a:pt x="1346" y="848"/>
                </a:lnTo>
                <a:lnTo>
                  <a:pt x="1340" y="849"/>
                </a:lnTo>
                <a:lnTo>
                  <a:pt x="1333" y="852"/>
                </a:lnTo>
                <a:lnTo>
                  <a:pt x="1326" y="856"/>
                </a:lnTo>
                <a:lnTo>
                  <a:pt x="1326" y="856"/>
                </a:lnTo>
                <a:lnTo>
                  <a:pt x="1321" y="859"/>
                </a:lnTo>
                <a:lnTo>
                  <a:pt x="1319" y="859"/>
                </a:lnTo>
                <a:lnTo>
                  <a:pt x="1316" y="859"/>
                </a:lnTo>
                <a:lnTo>
                  <a:pt x="1311" y="862"/>
                </a:lnTo>
                <a:lnTo>
                  <a:pt x="1311" y="862"/>
                </a:lnTo>
                <a:lnTo>
                  <a:pt x="1309" y="865"/>
                </a:lnTo>
                <a:lnTo>
                  <a:pt x="1307" y="865"/>
                </a:lnTo>
                <a:lnTo>
                  <a:pt x="1306" y="865"/>
                </a:lnTo>
                <a:lnTo>
                  <a:pt x="1304" y="864"/>
                </a:lnTo>
                <a:lnTo>
                  <a:pt x="1304" y="859"/>
                </a:lnTo>
                <a:lnTo>
                  <a:pt x="1307" y="856"/>
                </a:lnTo>
                <a:lnTo>
                  <a:pt x="1307" y="856"/>
                </a:lnTo>
                <a:lnTo>
                  <a:pt x="1310" y="855"/>
                </a:lnTo>
                <a:lnTo>
                  <a:pt x="1311" y="855"/>
                </a:lnTo>
                <a:lnTo>
                  <a:pt x="1314" y="855"/>
                </a:lnTo>
                <a:lnTo>
                  <a:pt x="1316" y="852"/>
                </a:lnTo>
                <a:lnTo>
                  <a:pt x="1316" y="852"/>
                </a:lnTo>
                <a:lnTo>
                  <a:pt x="1319" y="851"/>
                </a:lnTo>
                <a:lnTo>
                  <a:pt x="1321" y="851"/>
                </a:lnTo>
                <a:lnTo>
                  <a:pt x="1326" y="849"/>
                </a:lnTo>
                <a:lnTo>
                  <a:pt x="1331" y="847"/>
                </a:lnTo>
                <a:lnTo>
                  <a:pt x="1331" y="847"/>
                </a:lnTo>
                <a:lnTo>
                  <a:pt x="1337" y="844"/>
                </a:lnTo>
                <a:lnTo>
                  <a:pt x="1341" y="844"/>
                </a:lnTo>
                <a:lnTo>
                  <a:pt x="1346" y="842"/>
                </a:lnTo>
                <a:lnTo>
                  <a:pt x="1348" y="841"/>
                </a:lnTo>
                <a:lnTo>
                  <a:pt x="1348" y="841"/>
                </a:lnTo>
                <a:lnTo>
                  <a:pt x="1348" y="838"/>
                </a:lnTo>
                <a:lnTo>
                  <a:pt x="1347" y="835"/>
                </a:lnTo>
                <a:lnTo>
                  <a:pt x="1343" y="832"/>
                </a:lnTo>
                <a:lnTo>
                  <a:pt x="1337" y="832"/>
                </a:lnTo>
                <a:lnTo>
                  <a:pt x="1337" y="832"/>
                </a:lnTo>
                <a:lnTo>
                  <a:pt x="1334" y="832"/>
                </a:lnTo>
                <a:lnTo>
                  <a:pt x="1331" y="832"/>
                </a:lnTo>
                <a:lnTo>
                  <a:pt x="1327" y="828"/>
                </a:lnTo>
                <a:lnTo>
                  <a:pt x="1323" y="825"/>
                </a:lnTo>
                <a:lnTo>
                  <a:pt x="1320" y="825"/>
                </a:lnTo>
                <a:lnTo>
                  <a:pt x="1319" y="825"/>
                </a:lnTo>
                <a:lnTo>
                  <a:pt x="1319" y="825"/>
                </a:lnTo>
                <a:lnTo>
                  <a:pt x="1316" y="827"/>
                </a:lnTo>
                <a:lnTo>
                  <a:pt x="1314" y="825"/>
                </a:lnTo>
                <a:lnTo>
                  <a:pt x="1313" y="824"/>
                </a:lnTo>
                <a:lnTo>
                  <a:pt x="1309" y="824"/>
                </a:lnTo>
                <a:lnTo>
                  <a:pt x="1309" y="824"/>
                </a:lnTo>
                <a:lnTo>
                  <a:pt x="1306" y="825"/>
                </a:lnTo>
                <a:lnTo>
                  <a:pt x="1303" y="824"/>
                </a:lnTo>
                <a:lnTo>
                  <a:pt x="1300" y="821"/>
                </a:lnTo>
                <a:lnTo>
                  <a:pt x="1297" y="817"/>
                </a:lnTo>
                <a:lnTo>
                  <a:pt x="1297" y="817"/>
                </a:lnTo>
                <a:lnTo>
                  <a:pt x="1294" y="811"/>
                </a:lnTo>
                <a:lnTo>
                  <a:pt x="1287" y="804"/>
                </a:lnTo>
                <a:lnTo>
                  <a:pt x="1279" y="800"/>
                </a:lnTo>
                <a:lnTo>
                  <a:pt x="1270" y="795"/>
                </a:lnTo>
                <a:lnTo>
                  <a:pt x="1270" y="795"/>
                </a:lnTo>
                <a:lnTo>
                  <a:pt x="1266" y="794"/>
                </a:lnTo>
                <a:lnTo>
                  <a:pt x="1266" y="792"/>
                </a:lnTo>
                <a:lnTo>
                  <a:pt x="1266" y="791"/>
                </a:lnTo>
                <a:lnTo>
                  <a:pt x="1269" y="790"/>
                </a:lnTo>
                <a:lnTo>
                  <a:pt x="1273" y="791"/>
                </a:lnTo>
                <a:lnTo>
                  <a:pt x="1273" y="791"/>
                </a:lnTo>
                <a:lnTo>
                  <a:pt x="1275" y="792"/>
                </a:lnTo>
                <a:lnTo>
                  <a:pt x="1276" y="792"/>
                </a:lnTo>
                <a:lnTo>
                  <a:pt x="1280" y="791"/>
                </a:lnTo>
                <a:lnTo>
                  <a:pt x="1283" y="787"/>
                </a:lnTo>
                <a:lnTo>
                  <a:pt x="1286" y="784"/>
                </a:lnTo>
                <a:lnTo>
                  <a:pt x="1286" y="784"/>
                </a:lnTo>
                <a:lnTo>
                  <a:pt x="1286" y="781"/>
                </a:lnTo>
                <a:lnTo>
                  <a:pt x="1284" y="780"/>
                </a:lnTo>
                <a:lnTo>
                  <a:pt x="1279" y="777"/>
                </a:lnTo>
                <a:lnTo>
                  <a:pt x="1279" y="777"/>
                </a:lnTo>
                <a:lnTo>
                  <a:pt x="1277" y="775"/>
                </a:lnTo>
                <a:lnTo>
                  <a:pt x="1276" y="774"/>
                </a:lnTo>
                <a:lnTo>
                  <a:pt x="1277" y="768"/>
                </a:lnTo>
                <a:lnTo>
                  <a:pt x="1277" y="768"/>
                </a:lnTo>
                <a:lnTo>
                  <a:pt x="1276" y="765"/>
                </a:lnTo>
                <a:lnTo>
                  <a:pt x="1272" y="763"/>
                </a:lnTo>
                <a:lnTo>
                  <a:pt x="1269" y="760"/>
                </a:lnTo>
                <a:lnTo>
                  <a:pt x="1266" y="757"/>
                </a:lnTo>
                <a:lnTo>
                  <a:pt x="1266" y="757"/>
                </a:lnTo>
                <a:lnTo>
                  <a:pt x="1266" y="754"/>
                </a:lnTo>
                <a:lnTo>
                  <a:pt x="1263" y="753"/>
                </a:lnTo>
                <a:lnTo>
                  <a:pt x="1262" y="750"/>
                </a:lnTo>
                <a:lnTo>
                  <a:pt x="1260" y="747"/>
                </a:lnTo>
                <a:lnTo>
                  <a:pt x="1260" y="747"/>
                </a:lnTo>
                <a:lnTo>
                  <a:pt x="1260" y="746"/>
                </a:lnTo>
                <a:lnTo>
                  <a:pt x="1257" y="741"/>
                </a:lnTo>
                <a:lnTo>
                  <a:pt x="1256" y="738"/>
                </a:lnTo>
                <a:lnTo>
                  <a:pt x="1255" y="736"/>
                </a:lnTo>
                <a:lnTo>
                  <a:pt x="1255" y="736"/>
                </a:lnTo>
                <a:lnTo>
                  <a:pt x="1253" y="731"/>
                </a:lnTo>
                <a:lnTo>
                  <a:pt x="1249" y="727"/>
                </a:lnTo>
                <a:lnTo>
                  <a:pt x="1245" y="721"/>
                </a:lnTo>
                <a:lnTo>
                  <a:pt x="1243" y="717"/>
                </a:lnTo>
                <a:lnTo>
                  <a:pt x="1243" y="717"/>
                </a:lnTo>
                <a:lnTo>
                  <a:pt x="1242" y="714"/>
                </a:lnTo>
                <a:lnTo>
                  <a:pt x="1240" y="711"/>
                </a:lnTo>
                <a:lnTo>
                  <a:pt x="1238" y="707"/>
                </a:lnTo>
                <a:lnTo>
                  <a:pt x="1235" y="703"/>
                </a:lnTo>
                <a:lnTo>
                  <a:pt x="1235" y="703"/>
                </a:lnTo>
                <a:lnTo>
                  <a:pt x="1233" y="700"/>
                </a:lnTo>
                <a:lnTo>
                  <a:pt x="1232" y="700"/>
                </a:lnTo>
                <a:lnTo>
                  <a:pt x="1230" y="703"/>
                </a:lnTo>
                <a:lnTo>
                  <a:pt x="1228" y="709"/>
                </a:lnTo>
                <a:lnTo>
                  <a:pt x="1228" y="709"/>
                </a:lnTo>
                <a:lnTo>
                  <a:pt x="1226" y="713"/>
                </a:lnTo>
                <a:lnTo>
                  <a:pt x="1223" y="716"/>
                </a:lnTo>
                <a:lnTo>
                  <a:pt x="1220" y="717"/>
                </a:lnTo>
                <a:lnTo>
                  <a:pt x="1220" y="720"/>
                </a:lnTo>
                <a:lnTo>
                  <a:pt x="1220" y="720"/>
                </a:lnTo>
                <a:lnTo>
                  <a:pt x="1222" y="723"/>
                </a:lnTo>
                <a:lnTo>
                  <a:pt x="1222" y="726"/>
                </a:lnTo>
                <a:lnTo>
                  <a:pt x="1219" y="728"/>
                </a:lnTo>
                <a:lnTo>
                  <a:pt x="1219" y="728"/>
                </a:lnTo>
                <a:lnTo>
                  <a:pt x="1218" y="731"/>
                </a:lnTo>
                <a:lnTo>
                  <a:pt x="1218" y="734"/>
                </a:lnTo>
                <a:lnTo>
                  <a:pt x="1218" y="737"/>
                </a:lnTo>
                <a:lnTo>
                  <a:pt x="1215" y="738"/>
                </a:lnTo>
                <a:lnTo>
                  <a:pt x="1215" y="738"/>
                </a:lnTo>
                <a:lnTo>
                  <a:pt x="1213" y="738"/>
                </a:lnTo>
                <a:lnTo>
                  <a:pt x="1212" y="740"/>
                </a:lnTo>
                <a:lnTo>
                  <a:pt x="1212" y="743"/>
                </a:lnTo>
                <a:lnTo>
                  <a:pt x="1210" y="746"/>
                </a:lnTo>
                <a:lnTo>
                  <a:pt x="1209" y="744"/>
                </a:lnTo>
                <a:lnTo>
                  <a:pt x="1209" y="744"/>
                </a:lnTo>
                <a:lnTo>
                  <a:pt x="1206" y="741"/>
                </a:lnTo>
                <a:lnTo>
                  <a:pt x="1203" y="741"/>
                </a:lnTo>
                <a:lnTo>
                  <a:pt x="1201" y="743"/>
                </a:lnTo>
                <a:lnTo>
                  <a:pt x="1201" y="746"/>
                </a:lnTo>
                <a:lnTo>
                  <a:pt x="1201" y="746"/>
                </a:lnTo>
                <a:lnTo>
                  <a:pt x="1199" y="747"/>
                </a:lnTo>
                <a:lnTo>
                  <a:pt x="1198" y="748"/>
                </a:lnTo>
                <a:lnTo>
                  <a:pt x="1193" y="753"/>
                </a:lnTo>
                <a:lnTo>
                  <a:pt x="1188" y="754"/>
                </a:lnTo>
                <a:lnTo>
                  <a:pt x="1183" y="754"/>
                </a:lnTo>
                <a:lnTo>
                  <a:pt x="1183" y="754"/>
                </a:lnTo>
                <a:lnTo>
                  <a:pt x="1181" y="753"/>
                </a:lnTo>
                <a:lnTo>
                  <a:pt x="1179" y="750"/>
                </a:lnTo>
                <a:lnTo>
                  <a:pt x="1178" y="747"/>
                </a:lnTo>
                <a:lnTo>
                  <a:pt x="1176" y="747"/>
                </a:lnTo>
                <a:lnTo>
                  <a:pt x="1175" y="747"/>
                </a:lnTo>
                <a:lnTo>
                  <a:pt x="1175" y="747"/>
                </a:lnTo>
                <a:lnTo>
                  <a:pt x="1174" y="748"/>
                </a:lnTo>
                <a:lnTo>
                  <a:pt x="1174" y="747"/>
                </a:lnTo>
                <a:lnTo>
                  <a:pt x="1172" y="744"/>
                </a:lnTo>
                <a:lnTo>
                  <a:pt x="1169" y="741"/>
                </a:lnTo>
                <a:lnTo>
                  <a:pt x="1168" y="740"/>
                </a:lnTo>
                <a:lnTo>
                  <a:pt x="1166" y="740"/>
                </a:lnTo>
                <a:lnTo>
                  <a:pt x="1166" y="740"/>
                </a:lnTo>
                <a:lnTo>
                  <a:pt x="1162" y="740"/>
                </a:lnTo>
                <a:lnTo>
                  <a:pt x="1159" y="738"/>
                </a:lnTo>
                <a:lnTo>
                  <a:pt x="1158" y="737"/>
                </a:lnTo>
                <a:lnTo>
                  <a:pt x="1158" y="734"/>
                </a:lnTo>
                <a:lnTo>
                  <a:pt x="1158" y="734"/>
                </a:lnTo>
                <a:lnTo>
                  <a:pt x="1158" y="733"/>
                </a:lnTo>
                <a:lnTo>
                  <a:pt x="1156" y="730"/>
                </a:lnTo>
                <a:lnTo>
                  <a:pt x="1154" y="727"/>
                </a:lnTo>
                <a:lnTo>
                  <a:pt x="1151" y="726"/>
                </a:lnTo>
                <a:lnTo>
                  <a:pt x="1151" y="724"/>
                </a:lnTo>
                <a:lnTo>
                  <a:pt x="1151" y="723"/>
                </a:lnTo>
                <a:lnTo>
                  <a:pt x="1151" y="723"/>
                </a:lnTo>
                <a:lnTo>
                  <a:pt x="1152" y="720"/>
                </a:lnTo>
                <a:lnTo>
                  <a:pt x="1152" y="716"/>
                </a:lnTo>
                <a:lnTo>
                  <a:pt x="1151" y="711"/>
                </a:lnTo>
                <a:lnTo>
                  <a:pt x="1149" y="704"/>
                </a:lnTo>
                <a:lnTo>
                  <a:pt x="1149" y="704"/>
                </a:lnTo>
                <a:lnTo>
                  <a:pt x="1149" y="700"/>
                </a:lnTo>
                <a:lnTo>
                  <a:pt x="1152" y="696"/>
                </a:lnTo>
                <a:lnTo>
                  <a:pt x="1154" y="694"/>
                </a:lnTo>
                <a:lnTo>
                  <a:pt x="1155" y="691"/>
                </a:lnTo>
                <a:lnTo>
                  <a:pt x="1155" y="691"/>
                </a:lnTo>
                <a:lnTo>
                  <a:pt x="1154" y="689"/>
                </a:lnTo>
                <a:lnTo>
                  <a:pt x="1152" y="689"/>
                </a:lnTo>
                <a:lnTo>
                  <a:pt x="1149" y="689"/>
                </a:lnTo>
                <a:lnTo>
                  <a:pt x="1146" y="690"/>
                </a:lnTo>
                <a:lnTo>
                  <a:pt x="1146" y="690"/>
                </a:lnTo>
                <a:lnTo>
                  <a:pt x="1144" y="691"/>
                </a:lnTo>
                <a:lnTo>
                  <a:pt x="1142" y="690"/>
                </a:lnTo>
                <a:lnTo>
                  <a:pt x="1141" y="687"/>
                </a:lnTo>
                <a:lnTo>
                  <a:pt x="1138" y="687"/>
                </a:lnTo>
                <a:lnTo>
                  <a:pt x="1138" y="687"/>
                </a:lnTo>
                <a:lnTo>
                  <a:pt x="1132" y="687"/>
                </a:lnTo>
                <a:lnTo>
                  <a:pt x="1127" y="686"/>
                </a:lnTo>
                <a:lnTo>
                  <a:pt x="1121" y="684"/>
                </a:lnTo>
                <a:lnTo>
                  <a:pt x="1119" y="683"/>
                </a:lnTo>
                <a:lnTo>
                  <a:pt x="1118" y="680"/>
                </a:lnTo>
                <a:lnTo>
                  <a:pt x="1118" y="680"/>
                </a:lnTo>
                <a:lnTo>
                  <a:pt x="1117" y="677"/>
                </a:lnTo>
                <a:lnTo>
                  <a:pt x="1115" y="676"/>
                </a:lnTo>
                <a:lnTo>
                  <a:pt x="1112" y="674"/>
                </a:lnTo>
                <a:lnTo>
                  <a:pt x="1111" y="672"/>
                </a:lnTo>
                <a:lnTo>
                  <a:pt x="1111" y="672"/>
                </a:lnTo>
                <a:lnTo>
                  <a:pt x="1108" y="669"/>
                </a:lnTo>
                <a:lnTo>
                  <a:pt x="1107" y="667"/>
                </a:lnTo>
                <a:lnTo>
                  <a:pt x="1104" y="667"/>
                </a:lnTo>
                <a:lnTo>
                  <a:pt x="1102" y="666"/>
                </a:lnTo>
                <a:lnTo>
                  <a:pt x="1102" y="666"/>
                </a:lnTo>
                <a:lnTo>
                  <a:pt x="1102" y="663"/>
                </a:lnTo>
                <a:lnTo>
                  <a:pt x="1101" y="660"/>
                </a:lnTo>
                <a:lnTo>
                  <a:pt x="1100" y="660"/>
                </a:lnTo>
                <a:lnTo>
                  <a:pt x="1097" y="659"/>
                </a:lnTo>
                <a:lnTo>
                  <a:pt x="1097" y="659"/>
                </a:lnTo>
                <a:lnTo>
                  <a:pt x="1094" y="659"/>
                </a:lnTo>
                <a:lnTo>
                  <a:pt x="1091" y="656"/>
                </a:lnTo>
                <a:lnTo>
                  <a:pt x="1088" y="654"/>
                </a:lnTo>
                <a:lnTo>
                  <a:pt x="1085" y="653"/>
                </a:lnTo>
                <a:lnTo>
                  <a:pt x="1085" y="653"/>
                </a:lnTo>
                <a:lnTo>
                  <a:pt x="1080" y="653"/>
                </a:lnTo>
                <a:lnTo>
                  <a:pt x="1075" y="654"/>
                </a:lnTo>
                <a:lnTo>
                  <a:pt x="1068" y="659"/>
                </a:lnTo>
                <a:lnTo>
                  <a:pt x="1068" y="659"/>
                </a:lnTo>
                <a:lnTo>
                  <a:pt x="1065" y="659"/>
                </a:lnTo>
                <a:lnTo>
                  <a:pt x="1061" y="657"/>
                </a:lnTo>
                <a:lnTo>
                  <a:pt x="1057" y="656"/>
                </a:lnTo>
                <a:lnTo>
                  <a:pt x="1054" y="656"/>
                </a:lnTo>
                <a:lnTo>
                  <a:pt x="1054" y="656"/>
                </a:lnTo>
                <a:lnTo>
                  <a:pt x="1053" y="657"/>
                </a:lnTo>
                <a:lnTo>
                  <a:pt x="1050" y="656"/>
                </a:lnTo>
                <a:lnTo>
                  <a:pt x="1047" y="654"/>
                </a:lnTo>
                <a:lnTo>
                  <a:pt x="1041" y="652"/>
                </a:lnTo>
                <a:lnTo>
                  <a:pt x="1041" y="652"/>
                </a:lnTo>
                <a:lnTo>
                  <a:pt x="1027" y="650"/>
                </a:lnTo>
                <a:lnTo>
                  <a:pt x="1023" y="650"/>
                </a:lnTo>
                <a:lnTo>
                  <a:pt x="1020" y="652"/>
                </a:lnTo>
                <a:lnTo>
                  <a:pt x="1020" y="652"/>
                </a:lnTo>
                <a:lnTo>
                  <a:pt x="1018" y="654"/>
                </a:lnTo>
                <a:lnTo>
                  <a:pt x="1016" y="656"/>
                </a:lnTo>
                <a:lnTo>
                  <a:pt x="1014" y="659"/>
                </a:lnTo>
                <a:lnTo>
                  <a:pt x="1013" y="663"/>
                </a:lnTo>
                <a:lnTo>
                  <a:pt x="1013" y="663"/>
                </a:lnTo>
                <a:lnTo>
                  <a:pt x="1016" y="667"/>
                </a:lnTo>
                <a:lnTo>
                  <a:pt x="1018" y="670"/>
                </a:lnTo>
                <a:lnTo>
                  <a:pt x="1021" y="672"/>
                </a:lnTo>
                <a:lnTo>
                  <a:pt x="1024" y="674"/>
                </a:lnTo>
                <a:lnTo>
                  <a:pt x="1024" y="674"/>
                </a:lnTo>
                <a:lnTo>
                  <a:pt x="1024" y="677"/>
                </a:lnTo>
                <a:lnTo>
                  <a:pt x="1023" y="679"/>
                </a:lnTo>
                <a:lnTo>
                  <a:pt x="1021" y="680"/>
                </a:lnTo>
                <a:lnTo>
                  <a:pt x="1020" y="683"/>
                </a:lnTo>
                <a:lnTo>
                  <a:pt x="1020" y="683"/>
                </a:lnTo>
                <a:lnTo>
                  <a:pt x="1018" y="686"/>
                </a:lnTo>
                <a:lnTo>
                  <a:pt x="1017" y="687"/>
                </a:lnTo>
                <a:lnTo>
                  <a:pt x="1016" y="689"/>
                </a:lnTo>
                <a:lnTo>
                  <a:pt x="1014" y="690"/>
                </a:lnTo>
                <a:lnTo>
                  <a:pt x="1014" y="690"/>
                </a:lnTo>
                <a:lnTo>
                  <a:pt x="1016" y="691"/>
                </a:lnTo>
                <a:lnTo>
                  <a:pt x="1017" y="693"/>
                </a:lnTo>
                <a:lnTo>
                  <a:pt x="1018" y="696"/>
                </a:lnTo>
                <a:lnTo>
                  <a:pt x="1020" y="699"/>
                </a:lnTo>
                <a:lnTo>
                  <a:pt x="1020" y="699"/>
                </a:lnTo>
                <a:lnTo>
                  <a:pt x="1021" y="703"/>
                </a:lnTo>
                <a:lnTo>
                  <a:pt x="1023" y="706"/>
                </a:lnTo>
                <a:lnTo>
                  <a:pt x="1026" y="709"/>
                </a:lnTo>
                <a:lnTo>
                  <a:pt x="1026" y="713"/>
                </a:lnTo>
                <a:lnTo>
                  <a:pt x="1026" y="713"/>
                </a:lnTo>
                <a:lnTo>
                  <a:pt x="1026" y="718"/>
                </a:lnTo>
                <a:lnTo>
                  <a:pt x="1024" y="720"/>
                </a:lnTo>
                <a:lnTo>
                  <a:pt x="1020" y="721"/>
                </a:lnTo>
                <a:lnTo>
                  <a:pt x="1020" y="721"/>
                </a:lnTo>
                <a:lnTo>
                  <a:pt x="1018" y="723"/>
                </a:lnTo>
                <a:lnTo>
                  <a:pt x="1018" y="726"/>
                </a:lnTo>
                <a:lnTo>
                  <a:pt x="1017" y="728"/>
                </a:lnTo>
                <a:lnTo>
                  <a:pt x="1016" y="733"/>
                </a:lnTo>
                <a:lnTo>
                  <a:pt x="1016" y="733"/>
                </a:lnTo>
                <a:lnTo>
                  <a:pt x="1008" y="741"/>
                </a:lnTo>
                <a:lnTo>
                  <a:pt x="1008" y="744"/>
                </a:lnTo>
                <a:lnTo>
                  <a:pt x="1010" y="747"/>
                </a:lnTo>
                <a:lnTo>
                  <a:pt x="1010" y="747"/>
                </a:lnTo>
                <a:lnTo>
                  <a:pt x="1021" y="755"/>
                </a:lnTo>
                <a:lnTo>
                  <a:pt x="1028" y="760"/>
                </a:lnTo>
                <a:lnTo>
                  <a:pt x="1034" y="767"/>
                </a:lnTo>
                <a:lnTo>
                  <a:pt x="1034" y="767"/>
                </a:lnTo>
                <a:lnTo>
                  <a:pt x="1037" y="775"/>
                </a:lnTo>
                <a:lnTo>
                  <a:pt x="1038" y="784"/>
                </a:lnTo>
                <a:lnTo>
                  <a:pt x="1038" y="794"/>
                </a:lnTo>
                <a:lnTo>
                  <a:pt x="1037" y="802"/>
                </a:lnTo>
                <a:lnTo>
                  <a:pt x="1037" y="802"/>
                </a:lnTo>
                <a:lnTo>
                  <a:pt x="1037" y="805"/>
                </a:lnTo>
                <a:lnTo>
                  <a:pt x="1034" y="808"/>
                </a:lnTo>
                <a:lnTo>
                  <a:pt x="1028" y="814"/>
                </a:lnTo>
                <a:lnTo>
                  <a:pt x="1021" y="818"/>
                </a:lnTo>
                <a:lnTo>
                  <a:pt x="1014" y="824"/>
                </a:lnTo>
                <a:lnTo>
                  <a:pt x="1014" y="824"/>
                </a:lnTo>
                <a:lnTo>
                  <a:pt x="1008" y="829"/>
                </a:lnTo>
                <a:lnTo>
                  <a:pt x="1001" y="832"/>
                </a:lnTo>
                <a:lnTo>
                  <a:pt x="993" y="832"/>
                </a:lnTo>
                <a:lnTo>
                  <a:pt x="993" y="832"/>
                </a:lnTo>
                <a:lnTo>
                  <a:pt x="991" y="834"/>
                </a:lnTo>
                <a:lnTo>
                  <a:pt x="990" y="834"/>
                </a:lnTo>
                <a:lnTo>
                  <a:pt x="990" y="838"/>
                </a:lnTo>
                <a:lnTo>
                  <a:pt x="993" y="842"/>
                </a:lnTo>
                <a:lnTo>
                  <a:pt x="997" y="848"/>
                </a:lnTo>
                <a:lnTo>
                  <a:pt x="997" y="848"/>
                </a:lnTo>
                <a:lnTo>
                  <a:pt x="1000" y="852"/>
                </a:lnTo>
                <a:lnTo>
                  <a:pt x="1000" y="856"/>
                </a:lnTo>
                <a:lnTo>
                  <a:pt x="1000" y="859"/>
                </a:lnTo>
                <a:lnTo>
                  <a:pt x="1001" y="864"/>
                </a:lnTo>
                <a:lnTo>
                  <a:pt x="1001" y="864"/>
                </a:lnTo>
                <a:lnTo>
                  <a:pt x="1003" y="869"/>
                </a:lnTo>
                <a:lnTo>
                  <a:pt x="1003" y="874"/>
                </a:lnTo>
                <a:lnTo>
                  <a:pt x="1003" y="879"/>
                </a:lnTo>
                <a:lnTo>
                  <a:pt x="1006" y="883"/>
                </a:lnTo>
                <a:lnTo>
                  <a:pt x="1006" y="883"/>
                </a:lnTo>
                <a:lnTo>
                  <a:pt x="1007" y="888"/>
                </a:lnTo>
                <a:lnTo>
                  <a:pt x="1007" y="891"/>
                </a:lnTo>
                <a:lnTo>
                  <a:pt x="1006" y="893"/>
                </a:lnTo>
                <a:lnTo>
                  <a:pt x="1001" y="896"/>
                </a:lnTo>
                <a:lnTo>
                  <a:pt x="1001" y="896"/>
                </a:lnTo>
                <a:lnTo>
                  <a:pt x="1000" y="899"/>
                </a:lnTo>
                <a:lnTo>
                  <a:pt x="1001" y="901"/>
                </a:lnTo>
                <a:lnTo>
                  <a:pt x="1003" y="902"/>
                </a:lnTo>
                <a:lnTo>
                  <a:pt x="1004" y="905"/>
                </a:lnTo>
                <a:lnTo>
                  <a:pt x="1004" y="905"/>
                </a:lnTo>
                <a:lnTo>
                  <a:pt x="1004" y="908"/>
                </a:lnTo>
                <a:lnTo>
                  <a:pt x="1003" y="908"/>
                </a:lnTo>
                <a:lnTo>
                  <a:pt x="997" y="905"/>
                </a:lnTo>
                <a:lnTo>
                  <a:pt x="997" y="905"/>
                </a:lnTo>
                <a:lnTo>
                  <a:pt x="996" y="903"/>
                </a:lnTo>
                <a:lnTo>
                  <a:pt x="994" y="903"/>
                </a:lnTo>
                <a:lnTo>
                  <a:pt x="991" y="906"/>
                </a:lnTo>
                <a:lnTo>
                  <a:pt x="989" y="911"/>
                </a:lnTo>
                <a:lnTo>
                  <a:pt x="989" y="915"/>
                </a:lnTo>
                <a:lnTo>
                  <a:pt x="989" y="915"/>
                </a:lnTo>
                <a:lnTo>
                  <a:pt x="989" y="915"/>
                </a:lnTo>
                <a:lnTo>
                  <a:pt x="987" y="915"/>
                </a:lnTo>
                <a:lnTo>
                  <a:pt x="983" y="913"/>
                </a:lnTo>
                <a:lnTo>
                  <a:pt x="979" y="911"/>
                </a:lnTo>
                <a:lnTo>
                  <a:pt x="974" y="909"/>
                </a:lnTo>
                <a:lnTo>
                  <a:pt x="974" y="909"/>
                </a:lnTo>
                <a:lnTo>
                  <a:pt x="974" y="909"/>
                </a:lnTo>
                <a:lnTo>
                  <a:pt x="973" y="906"/>
                </a:lnTo>
                <a:lnTo>
                  <a:pt x="973" y="902"/>
                </a:lnTo>
                <a:lnTo>
                  <a:pt x="969" y="898"/>
                </a:lnTo>
                <a:lnTo>
                  <a:pt x="969" y="898"/>
                </a:lnTo>
                <a:lnTo>
                  <a:pt x="962" y="893"/>
                </a:lnTo>
                <a:lnTo>
                  <a:pt x="959" y="891"/>
                </a:lnTo>
                <a:lnTo>
                  <a:pt x="957" y="888"/>
                </a:lnTo>
                <a:lnTo>
                  <a:pt x="957" y="888"/>
                </a:lnTo>
                <a:lnTo>
                  <a:pt x="956" y="883"/>
                </a:lnTo>
                <a:lnTo>
                  <a:pt x="952" y="881"/>
                </a:lnTo>
                <a:lnTo>
                  <a:pt x="949" y="876"/>
                </a:lnTo>
                <a:lnTo>
                  <a:pt x="947" y="875"/>
                </a:lnTo>
                <a:lnTo>
                  <a:pt x="947" y="874"/>
                </a:lnTo>
                <a:lnTo>
                  <a:pt x="947" y="874"/>
                </a:lnTo>
                <a:lnTo>
                  <a:pt x="947" y="861"/>
                </a:lnTo>
                <a:lnTo>
                  <a:pt x="947" y="854"/>
                </a:lnTo>
                <a:lnTo>
                  <a:pt x="946" y="848"/>
                </a:lnTo>
                <a:lnTo>
                  <a:pt x="946" y="848"/>
                </a:lnTo>
                <a:lnTo>
                  <a:pt x="944" y="845"/>
                </a:lnTo>
                <a:lnTo>
                  <a:pt x="944" y="842"/>
                </a:lnTo>
                <a:lnTo>
                  <a:pt x="947" y="835"/>
                </a:lnTo>
                <a:lnTo>
                  <a:pt x="947" y="835"/>
                </a:lnTo>
                <a:lnTo>
                  <a:pt x="947" y="832"/>
                </a:lnTo>
                <a:lnTo>
                  <a:pt x="946" y="829"/>
                </a:lnTo>
                <a:lnTo>
                  <a:pt x="943" y="827"/>
                </a:lnTo>
                <a:lnTo>
                  <a:pt x="939" y="825"/>
                </a:lnTo>
                <a:lnTo>
                  <a:pt x="939" y="825"/>
                </a:lnTo>
                <a:lnTo>
                  <a:pt x="927" y="825"/>
                </a:lnTo>
                <a:lnTo>
                  <a:pt x="915" y="824"/>
                </a:lnTo>
                <a:lnTo>
                  <a:pt x="915" y="824"/>
                </a:lnTo>
                <a:lnTo>
                  <a:pt x="903" y="824"/>
                </a:lnTo>
                <a:lnTo>
                  <a:pt x="900" y="822"/>
                </a:lnTo>
                <a:lnTo>
                  <a:pt x="898" y="821"/>
                </a:lnTo>
                <a:lnTo>
                  <a:pt x="898" y="821"/>
                </a:lnTo>
                <a:lnTo>
                  <a:pt x="890" y="817"/>
                </a:lnTo>
                <a:lnTo>
                  <a:pt x="883" y="812"/>
                </a:lnTo>
                <a:lnTo>
                  <a:pt x="876" y="811"/>
                </a:lnTo>
                <a:lnTo>
                  <a:pt x="876" y="811"/>
                </a:lnTo>
                <a:lnTo>
                  <a:pt x="869" y="808"/>
                </a:lnTo>
                <a:lnTo>
                  <a:pt x="863" y="805"/>
                </a:lnTo>
                <a:lnTo>
                  <a:pt x="861" y="801"/>
                </a:lnTo>
                <a:lnTo>
                  <a:pt x="859" y="798"/>
                </a:lnTo>
                <a:lnTo>
                  <a:pt x="859" y="798"/>
                </a:lnTo>
                <a:lnTo>
                  <a:pt x="856" y="797"/>
                </a:lnTo>
                <a:lnTo>
                  <a:pt x="852" y="794"/>
                </a:lnTo>
                <a:lnTo>
                  <a:pt x="848" y="792"/>
                </a:lnTo>
                <a:lnTo>
                  <a:pt x="843" y="790"/>
                </a:lnTo>
                <a:lnTo>
                  <a:pt x="843" y="790"/>
                </a:lnTo>
                <a:lnTo>
                  <a:pt x="841" y="788"/>
                </a:lnTo>
                <a:lnTo>
                  <a:pt x="836" y="787"/>
                </a:lnTo>
                <a:lnTo>
                  <a:pt x="826" y="785"/>
                </a:lnTo>
                <a:lnTo>
                  <a:pt x="826" y="785"/>
                </a:lnTo>
                <a:lnTo>
                  <a:pt x="822" y="784"/>
                </a:lnTo>
                <a:lnTo>
                  <a:pt x="816" y="781"/>
                </a:lnTo>
                <a:lnTo>
                  <a:pt x="811" y="778"/>
                </a:lnTo>
                <a:lnTo>
                  <a:pt x="805" y="777"/>
                </a:lnTo>
                <a:lnTo>
                  <a:pt x="805" y="777"/>
                </a:lnTo>
                <a:lnTo>
                  <a:pt x="799" y="778"/>
                </a:lnTo>
                <a:lnTo>
                  <a:pt x="792" y="781"/>
                </a:lnTo>
                <a:lnTo>
                  <a:pt x="781" y="784"/>
                </a:lnTo>
                <a:lnTo>
                  <a:pt x="781" y="784"/>
                </a:lnTo>
                <a:lnTo>
                  <a:pt x="781" y="784"/>
                </a:lnTo>
                <a:lnTo>
                  <a:pt x="781" y="781"/>
                </a:lnTo>
                <a:lnTo>
                  <a:pt x="784" y="777"/>
                </a:lnTo>
                <a:lnTo>
                  <a:pt x="784" y="777"/>
                </a:lnTo>
                <a:lnTo>
                  <a:pt x="784" y="773"/>
                </a:lnTo>
                <a:lnTo>
                  <a:pt x="781" y="768"/>
                </a:lnTo>
                <a:lnTo>
                  <a:pt x="777" y="755"/>
                </a:lnTo>
                <a:lnTo>
                  <a:pt x="777" y="755"/>
                </a:lnTo>
                <a:lnTo>
                  <a:pt x="775" y="751"/>
                </a:lnTo>
                <a:lnTo>
                  <a:pt x="772" y="746"/>
                </a:lnTo>
                <a:lnTo>
                  <a:pt x="769" y="743"/>
                </a:lnTo>
                <a:lnTo>
                  <a:pt x="765" y="743"/>
                </a:lnTo>
                <a:lnTo>
                  <a:pt x="765" y="743"/>
                </a:lnTo>
                <a:lnTo>
                  <a:pt x="760" y="743"/>
                </a:lnTo>
                <a:lnTo>
                  <a:pt x="754" y="741"/>
                </a:lnTo>
                <a:lnTo>
                  <a:pt x="747" y="738"/>
                </a:lnTo>
                <a:lnTo>
                  <a:pt x="747" y="738"/>
                </a:lnTo>
                <a:lnTo>
                  <a:pt x="745" y="734"/>
                </a:lnTo>
                <a:lnTo>
                  <a:pt x="745" y="726"/>
                </a:lnTo>
                <a:lnTo>
                  <a:pt x="745" y="716"/>
                </a:lnTo>
                <a:lnTo>
                  <a:pt x="747" y="707"/>
                </a:lnTo>
                <a:lnTo>
                  <a:pt x="747" y="707"/>
                </a:lnTo>
                <a:lnTo>
                  <a:pt x="748" y="700"/>
                </a:lnTo>
                <a:lnTo>
                  <a:pt x="752" y="693"/>
                </a:lnTo>
                <a:lnTo>
                  <a:pt x="755" y="686"/>
                </a:lnTo>
                <a:lnTo>
                  <a:pt x="757" y="681"/>
                </a:lnTo>
                <a:lnTo>
                  <a:pt x="757" y="681"/>
                </a:lnTo>
                <a:lnTo>
                  <a:pt x="758" y="677"/>
                </a:lnTo>
                <a:lnTo>
                  <a:pt x="761" y="674"/>
                </a:lnTo>
                <a:lnTo>
                  <a:pt x="768" y="672"/>
                </a:lnTo>
                <a:lnTo>
                  <a:pt x="768" y="672"/>
                </a:lnTo>
                <a:lnTo>
                  <a:pt x="769" y="672"/>
                </a:lnTo>
                <a:lnTo>
                  <a:pt x="771" y="669"/>
                </a:lnTo>
                <a:lnTo>
                  <a:pt x="772" y="666"/>
                </a:lnTo>
                <a:lnTo>
                  <a:pt x="772" y="662"/>
                </a:lnTo>
                <a:lnTo>
                  <a:pt x="774" y="660"/>
                </a:lnTo>
                <a:lnTo>
                  <a:pt x="775" y="659"/>
                </a:lnTo>
                <a:lnTo>
                  <a:pt x="775" y="659"/>
                </a:lnTo>
                <a:lnTo>
                  <a:pt x="778" y="659"/>
                </a:lnTo>
                <a:lnTo>
                  <a:pt x="779" y="657"/>
                </a:lnTo>
                <a:lnTo>
                  <a:pt x="782" y="652"/>
                </a:lnTo>
                <a:lnTo>
                  <a:pt x="782" y="652"/>
                </a:lnTo>
                <a:lnTo>
                  <a:pt x="784" y="650"/>
                </a:lnTo>
                <a:lnTo>
                  <a:pt x="785" y="649"/>
                </a:lnTo>
                <a:lnTo>
                  <a:pt x="787" y="649"/>
                </a:lnTo>
                <a:lnTo>
                  <a:pt x="785" y="647"/>
                </a:lnTo>
                <a:lnTo>
                  <a:pt x="785" y="647"/>
                </a:lnTo>
                <a:lnTo>
                  <a:pt x="784" y="644"/>
                </a:lnTo>
                <a:lnTo>
                  <a:pt x="785" y="643"/>
                </a:lnTo>
                <a:lnTo>
                  <a:pt x="794" y="643"/>
                </a:lnTo>
                <a:lnTo>
                  <a:pt x="794" y="643"/>
                </a:lnTo>
                <a:lnTo>
                  <a:pt x="799" y="642"/>
                </a:lnTo>
                <a:lnTo>
                  <a:pt x="806" y="640"/>
                </a:lnTo>
                <a:lnTo>
                  <a:pt x="811" y="637"/>
                </a:lnTo>
                <a:lnTo>
                  <a:pt x="812" y="635"/>
                </a:lnTo>
                <a:lnTo>
                  <a:pt x="812" y="632"/>
                </a:lnTo>
                <a:lnTo>
                  <a:pt x="812" y="632"/>
                </a:lnTo>
                <a:lnTo>
                  <a:pt x="811" y="629"/>
                </a:lnTo>
                <a:lnTo>
                  <a:pt x="808" y="627"/>
                </a:lnTo>
                <a:lnTo>
                  <a:pt x="799" y="626"/>
                </a:lnTo>
                <a:lnTo>
                  <a:pt x="792" y="626"/>
                </a:lnTo>
                <a:lnTo>
                  <a:pt x="789" y="625"/>
                </a:lnTo>
                <a:lnTo>
                  <a:pt x="788" y="623"/>
                </a:lnTo>
                <a:lnTo>
                  <a:pt x="788" y="623"/>
                </a:lnTo>
                <a:lnTo>
                  <a:pt x="788" y="620"/>
                </a:lnTo>
                <a:lnTo>
                  <a:pt x="784" y="619"/>
                </a:lnTo>
                <a:lnTo>
                  <a:pt x="775" y="616"/>
                </a:lnTo>
                <a:lnTo>
                  <a:pt x="767" y="615"/>
                </a:lnTo>
                <a:lnTo>
                  <a:pt x="764" y="613"/>
                </a:lnTo>
                <a:lnTo>
                  <a:pt x="764" y="612"/>
                </a:lnTo>
                <a:lnTo>
                  <a:pt x="764" y="612"/>
                </a:lnTo>
                <a:lnTo>
                  <a:pt x="765" y="610"/>
                </a:lnTo>
                <a:lnTo>
                  <a:pt x="768" y="610"/>
                </a:lnTo>
                <a:lnTo>
                  <a:pt x="778" y="612"/>
                </a:lnTo>
                <a:lnTo>
                  <a:pt x="799" y="617"/>
                </a:lnTo>
                <a:lnTo>
                  <a:pt x="799" y="617"/>
                </a:lnTo>
                <a:lnTo>
                  <a:pt x="809" y="620"/>
                </a:lnTo>
                <a:lnTo>
                  <a:pt x="819" y="620"/>
                </a:lnTo>
                <a:lnTo>
                  <a:pt x="819" y="620"/>
                </a:lnTo>
                <a:lnTo>
                  <a:pt x="821" y="620"/>
                </a:lnTo>
                <a:lnTo>
                  <a:pt x="822" y="619"/>
                </a:lnTo>
                <a:lnTo>
                  <a:pt x="824" y="615"/>
                </a:lnTo>
                <a:lnTo>
                  <a:pt x="822" y="610"/>
                </a:lnTo>
                <a:lnTo>
                  <a:pt x="822" y="608"/>
                </a:lnTo>
                <a:lnTo>
                  <a:pt x="822" y="608"/>
                </a:lnTo>
                <a:lnTo>
                  <a:pt x="824" y="606"/>
                </a:lnTo>
                <a:lnTo>
                  <a:pt x="826" y="606"/>
                </a:lnTo>
                <a:lnTo>
                  <a:pt x="832" y="609"/>
                </a:lnTo>
                <a:lnTo>
                  <a:pt x="839" y="610"/>
                </a:lnTo>
                <a:lnTo>
                  <a:pt x="843" y="612"/>
                </a:lnTo>
                <a:lnTo>
                  <a:pt x="846" y="610"/>
                </a:lnTo>
                <a:lnTo>
                  <a:pt x="846" y="610"/>
                </a:lnTo>
                <a:lnTo>
                  <a:pt x="849" y="609"/>
                </a:lnTo>
                <a:lnTo>
                  <a:pt x="852" y="608"/>
                </a:lnTo>
                <a:lnTo>
                  <a:pt x="858" y="600"/>
                </a:lnTo>
                <a:lnTo>
                  <a:pt x="863" y="593"/>
                </a:lnTo>
                <a:lnTo>
                  <a:pt x="869" y="588"/>
                </a:lnTo>
                <a:lnTo>
                  <a:pt x="869" y="588"/>
                </a:lnTo>
                <a:lnTo>
                  <a:pt x="872" y="585"/>
                </a:lnTo>
                <a:lnTo>
                  <a:pt x="872" y="583"/>
                </a:lnTo>
                <a:lnTo>
                  <a:pt x="870" y="582"/>
                </a:lnTo>
                <a:lnTo>
                  <a:pt x="865" y="579"/>
                </a:lnTo>
                <a:lnTo>
                  <a:pt x="856" y="579"/>
                </a:lnTo>
                <a:lnTo>
                  <a:pt x="856" y="579"/>
                </a:lnTo>
                <a:lnTo>
                  <a:pt x="848" y="579"/>
                </a:lnTo>
                <a:lnTo>
                  <a:pt x="841" y="578"/>
                </a:lnTo>
                <a:lnTo>
                  <a:pt x="835" y="575"/>
                </a:lnTo>
                <a:lnTo>
                  <a:pt x="829" y="571"/>
                </a:lnTo>
                <a:lnTo>
                  <a:pt x="829" y="571"/>
                </a:lnTo>
                <a:lnTo>
                  <a:pt x="825" y="566"/>
                </a:lnTo>
                <a:lnTo>
                  <a:pt x="824" y="563"/>
                </a:lnTo>
                <a:lnTo>
                  <a:pt x="826" y="562"/>
                </a:lnTo>
                <a:lnTo>
                  <a:pt x="831" y="562"/>
                </a:lnTo>
                <a:lnTo>
                  <a:pt x="831" y="562"/>
                </a:lnTo>
                <a:lnTo>
                  <a:pt x="838" y="565"/>
                </a:lnTo>
                <a:lnTo>
                  <a:pt x="846" y="569"/>
                </a:lnTo>
                <a:lnTo>
                  <a:pt x="855" y="575"/>
                </a:lnTo>
                <a:lnTo>
                  <a:pt x="862" y="578"/>
                </a:lnTo>
                <a:lnTo>
                  <a:pt x="862" y="578"/>
                </a:lnTo>
                <a:lnTo>
                  <a:pt x="865" y="576"/>
                </a:lnTo>
                <a:lnTo>
                  <a:pt x="868" y="575"/>
                </a:lnTo>
                <a:lnTo>
                  <a:pt x="875" y="571"/>
                </a:lnTo>
                <a:lnTo>
                  <a:pt x="886" y="559"/>
                </a:lnTo>
                <a:lnTo>
                  <a:pt x="886" y="559"/>
                </a:lnTo>
                <a:lnTo>
                  <a:pt x="888" y="558"/>
                </a:lnTo>
                <a:lnTo>
                  <a:pt x="888" y="556"/>
                </a:lnTo>
                <a:lnTo>
                  <a:pt x="885" y="555"/>
                </a:lnTo>
                <a:lnTo>
                  <a:pt x="878" y="551"/>
                </a:lnTo>
                <a:lnTo>
                  <a:pt x="878" y="551"/>
                </a:lnTo>
                <a:lnTo>
                  <a:pt x="876" y="549"/>
                </a:lnTo>
                <a:lnTo>
                  <a:pt x="876" y="548"/>
                </a:lnTo>
                <a:lnTo>
                  <a:pt x="879" y="546"/>
                </a:lnTo>
                <a:lnTo>
                  <a:pt x="889" y="545"/>
                </a:lnTo>
                <a:lnTo>
                  <a:pt x="889" y="545"/>
                </a:lnTo>
                <a:lnTo>
                  <a:pt x="893" y="546"/>
                </a:lnTo>
                <a:lnTo>
                  <a:pt x="896" y="548"/>
                </a:lnTo>
                <a:lnTo>
                  <a:pt x="900" y="552"/>
                </a:lnTo>
                <a:lnTo>
                  <a:pt x="900" y="552"/>
                </a:lnTo>
                <a:lnTo>
                  <a:pt x="903" y="553"/>
                </a:lnTo>
                <a:lnTo>
                  <a:pt x="907" y="552"/>
                </a:lnTo>
                <a:lnTo>
                  <a:pt x="917" y="551"/>
                </a:lnTo>
                <a:lnTo>
                  <a:pt x="917" y="551"/>
                </a:lnTo>
                <a:lnTo>
                  <a:pt x="919" y="551"/>
                </a:lnTo>
                <a:lnTo>
                  <a:pt x="919" y="549"/>
                </a:lnTo>
                <a:lnTo>
                  <a:pt x="917" y="546"/>
                </a:lnTo>
                <a:lnTo>
                  <a:pt x="913" y="542"/>
                </a:lnTo>
                <a:lnTo>
                  <a:pt x="907" y="539"/>
                </a:lnTo>
                <a:lnTo>
                  <a:pt x="907" y="539"/>
                </a:lnTo>
                <a:lnTo>
                  <a:pt x="906" y="538"/>
                </a:lnTo>
                <a:lnTo>
                  <a:pt x="905" y="536"/>
                </a:lnTo>
                <a:lnTo>
                  <a:pt x="905" y="535"/>
                </a:lnTo>
                <a:lnTo>
                  <a:pt x="906" y="535"/>
                </a:lnTo>
                <a:lnTo>
                  <a:pt x="907" y="534"/>
                </a:lnTo>
                <a:lnTo>
                  <a:pt x="910" y="534"/>
                </a:lnTo>
                <a:lnTo>
                  <a:pt x="910" y="535"/>
                </a:lnTo>
                <a:lnTo>
                  <a:pt x="910" y="535"/>
                </a:lnTo>
                <a:lnTo>
                  <a:pt x="913" y="538"/>
                </a:lnTo>
                <a:lnTo>
                  <a:pt x="916" y="539"/>
                </a:lnTo>
                <a:lnTo>
                  <a:pt x="919" y="542"/>
                </a:lnTo>
                <a:lnTo>
                  <a:pt x="922" y="545"/>
                </a:lnTo>
                <a:lnTo>
                  <a:pt x="922" y="545"/>
                </a:lnTo>
                <a:lnTo>
                  <a:pt x="925" y="549"/>
                </a:lnTo>
                <a:lnTo>
                  <a:pt x="927" y="549"/>
                </a:lnTo>
                <a:lnTo>
                  <a:pt x="936" y="545"/>
                </a:lnTo>
                <a:lnTo>
                  <a:pt x="936" y="545"/>
                </a:lnTo>
                <a:lnTo>
                  <a:pt x="940" y="543"/>
                </a:lnTo>
                <a:lnTo>
                  <a:pt x="944" y="541"/>
                </a:lnTo>
                <a:lnTo>
                  <a:pt x="950" y="534"/>
                </a:lnTo>
                <a:lnTo>
                  <a:pt x="950" y="534"/>
                </a:lnTo>
                <a:lnTo>
                  <a:pt x="953" y="532"/>
                </a:lnTo>
                <a:lnTo>
                  <a:pt x="954" y="532"/>
                </a:lnTo>
                <a:lnTo>
                  <a:pt x="957" y="531"/>
                </a:lnTo>
                <a:lnTo>
                  <a:pt x="960" y="528"/>
                </a:lnTo>
                <a:lnTo>
                  <a:pt x="960" y="528"/>
                </a:lnTo>
                <a:lnTo>
                  <a:pt x="960" y="525"/>
                </a:lnTo>
                <a:lnTo>
                  <a:pt x="962" y="524"/>
                </a:lnTo>
                <a:lnTo>
                  <a:pt x="960" y="518"/>
                </a:lnTo>
                <a:lnTo>
                  <a:pt x="956" y="514"/>
                </a:lnTo>
                <a:lnTo>
                  <a:pt x="952" y="511"/>
                </a:lnTo>
                <a:lnTo>
                  <a:pt x="952" y="511"/>
                </a:lnTo>
                <a:lnTo>
                  <a:pt x="949" y="508"/>
                </a:lnTo>
                <a:lnTo>
                  <a:pt x="949" y="505"/>
                </a:lnTo>
                <a:lnTo>
                  <a:pt x="949" y="502"/>
                </a:lnTo>
                <a:lnTo>
                  <a:pt x="946" y="499"/>
                </a:lnTo>
                <a:lnTo>
                  <a:pt x="946" y="499"/>
                </a:lnTo>
                <a:lnTo>
                  <a:pt x="943" y="497"/>
                </a:lnTo>
                <a:lnTo>
                  <a:pt x="942" y="494"/>
                </a:lnTo>
                <a:lnTo>
                  <a:pt x="943" y="492"/>
                </a:lnTo>
                <a:lnTo>
                  <a:pt x="947" y="492"/>
                </a:lnTo>
                <a:lnTo>
                  <a:pt x="947" y="492"/>
                </a:lnTo>
                <a:lnTo>
                  <a:pt x="952" y="492"/>
                </a:lnTo>
                <a:lnTo>
                  <a:pt x="956" y="492"/>
                </a:lnTo>
                <a:lnTo>
                  <a:pt x="960" y="489"/>
                </a:lnTo>
                <a:lnTo>
                  <a:pt x="963" y="487"/>
                </a:lnTo>
                <a:lnTo>
                  <a:pt x="963" y="487"/>
                </a:lnTo>
                <a:lnTo>
                  <a:pt x="963" y="485"/>
                </a:lnTo>
                <a:lnTo>
                  <a:pt x="963" y="484"/>
                </a:lnTo>
                <a:lnTo>
                  <a:pt x="960" y="481"/>
                </a:lnTo>
                <a:lnTo>
                  <a:pt x="957" y="479"/>
                </a:lnTo>
                <a:lnTo>
                  <a:pt x="957" y="478"/>
                </a:lnTo>
                <a:lnTo>
                  <a:pt x="959" y="477"/>
                </a:lnTo>
                <a:lnTo>
                  <a:pt x="959" y="477"/>
                </a:lnTo>
                <a:lnTo>
                  <a:pt x="962" y="475"/>
                </a:lnTo>
                <a:lnTo>
                  <a:pt x="960" y="472"/>
                </a:lnTo>
                <a:lnTo>
                  <a:pt x="957" y="471"/>
                </a:lnTo>
                <a:lnTo>
                  <a:pt x="953" y="470"/>
                </a:lnTo>
                <a:lnTo>
                  <a:pt x="953" y="470"/>
                </a:lnTo>
                <a:lnTo>
                  <a:pt x="949" y="470"/>
                </a:lnTo>
                <a:lnTo>
                  <a:pt x="944" y="468"/>
                </a:lnTo>
                <a:lnTo>
                  <a:pt x="942" y="465"/>
                </a:lnTo>
                <a:lnTo>
                  <a:pt x="942" y="461"/>
                </a:lnTo>
                <a:lnTo>
                  <a:pt x="942" y="461"/>
                </a:lnTo>
                <a:lnTo>
                  <a:pt x="940" y="460"/>
                </a:lnTo>
                <a:lnTo>
                  <a:pt x="939" y="460"/>
                </a:lnTo>
                <a:lnTo>
                  <a:pt x="935" y="458"/>
                </a:lnTo>
                <a:lnTo>
                  <a:pt x="929" y="458"/>
                </a:lnTo>
                <a:lnTo>
                  <a:pt x="923" y="457"/>
                </a:lnTo>
                <a:lnTo>
                  <a:pt x="923" y="457"/>
                </a:lnTo>
                <a:lnTo>
                  <a:pt x="916" y="455"/>
                </a:lnTo>
                <a:lnTo>
                  <a:pt x="909" y="454"/>
                </a:lnTo>
                <a:lnTo>
                  <a:pt x="898" y="454"/>
                </a:lnTo>
                <a:lnTo>
                  <a:pt x="898" y="454"/>
                </a:lnTo>
                <a:lnTo>
                  <a:pt x="896" y="455"/>
                </a:lnTo>
                <a:lnTo>
                  <a:pt x="896" y="457"/>
                </a:lnTo>
                <a:lnTo>
                  <a:pt x="895" y="462"/>
                </a:lnTo>
                <a:lnTo>
                  <a:pt x="896" y="467"/>
                </a:lnTo>
                <a:lnTo>
                  <a:pt x="898" y="470"/>
                </a:lnTo>
                <a:lnTo>
                  <a:pt x="899" y="470"/>
                </a:lnTo>
                <a:lnTo>
                  <a:pt x="899" y="470"/>
                </a:lnTo>
                <a:lnTo>
                  <a:pt x="903" y="471"/>
                </a:lnTo>
                <a:lnTo>
                  <a:pt x="905" y="474"/>
                </a:lnTo>
                <a:lnTo>
                  <a:pt x="906" y="475"/>
                </a:lnTo>
                <a:lnTo>
                  <a:pt x="905" y="478"/>
                </a:lnTo>
                <a:lnTo>
                  <a:pt x="905" y="478"/>
                </a:lnTo>
                <a:lnTo>
                  <a:pt x="902" y="479"/>
                </a:lnTo>
                <a:lnTo>
                  <a:pt x="902" y="482"/>
                </a:lnTo>
                <a:lnTo>
                  <a:pt x="903" y="484"/>
                </a:lnTo>
                <a:lnTo>
                  <a:pt x="902" y="485"/>
                </a:lnTo>
                <a:lnTo>
                  <a:pt x="902" y="485"/>
                </a:lnTo>
                <a:lnTo>
                  <a:pt x="899" y="484"/>
                </a:lnTo>
                <a:lnTo>
                  <a:pt x="895" y="485"/>
                </a:lnTo>
                <a:lnTo>
                  <a:pt x="892" y="487"/>
                </a:lnTo>
                <a:lnTo>
                  <a:pt x="890" y="492"/>
                </a:lnTo>
                <a:lnTo>
                  <a:pt x="890" y="492"/>
                </a:lnTo>
                <a:lnTo>
                  <a:pt x="889" y="502"/>
                </a:lnTo>
                <a:lnTo>
                  <a:pt x="886" y="505"/>
                </a:lnTo>
                <a:lnTo>
                  <a:pt x="883" y="508"/>
                </a:lnTo>
                <a:lnTo>
                  <a:pt x="883" y="508"/>
                </a:lnTo>
                <a:lnTo>
                  <a:pt x="882" y="508"/>
                </a:lnTo>
                <a:lnTo>
                  <a:pt x="880" y="508"/>
                </a:lnTo>
                <a:lnTo>
                  <a:pt x="879" y="504"/>
                </a:lnTo>
                <a:lnTo>
                  <a:pt x="879" y="499"/>
                </a:lnTo>
                <a:lnTo>
                  <a:pt x="878" y="498"/>
                </a:lnTo>
                <a:lnTo>
                  <a:pt x="876" y="498"/>
                </a:lnTo>
                <a:lnTo>
                  <a:pt x="876" y="498"/>
                </a:lnTo>
                <a:lnTo>
                  <a:pt x="875" y="498"/>
                </a:lnTo>
                <a:lnTo>
                  <a:pt x="873" y="499"/>
                </a:lnTo>
                <a:lnTo>
                  <a:pt x="870" y="504"/>
                </a:lnTo>
                <a:lnTo>
                  <a:pt x="872" y="508"/>
                </a:lnTo>
                <a:lnTo>
                  <a:pt x="872" y="509"/>
                </a:lnTo>
                <a:lnTo>
                  <a:pt x="873" y="511"/>
                </a:lnTo>
                <a:lnTo>
                  <a:pt x="873" y="511"/>
                </a:lnTo>
                <a:lnTo>
                  <a:pt x="876" y="512"/>
                </a:lnTo>
                <a:lnTo>
                  <a:pt x="878" y="514"/>
                </a:lnTo>
                <a:lnTo>
                  <a:pt x="880" y="521"/>
                </a:lnTo>
                <a:lnTo>
                  <a:pt x="880" y="521"/>
                </a:lnTo>
                <a:lnTo>
                  <a:pt x="880" y="522"/>
                </a:lnTo>
                <a:lnTo>
                  <a:pt x="879" y="522"/>
                </a:lnTo>
                <a:lnTo>
                  <a:pt x="876" y="524"/>
                </a:lnTo>
                <a:lnTo>
                  <a:pt x="872" y="525"/>
                </a:lnTo>
                <a:lnTo>
                  <a:pt x="870" y="526"/>
                </a:lnTo>
                <a:lnTo>
                  <a:pt x="869" y="528"/>
                </a:lnTo>
                <a:lnTo>
                  <a:pt x="869" y="528"/>
                </a:lnTo>
                <a:lnTo>
                  <a:pt x="866" y="531"/>
                </a:lnTo>
                <a:lnTo>
                  <a:pt x="865" y="528"/>
                </a:lnTo>
                <a:lnTo>
                  <a:pt x="862" y="525"/>
                </a:lnTo>
                <a:lnTo>
                  <a:pt x="859" y="521"/>
                </a:lnTo>
                <a:lnTo>
                  <a:pt x="859" y="521"/>
                </a:lnTo>
                <a:lnTo>
                  <a:pt x="852" y="514"/>
                </a:lnTo>
                <a:lnTo>
                  <a:pt x="849" y="508"/>
                </a:lnTo>
                <a:lnTo>
                  <a:pt x="849" y="504"/>
                </a:lnTo>
                <a:lnTo>
                  <a:pt x="849" y="504"/>
                </a:lnTo>
                <a:lnTo>
                  <a:pt x="849" y="501"/>
                </a:lnTo>
                <a:lnTo>
                  <a:pt x="851" y="499"/>
                </a:lnTo>
                <a:lnTo>
                  <a:pt x="856" y="497"/>
                </a:lnTo>
                <a:lnTo>
                  <a:pt x="856" y="497"/>
                </a:lnTo>
                <a:lnTo>
                  <a:pt x="858" y="497"/>
                </a:lnTo>
                <a:lnTo>
                  <a:pt x="858" y="494"/>
                </a:lnTo>
                <a:lnTo>
                  <a:pt x="855" y="487"/>
                </a:lnTo>
                <a:lnTo>
                  <a:pt x="855" y="487"/>
                </a:lnTo>
                <a:lnTo>
                  <a:pt x="855" y="482"/>
                </a:lnTo>
                <a:lnTo>
                  <a:pt x="852" y="481"/>
                </a:lnTo>
                <a:lnTo>
                  <a:pt x="849" y="479"/>
                </a:lnTo>
                <a:lnTo>
                  <a:pt x="845" y="475"/>
                </a:lnTo>
                <a:lnTo>
                  <a:pt x="845" y="475"/>
                </a:lnTo>
                <a:lnTo>
                  <a:pt x="841" y="471"/>
                </a:lnTo>
                <a:lnTo>
                  <a:pt x="836" y="470"/>
                </a:lnTo>
                <a:lnTo>
                  <a:pt x="832" y="470"/>
                </a:lnTo>
                <a:lnTo>
                  <a:pt x="829" y="472"/>
                </a:lnTo>
                <a:lnTo>
                  <a:pt x="829" y="472"/>
                </a:lnTo>
                <a:lnTo>
                  <a:pt x="828" y="475"/>
                </a:lnTo>
                <a:lnTo>
                  <a:pt x="828" y="478"/>
                </a:lnTo>
                <a:lnTo>
                  <a:pt x="826" y="481"/>
                </a:lnTo>
                <a:lnTo>
                  <a:pt x="824" y="484"/>
                </a:lnTo>
                <a:lnTo>
                  <a:pt x="824" y="484"/>
                </a:lnTo>
                <a:lnTo>
                  <a:pt x="821" y="487"/>
                </a:lnTo>
                <a:lnTo>
                  <a:pt x="819" y="491"/>
                </a:lnTo>
                <a:lnTo>
                  <a:pt x="819" y="494"/>
                </a:lnTo>
                <a:lnTo>
                  <a:pt x="818" y="495"/>
                </a:lnTo>
                <a:lnTo>
                  <a:pt x="816" y="497"/>
                </a:lnTo>
                <a:lnTo>
                  <a:pt x="816" y="497"/>
                </a:lnTo>
                <a:lnTo>
                  <a:pt x="815" y="495"/>
                </a:lnTo>
                <a:lnTo>
                  <a:pt x="815" y="494"/>
                </a:lnTo>
                <a:lnTo>
                  <a:pt x="814" y="488"/>
                </a:lnTo>
                <a:lnTo>
                  <a:pt x="814" y="481"/>
                </a:lnTo>
                <a:lnTo>
                  <a:pt x="812" y="478"/>
                </a:lnTo>
                <a:lnTo>
                  <a:pt x="811" y="477"/>
                </a:lnTo>
                <a:lnTo>
                  <a:pt x="811" y="477"/>
                </a:lnTo>
                <a:lnTo>
                  <a:pt x="809" y="475"/>
                </a:lnTo>
                <a:lnTo>
                  <a:pt x="809" y="474"/>
                </a:lnTo>
                <a:lnTo>
                  <a:pt x="811" y="471"/>
                </a:lnTo>
                <a:lnTo>
                  <a:pt x="814" y="470"/>
                </a:lnTo>
                <a:lnTo>
                  <a:pt x="814" y="470"/>
                </a:lnTo>
                <a:lnTo>
                  <a:pt x="816" y="468"/>
                </a:lnTo>
                <a:lnTo>
                  <a:pt x="819" y="467"/>
                </a:lnTo>
                <a:lnTo>
                  <a:pt x="819" y="465"/>
                </a:lnTo>
                <a:lnTo>
                  <a:pt x="818" y="464"/>
                </a:lnTo>
                <a:lnTo>
                  <a:pt x="818" y="464"/>
                </a:lnTo>
                <a:lnTo>
                  <a:pt x="814" y="462"/>
                </a:lnTo>
                <a:lnTo>
                  <a:pt x="809" y="461"/>
                </a:lnTo>
                <a:lnTo>
                  <a:pt x="801" y="457"/>
                </a:lnTo>
                <a:lnTo>
                  <a:pt x="801" y="457"/>
                </a:lnTo>
                <a:lnTo>
                  <a:pt x="798" y="458"/>
                </a:lnTo>
                <a:lnTo>
                  <a:pt x="795" y="460"/>
                </a:lnTo>
                <a:lnTo>
                  <a:pt x="792" y="461"/>
                </a:lnTo>
                <a:lnTo>
                  <a:pt x="789" y="461"/>
                </a:lnTo>
                <a:lnTo>
                  <a:pt x="789" y="461"/>
                </a:lnTo>
                <a:lnTo>
                  <a:pt x="788" y="458"/>
                </a:lnTo>
                <a:lnTo>
                  <a:pt x="788" y="454"/>
                </a:lnTo>
                <a:lnTo>
                  <a:pt x="789" y="447"/>
                </a:lnTo>
                <a:lnTo>
                  <a:pt x="789" y="447"/>
                </a:lnTo>
                <a:lnTo>
                  <a:pt x="791" y="445"/>
                </a:lnTo>
                <a:lnTo>
                  <a:pt x="794" y="445"/>
                </a:lnTo>
                <a:lnTo>
                  <a:pt x="797" y="445"/>
                </a:lnTo>
                <a:lnTo>
                  <a:pt x="799" y="444"/>
                </a:lnTo>
                <a:lnTo>
                  <a:pt x="799" y="444"/>
                </a:lnTo>
                <a:lnTo>
                  <a:pt x="799" y="442"/>
                </a:lnTo>
                <a:lnTo>
                  <a:pt x="799" y="441"/>
                </a:lnTo>
                <a:lnTo>
                  <a:pt x="795" y="438"/>
                </a:lnTo>
                <a:lnTo>
                  <a:pt x="791" y="437"/>
                </a:lnTo>
                <a:lnTo>
                  <a:pt x="789" y="435"/>
                </a:lnTo>
                <a:lnTo>
                  <a:pt x="789" y="433"/>
                </a:lnTo>
                <a:lnTo>
                  <a:pt x="789" y="433"/>
                </a:lnTo>
                <a:lnTo>
                  <a:pt x="789" y="431"/>
                </a:lnTo>
                <a:lnTo>
                  <a:pt x="788" y="430"/>
                </a:lnTo>
                <a:lnTo>
                  <a:pt x="784" y="427"/>
                </a:lnTo>
                <a:lnTo>
                  <a:pt x="775" y="424"/>
                </a:lnTo>
                <a:lnTo>
                  <a:pt x="775" y="424"/>
                </a:lnTo>
                <a:lnTo>
                  <a:pt x="774" y="424"/>
                </a:lnTo>
                <a:lnTo>
                  <a:pt x="774" y="423"/>
                </a:lnTo>
                <a:lnTo>
                  <a:pt x="775" y="418"/>
                </a:lnTo>
                <a:lnTo>
                  <a:pt x="775" y="414"/>
                </a:lnTo>
                <a:lnTo>
                  <a:pt x="775" y="410"/>
                </a:lnTo>
                <a:lnTo>
                  <a:pt x="775" y="410"/>
                </a:lnTo>
                <a:lnTo>
                  <a:pt x="772" y="407"/>
                </a:lnTo>
                <a:lnTo>
                  <a:pt x="767" y="401"/>
                </a:lnTo>
                <a:lnTo>
                  <a:pt x="761" y="397"/>
                </a:lnTo>
                <a:lnTo>
                  <a:pt x="758" y="397"/>
                </a:lnTo>
                <a:lnTo>
                  <a:pt x="755" y="396"/>
                </a:lnTo>
                <a:lnTo>
                  <a:pt x="755" y="396"/>
                </a:lnTo>
                <a:lnTo>
                  <a:pt x="751" y="396"/>
                </a:lnTo>
                <a:lnTo>
                  <a:pt x="750" y="393"/>
                </a:lnTo>
                <a:lnTo>
                  <a:pt x="750" y="390"/>
                </a:lnTo>
                <a:lnTo>
                  <a:pt x="751" y="388"/>
                </a:lnTo>
                <a:lnTo>
                  <a:pt x="751" y="388"/>
                </a:lnTo>
                <a:lnTo>
                  <a:pt x="754" y="388"/>
                </a:lnTo>
                <a:lnTo>
                  <a:pt x="755" y="387"/>
                </a:lnTo>
                <a:lnTo>
                  <a:pt x="762" y="380"/>
                </a:lnTo>
                <a:lnTo>
                  <a:pt x="762" y="380"/>
                </a:lnTo>
                <a:lnTo>
                  <a:pt x="767" y="376"/>
                </a:lnTo>
                <a:lnTo>
                  <a:pt x="768" y="373"/>
                </a:lnTo>
                <a:lnTo>
                  <a:pt x="768" y="371"/>
                </a:lnTo>
                <a:lnTo>
                  <a:pt x="765" y="370"/>
                </a:lnTo>
                <a:lnTo>
                  <a:pt x="765" y="370"/>
                </a:lnTo>
                <a:lnTo>
                  <a:pt x="762" y="369"/>
                </a:lnTo>
                <a:lnTo>
                  <a:pt x="761" y="367"/>
                </a:lnTo>
                <a:lnTo>
                  <a:pt x="762" y="366"/>
                </a:lnTo>
                <a:lnTo>
                  <a:pt x="767" y="364"/>
                </a:lnTo>
                <a:lnTo>
                  <a:pt x="767" y="364"/>
                </a:lnTo>
                <a:lnTo>
                  <a:pt x="779" y="367"/>
                </a:lnTo>
                <a:lnTo>
                  <a:pt x="787" y="369"/>
                </a:lnTo>
                <a:lnTo>
                  <a:pt x="791" y="367"/>
                </a:lnTo>
                <a:lnTo>
                  <a:pt x="791" y="367"/>
                </a:lnTo>
                <a:lnTo>
                  <a:pt x="797" y="361"/>
                </a:lnTo>
                <a:lnTo>
                  <a:pt x="802" y="353"/>
                </a:lnTo>
                <a:lnTo>
                  <a:pt x="815" y="336"/>
                </a:lnTo>
                <a:lnTo>
                  <a:pt x="815" y="336"/>
                </a:lnTo>
                <a:lnTo>
                  <a:pt x="816" y="333"/>
                </a:lnTo>
                <a:lnTo>
                  <a:pt x="816" y="332"/>
                </a:lnTo>
                <a:lnTo>
                  <a:pt x="815" y="330"/>
                </a:lnTo>
                <a:lnTo>
                  <a:pt x="814" y="329"/>
                </a:lnTo>
                <a:lnTo>
                  <a:pt x="806" y="327"/>
                </a:lnTo>
                <a:lnTo>
                  <a:pt x="798" y="329"/>
                </a:lnTo>
                <a:lnTo>
                  <a:pt x="798" y="329"/>
                </a:lnTo>
                <a:lnTo>
                  <a:pt x="789" y="327"/>
                </a:lnTo>
                <a:lnTo>
                  <a:pt x="784" y="326"/>
                </a:lnTo>
                <a:lnTo>
                  <a:pt x="778" y="324"/>
                </a:lnTo>
                <a:lnTo>
                  <a:pt x="771" y="323"/>
                </a:lnTo>
                <a:lnTo>
                  <a:pt x="771" y="323"/>
                </a:lnTo>
                <a:lnTo>
                  <a:pt x="762" y="323"/>
                </a:lnTo>
                <a:lnTo>
                  <a:pt x="752" y="324"/>
                </a:lnTo>
                <a:lnTo>
                  <a:pt x="742" y="326"/>
                </a:lnTo>
                <a:lnTo>
                  <a:pt x="738" y="327"/>
                </a:lnTo>
                <a:lnTo>
                  <a:pt x="738" y="327"/>
                </a:lnTo>
                <a:lnTo>
                  <a:pt x="737" y="329"/>
                </a:lnTo>
                <a:lnTo>
                  <a:pt x="738" y="330"/>
                </a:lnTo>
                <a:lnTo>
                  <a:pt x="740" y="333"/>
                </a:lnTo>
                <a:lnTo>
                  <a:pt x="741" y="334"/>
                </a:lnTo>
                <a:lnTo>
                  <a:pt x="742" y="337"/>
                </a:lnTo>
                <a:lnTo>
                  <a:pt x="742" y="337"/>
                </a:lnTo>
                <a:lnTo>
                  <a:pt x="741" y="339"/>
                </a:lnTo>
                <a:lnTo>
                  <a:pt x="741" y="339"/>
                </a:lnTo>
                <a:lnTo>
                  <a:pt x="738" y="337"/>
                </a:lnTo>
                <a:lnTo>
                  <a:pt x="734" y="336"/>
                </a:lnTo>
                <a:lnTo>
                  <a:pt x="733" y="336"/>
                </a:lnTo>
                <a:lnTo>
                  <a:pt x="733" y="336"/>
                </a:lnTo>
                <a:lnTo>
                  <a:pt x="731" y="339"/>
                </a:lnTo>
                <a:lnTo>
                  <a:pt x="731" y="341"/>
                </a:lnTo>
                <a:lnTo>
                  <a:pt x="733" y="347"/>
                </a:lnTo>
                <a:lnTo>
                  <a:pt x="733" y="354"/>
                </a:lnTo>
                <a:lnTo>
                  <a:pt x="733" y="354"/>
                </a:lnTo>
                <a:lnTo>
                  <a:pt x="733" y="363"/>
                </a:lnTo>
                <a:lnTo>
                  <a:pt x="734" y="367"/>
                </a:lnTo>
                <a:lnTo>
                  <a:pt x="738" y="373"/>
                </a:lnTo>
                <a:lnTo>
                  <a:pt x="738" y="373"/>
                </a:lnTo>
                <a:lnTo>
                  <a:pt x="740" y="377"/>
                </a:lnTo>
                <a:lnTo>
                  <a:pt x="741" y="381"/>
                </a:lnTo>
                <a:lnTo>
                  <a:pt x="741" y="391"/>
                </a:lnTo>
                <a:lnTo>
                  <a:pt x="741" y="391"/>
                </a:lnTo>
                <a:lnTo>
                  <a:pt x="740" y="396"/>
                </a:lnTo>
                <a:lnTo>
                  <a:pt x="737" y="398"/>
                </a:lnTo>
                <a:lnTo>
                  <a:pt x="731" y="400"/>
                </a:lnTo>
                <a:lnTo>
                  <a:pt x="731" y="400"/>
                </a:lnTo>
                <a:lnTo>
                  <a:pt x="731" y="401"/>
                </a:lnTo>
                <a:lnTo>
                  <a:pt x="731" y="403"/>
                </a:lnTo>
                <a:lnTo>
                  <a:pt x="733" y="404"/>
                </a:lnTo>
                <a:lnTo>
                  <a:pt x="735" y="407"/>
                </a:lnTo>
                <a:lnTo>
                  <a:pt x="735" y="410"/>
                </a:lnTo>
                <a:lnTo>
                  <a:pt x="735" y="410"/>
                </a:lnTo>
                <a:lnTo>
                  <a:pt x="735" y="411"/>
                </a:lnTo>
                <a:lnTo>
                  <a:pt x="734" y="411"/>
                </a:lnTo>
                <a:lnTo>
                  <a:pt x="730" y="411"/>
                </a:lnTo>
                <a:lnTo>
                  <a:pt x="727" y="408"/>
                </a:lnTo>
                <a:lnTo>
                  <a:pt x="723" y="408"/>
                </a:lnTo>
                <a:lnTo>
                  <a:pt x="723" y="408"/>
                </a:lnTo>
                <a:lnTo>
                  <a:pt x="720" y="411"/>
                </a:lnTo>
                <a:lnTo>
                  <a:pt x="718" y="417"/>
                </a:lnTo>
                <a:lnTo>
                  <a:pt x="717" y="421"/>
                </a:lnTo>
                <a:lnTo>
                  <a:pt x="718" y="424"/>
                </a:lnTo>
                <a:lnTo>
                  <a:pt x="720" y="425"/>
                </a:lnTo>
                <a:lnTo>
                  <a:pt x="720" y="425"/>
                </a:lnTo>
                <a:lnTo>
                  <a:pt x="724" y="430"/>
                </a:lnTo>
                <a:lnTo>
                  <a:pt x="724" y="431"/>
                </a:lnTo>
                <a:lnTo>
                  <a:pt x="723" y="434"/>
                </a:lnTo>
                <a:lnTo>
                  <a:pt x="723" y="434"/>
                </a:lnTo>
                <a:lnTo>
                  <a:pt x="720" y="438"/>
                </a:lnTo>
                <a:lnTo>
                  <a:pt x="718" y="442"/>
                </a:lnTo>
                <a:lnTo>
                  <a:pt x="720" y="447"/>
                </a:lnTo>
                <a:lnTo>
                  <a:pt x="724" y="452"/>
                </a:lnTo>
                <a:lnTo>
                  <a:pt x="724" y="452"/>
                </a:lnTo>
                <a:lnTo>
                  <a:pt x="731" y="455"/>
                </a:lnTo>
                <a:lnTo>
                  <a:pt x="740" y="458"/>
                </a:lnTo>
                <a:lnTo>
                  <a:pt x="748" y="460"/>
                </a:lnTo>
                <a:lnTo>
                  <a:pt x="755" y="464"/>
                </a:lnTo>
                <a:lnTo>
                  <a:pt x="755" y="464"/>
                </a:lnTo>
                <a:lnTo>
                  <a:pt x="758" y="467"/>
                </a:lnTo>
                <a:lnTo>
                  <a:pt x="758" y="467"/>
                </a:lnTo>
                <a:lnTo>
                  <a:pt x="755" y="468"/>
                </a:lnTo>
                <a:lnTo>
                  <a:pt x="755" y="470"/>
                </a:lnTo>
                <a:lnTo>
                  <a:pt x="755" y="471"/>
                </a:lnTo>
                <a:lnTo>
                  <a:pt x="755" y="471"/>
                </a:lnTo>
                <a:lnTo>
                  <a:pt x="757" y="474"/>
                </a:lnTo>
                <a:lnTo>
                  <a:pt x="755" y="475"/>
                </a:lnTo>
                <a:lnTo>
                  <a:pt x="754" y="478"/>
                </a:lnTo>
                <a:lnTo>
                  <a:pt x="751" y="481"/>
                </a:lnTo>
                <a:lnTo>
                  <a:pt x="751" y="484"/>
                </a:lnTo>
                <a:lnTo>
                  <a:pt x="751" y="484"/>
                </a:lnTo>
                <a:lnTo>
                  <a:pt x="751" y="487"/>
                </a:lnTo>
                <a:lnTo>
                  <a:pt x="752" y="487"/>
                </a:lnTo>
                <a:lnTo>
                  <a:pt x="758" y="478"/>
                </a:lnTo>
                <a:lnTo>
                  <a:pt x="758" y="478"/>
                </a:lnTo>
                <a:lnTo>
                  <a:pt x="760" y="477"/>
                </a:lnTo>
                <a:lnTo>
                  <a:pt x="761" y="475"/>
                </a:lnTo>
                <a:lnTo>
                  <a:pt x="762" y="477"/>
                </a:lnTo>
                <a:lnTo>
                  <a:pt x="764" y="478"/>
                </a:lnTo>
                <a:lnTo>
                  <a:pt x="765" y="482"/>
                </a:lnTo>
                <a:lnTo>
                  <a:pt x="765" y="488"/>
                </a:lnTo>
                <a:lnTo>
                  <a:pt x="765" y="488"/>
                </a:lnTo>
                <a:lnTo>
                  <a:pt x="764" y="491"/>
                </a:lnTo>
                <a:lnTo>
                  <a:pt x="761" y="492"/>
                </a:lnTo>
                <a:lnTo>
                  <a:pt x="758" y="494"/>
                </a:lnTo>
                <a:lnTo>
                  <a:pt x="754" y="497"/>
                </a:lnTo>
                <a:lnTo>
                  <a:pt x="754" y="497"/>
                </a:lnTo>
                <a:lnTo>
                  <a:pt x="751" y="501"/>
                </a:lnTo>
                <a:lnTo>
                  <a:pt x="747" y="504"/>
                </a:lnTo>
                <a:lnTo>
                  <a:pt x="744" y="504"/>
                </a:lnTo>
                <a:lnTo>
                  <a:pt x="738" y="504"/>
                </a:lnTo>
                <a:lnTo>
                  <a:pt x="738" y="504"/>
                </a:lnTo>
                <a:lnTo>
                  <a:pt x="737" y="504"/>
                </a:lnTo>
                <a:lnTo>
                  <a:pt x="735" y="505"/>
                </a:lnTo>
                <a:lnTo>
                  <a:pt x="735" y="508"/>
                </a:lnTo>
                <a:lnTo>
                  <a:pt x="737" y="514"/>
                </a:lnTo>
                <a:lnTo>
                  <a:pt x="738" y="519"/>
                </a:lnTo>
                <a:lnTo>
                  <a:pt x="738" y="519"/>
                </a:lnTo>
                <a:lnTo>
                  <a:pt x="740" y="524"/>
                </a:lnTo>
                <a:lnTo>
                  <a:pt x="738" y="525"/>
                </a:lnTo>
                <a:lnTo>
                  <a:pt x="735" y="526"/>
                </a:lnTo>
                <a:lnTo>
                  <a:pt x="730" y="525"/>
                </a:lnTo>
                <a:lnTo>
                  <a:pt x="730" y="525"/>
                </a:lnTo>
                <a:lnTo>
                  <a:pt x="725" y="524"/>
                </a:lnTo>
                <a:lnTo>
                  <a:pt x="721" y="521"/>
                </a:lnTo>
                <a:lnTo>
                  <a:pt x="720" y="516"/>
                </a:lnTo>
                <a:lnTo>
                  <a:pt x="721" y="512"/>
                </a:lnTo>
                <a:lnTo>
                  <a:pt x="721" y="512"/>
                </a:lnTo>
                <a:lnTo>
                  <a:pt x="725" y="504"/>
                </a:lnTo>
                <a:lnTo>
                  <a:pt x="725" y="501"/>
                </a:lnTo>
                <a:lnTo>
                  <a:pt x="724" y="499"/>
                </a:lnTo>
                <a:lnTo>
                  <a:pt x="724" y="499"/>
                </a:lnTo>
                <a:lnTo>
                  <a:pt x="720" y="499"/>
                </a:lnTo>
                <a:lnTo>
                  <a:pt x="714" y="499"/>
                </a:lnTo>
                <a:lnTo>
                  <a:pt x="708" y="498"/>
                </a:lnTo>
                <a:lnTo>
                  <a:pt x="705" y="494"/>
                </a:lnTo>
                <a:lnTo>
                  <a:pt x="705" y="494"/>
                </a:lnTo>
                <a:lnTo>
                  <a:pt x="704" y="492"/>
                </a:lnTo>
                <a:lnTo>
                  <a:pt x="707" y="491"/>
                </a:lnTo>
                <a:lnTo>
                  <a:pt x="717" y="492"/>
                </a:lnTo>
                <a:lnTo>
                  <a:pt x="717" y="492"/>
                </a:lnTo>
                <a:lnTo>
                  <a:pt x="721" y="492"/>
                </a:lnTo>
                <a:lnTo>
                  <a:pt x="723" y="489"/>
                </a:lnTo>
                <a:lnTo>
                  <a:pt x="723" y="487"/>
                </a:lnTo>
                <a:lnTo>
                  <a:pt x="724" y="487"/>
                </a:lnTo>
                <a:lnTo>
                  <a:pt x="725" y="487"/>
                </a:lnTo>
                <a:lnTo>
                  <a:pt x="725" y="487"/>
                </a:lnTo>
                <a:lnTo>
                  <a:pt x="735" y="488"/>
                </a:lnTo>
                <a:lnTo>
                  <a:pt x="740" y="487"/>
                </a:lnTo>
                <a:lnTo>
                  <a:pt x="744" y="485"/>
                </a:lnTo>
                <a:lnTo>
                  <a:pt x="744" y="485"/>
                </a:lnTo>
                <a:lnTo>
                  <a:pt x="745" y="482"/>
                </a:lnTo>
                <a:lnTo>
                  <a:pt x="745" y="479"/>
                </a:lnTo>
                <a:lnTo>
                  <a:pt x="744" y="475"/>
                </a:lnTo>
                <a:lnTo>
                  <a:pt x="740" y="471"/>
                </a:lnTo>
                <a:lnTo>
                  <a:pt x="737" y="471"/>
                </a:lnTo>
                <a:lnTo>
                  <a:pt x="735" y="471"/>
                </a:lnTo>
                <a:lnTo>
                  <a:pt x="735" y="471"/>
                </a:lnTo>
                <a:lnTo>
                  <a:pt x="727" y="472"/>
                </a:lnTo>
                <a:lnTo>
                  <a:pt x="724" y="472"/>
                </a:lnTo>
                <a:lnTo>
                  <a:pt x="723" y="471"/>
                </a:lnTo>
                <a:lnTo>
                  <a:pt x="723" y="470"/>
                </a:lnTo>
                <a:lnTo>
                  <a:pt x="723" y="470"/>
                </a:lnTo>
                <a:lnTo>
                  <a:pt x="723" y="468"/>
                </a:lnTo>
                <a:lnTo>
                  <a:pt x="724" y="468"/>
                </a:lnTo>
                <a:lnTo>
                  <a:pt x="727" y="467"/>
                </a:lnTo>
                <a:lnTo>
                  <a:pt x="731" y="468"/>
                </a:lnTo>
                <a:lnTo>
                  <a:pt x="735" y="467"/>
                </a:lnTo>
                <a:lnTo>
                  <a:pt x="735" y="467"/>
                </a:lnTo>
                <a:lnTo>
                  <a:pt x="737" y="467"/>
                </a:lnTo>
                <a:lnTo>
                  <a:pt x="737" y="465"/>
                </a:lnTo>
                <a:lnTo>
                  <a:pt x="735" y="464"/>
                </a:lnTo>
                <a:lnTo>
                  <a:pt x="731" y="461"/>
                </a:lnTo>
                <a:lnTo>
                  <a:pt x="725" y="461"/>
                </a:lnTo>
                <a:lnTo>
                  <a:pt x="725" y="461"/>
                </a:lnTo>
                <a:lnTo>
                  <a:pt x="721" y="462"/>
                </a:lnTo>
                <a:lnTo>
                  <a:pt x="717" y="462"/>
                </a:lnTo>
                <a:lnTo>
                  <a:pt x="713" y="461"/>
                </a:lnTo>
                <a:lnTo>
                  <a:pt x="708" y="458"/>
                </a:lnTo>
                <a:lnTo>
                  <a:pt x="708" y="458"/>
                </a:lnTo>
                <a:lnTo>
                  <a:pt x="703" y="454"/>
                </a:lnTo>
                <a:lnTo>
                  <a:pt x="698" y="452"/>
                </a:lnTo>
                <a:lnTo>
                  <a:pt x="696" y="452"/>
                </a:lnTo>
                <a:lnTo>
                  <a:pt x="693" y="454"/>
                </a:lnTo>
                <a:lnTo>
                  <a:pt x="691" y="458"/>
                </a:lnTo>
                <a:lnTo>
                  <a:pt x="690" y="462"/>
                </a:lnTo>
                <a:lnTo>
                  <a:pt x="690" y="462"/>
                </a:lnTo>
                <a:lnTo>
                  <a:pt x="688" y="467"/>
                </a:lnTo>
                <a:lnTo>
                  <a:pt x="687" y="470"/>
                </a:lnTo>
                <a:lnTo>
                  <a:pt x="684" y="471"/>
                </a:lnTo>
                <a:lnTo>
                  <a:pt x="681" y="471"/>
                </a:lnTo>
                <a:lnTo>
                  <a:pt x="677" y="471"/>
                </a:lnTo>
                <a:lnTo>
                  <a:pt x="676" y="472"/>
                </a:lnTo>
                <a:lnTo>
                  <a:pt x="673" y="472"/>
                </a:lnTo>
                <a:lnTo>
                  <a:pt x="673" y="472"/>
                </a:lnTo>
                <a:lnTo>
                  <a:pt x="673" y="475"/>
                </a:lnTo>
                <a:lnTo>
                  <a:pt x="673" y="477"/>
                </a:lnTo>
                <a:lnTo>
                  <a:pt x="676" y="478"/>
                </a:lnTo>
                <a:lnTo>
                  <a:pt x="681" y="481"/>
                </a:lnTo>
                <a:lnTo>
                  <a:pt x="687" y="481"/>
                </a:lnTo>
                <a:lnTo>
                  <a:pt x="687" y="481"/>
                </a:lnTo>
                <a:lnTo>
                  <a:pt x="694" y="482"/>
                </a:lnTo>
                <a:lnTo>
                  <a:pt x="698" y="487"/>
                </a:lnTo>
                <a:lnTo>
                  <a:pt x="701" y="489"/>
                </a:lnTo>
                <a:lnTo>
                  <a:pt x="701" y="489"/>
                </a:lnTo>
                <a:lnTo>
                  <a:pt x="700" y="491"/>
                </a:lnTo>
                <a:lnTo>
                  <a:pt x="700" y="491"/>
                </a:lnTo>
                <a:lnTo>
                  <a:pt x="697" y="491"/>
                </a:lnTo>
                <a:lnTo>
                  <a:pt x="696" y="494"/>
                </a:lnTo>
                <a:lnTo>
                  <a:pt x="694" y="495"/>
                </a:lnTo>
                <a:lnTo>
                  <a:pt x="693" y="495"/>
                </a:lnTo>
                <a:lnTo>
                  <a:pt x="693" y="495"/>
                </a:lnTo>
                <a:lnTo>
                  <a:pt x="688" y="494"/>
                </a:lnTo>
                <a:lnTo>
                  <a:pt x="686" y="494"/>
                </a:lnTo>
                <a:lnTo>
                  <a:pt x="684" y="497"/>
                </a:lnTo>
                <a:lnTo>
                  <a:pt x="686" y="499"/>
                </a:lnTo>
                <a:lnTo>
                  <a:pt x="686" y="499"/>
                </a:lnTo>
                <a:lnTo>
                  <a:pt x="687" y="502"/>
                </a:lnTo>
                <a:lnTo>
                  <a:pt x="687" y="504"/>
                </a:lnTo>
                <a:lnTo>
                  <a:pt x="686" y="507"/>
                </a:lnTo>
                <a:lnTo>
                  <a:pt x="684" y="509"/>
                </a:lnTo>
                <a:lnTo>
                  <a:pt x="684" y="509"/>
                </a:lnTo>
                <a:lnTo>
                  <a:pt x="684" y="511"/>
                </a:lnTo>
                <a:lnTo>
                  <a:pt x="684" y="511"/>
                </a:lnTo>
                <a:lnTo>
                  <a:pt x="680" y="511"/>
                </a:lnTo>
                <a:lnTo>
                  <a:pt x="670" y="509"/>
                </a:lnTo>
                <a:lnTo>
                  <a:pt x="670" y="509"/>
                </a:lnTo>
                <a:lnTo>
                  <a:pt x="663" y="509"/>
                </a:lnTo>
                <a:lnTo>
                  <a:pt x="656" y="509"/>
                </a:lnTo>
                <a:lnTo>
                  <a:pt x="639" y="512"/>
                </a:lnTo>
                <a:lnTo>
                  <a:pt x="639" y="512"/>
                </a:lnTo>
                <a:lnTo>
                  <a:pt x="632" y="514"/>
                </a:lnTo>
                <a:lnTo>
                  <a:pt x="623" y="512"/>
                </a:lnTo>
                <a:lnTo>
                  <a:pt x="617" y="509"/>
                </a:lnTo>
                <a:lnTo>
                  <a:pt x="613" y="507"/>
                </a:lnTo>
                <a:lnTo>
                  <a:pt x="613" y="507"/>
                </a:lnTo>
                <a:lnTo>
                  <a:pt x="610" y="504"/>
                </a:lnTo>
                <a:lnTo>
                  <a:pt x="606" y="504"/>
                </a:lnTo>
                <a:lnTo>
                  <a:pt x="596" y="502"/>
                </a:lnTo>
                <a:lnTo>
                  <a:pt x="596" y="502"/>
                </a:lnTo>
                <a:lnTo>
                  <a:pt x="592" y="502"/>
                </a:lnTo>
                <a:lnTo>
                  <a:pt x="590" y="499"/>
                </a:lnTo>
                <a:lnTo>
                  <a:pt x="587" y="497"/>
                </a:lnTo>
                <a:lnTo>
                  <a:pt x="582" y="495"/>
                </a:lnTo>
                <a:lnTo>
                  <a:pt x="582" y="495"/>
                </a:lnTo>
                <a:lnTo>
                  <a:pt x="579" y="495"/>
                </a:lnTo>
                <a:lnTo>
                  <a:pt x="577" y="494"/>
                </a:lnTo>
                <a:lnTo>
                  <a:pt x="575" y="491"/>
                </a:lnTo>
                <a:lnTo>
                  <a:pt x="573" y="482"/>
                </a:lnTo>
                <a:lnTo>
                  <a:pt x="573" y="482"/>
                </a:lnTo>
                <a:lnTo>
                  <a:pt x="573" y="481"/>
                </a:lnTo>
                <a:lnTo>
                  <a:pt x="570" y="481"/>
                </a:lnTo>
                <a:lnTo>
                  <a:pt x="563" y="479"/>
                </a:lnTo>
                <a:lnTo>
                  <a:pt x="555" y="481"/>
                </a:lnTo>
                <a:lnTo>
                  <a:pt x="548" y="484"/>
                </a:lnTo>
                <a:lnTo>
                  <a:pt x="548" y="484"/>
                </a:lnTo>
                <a:lnTo>
                  <a:pt x="542" y="487"/>
                </a:lnTo>
                <a:lnTo>
                  <a:pt x="535" y="488"/>
                </a:lnTo>
                <a:lnTo>
                  <a:pt x="528" y="489"/>
                </a:lnTo>
                <a:lnTo>
                  <a:pt x="526" y="492"/>
                </a:lnTo>
                <a:lnTo>
                  <a:pt x="523" y="494"/>
                </a:lnTo>
                <a:lnTo>
                  <a:pt x="523" y="494"/>
                </a:lnTo>
                <a:lnTo>
                  <a:pt x="523" y="498"/>
                </a:lnTo>
                <a:lnTo>
                  <a:pt x="525" y="501"/>
                </a:lnTo>
                <a:lnTo>
                  <a:pt x="528" y="501"/>
                </a:lnTo>
                <a:lnTo>
                  <a:pt x="531" y="501"/>
                </a:lnTo>
                <a:lnTo>
                  <a:pt x="531" y="501"/>
                </a:lnTo>
                <a:lnTo>
                  <a:pt x="535" y="499"/>
                </a:lnTo>
                <a:lnTo>
                  <a:pt x="536" y="498"/>
                </a:lnTo>
                <a:lnTo>
                  <a:pt x="540" y="497"/>
                </a:lnTo>
                <a:lnTo>
                  <a:pt x="546" y="497"/>
                </a:lnTo>
                <a:lnTo>
                  <a:pt x="546" y="497"/>
                </a:lnTo>
                <a:lnTo>
                  <a:pt x="549" y="497"/>
                </a:lnTo>
                <a:lnTo>
                  <a:pt x="553" y="495"/>
                </a:lnTo>
                <a:lnTo>
                  <a:pt x="559" y="492"/>
                </a:lnTo>
                <a:lnTo>
                  <a:pt x="563" y="489"/>
                </a:lnTo>
                <a:lnTo>
                  <a:pt x="566" y="489"/>
                </a:lnTo>
                <a:lnTo>
                  <a:pt x="567" y="489"/>
                </a:lnTo>
                <a:lnTo>
                  <a:pt x="567" y="489"/>
                </a:lnTo>
                <a:lnTo>
                  <a:pt x="567" y="492"/>
                </a:lnTo>
                <a:lnTo>
                  <a:pt x="566" y="494"/>
                </a:lnTo>
                <a:lnTo>
                  <a:pt x="559" y="498"/>
                </a:lnTo>
                <a:lnTo>
                  <a:pt x="549" y="502"/>
                </a:lnTo>
                <a:lnTo>
                  <a:pt x="540" y="504"/>
                </a:lnTo>
                <a:lnTo>
                  <a:pt x="540" y="504"/>
                </a:lnTo>
                <a:lnTo>
                  <a:pt x="538" y="505"/>
                </a:lnTo>
                <a:lnTo>
                  <a:pt x="536" y="507"/>
                </a:lnTo>
                <a:lnTo>
                  <a:pt x="535" y="508"/>
                </a:lnTo>
                <a:lnTo>
                  <a:pt x="535" y="511"/>
                </a:lnTo>
                <a:lnTo>
                  <a:pt x="538" y="516"/>
                </a:lnTo>
                <a:lnTo>
                  <a:pt x="543" y="526"/>
                </a:lnTo>
                <a:lnTo>
                  <a:pt x="543" y="526"/>
                </a:lnTo>
                <a:lnTo>
                  <a:pt x="545" y="529"/>
                </a:lnTo>
                <a:lnTo>
                  <a:pt x="546" y="532"/>
                </a:lnTo>
                <a:lnTo>
                  <a:pt x="545" y="534"/>
                </a:lnTo>
                <a:lnTo>
                  <a:pt x="545" y="535"/>
                </a:lnTo>
                <a:lnTo>
                  <a:pt x="540" y="535"/>
                </a:lnTo>
                <a:lnTo>
                  <a:pt x="539" y="536"/>
                </a:lnTo>
                <a:lnTo>
                  <a:pt x="539" y="538"/>
                </a:lnTo>
                <a:lnTo>
                  <a:pt x="539" y="538"/>
                </a:lnTo>
                <a:lnTo>
                  <a:pt x="538" y="539"/>
                </a:lnTo>
                <a:lnTo>
                  <a:pt x="536" y="541"/>
                </a:lnTo>
                <a:lnTo>
                  <a:pt x="532" y="539"/>
                </a:lnTo>
                <a:lnTo>
                  <a:pt x="528" y="536"/>
                </a:lnTo>
                <a:lnTo>
                  <a:pt x="528" y="535"/>
                </a:lnTo>
                <a:lnTo>
                  <a:pt x="529" y="534"/>
                </a:lnTo>
                <a:lnTo>
                  <a:pt x="529" y="534"/>
                </a:lnTo>
                <a:lnTo>
                  <a:pt x="532" y="532"/>
                </a:lnTo>
                <a:lnTo>
                  <a:pt x="532" y="528"/>
                </a:lnTo>
                <a:lnTo>
                  <a:pt x="531" y="524"/>
                </a:lnTo>
                <a:lnTo>
                  <a:pt x="528" y="521"/>
                </a:lnTo>
                <a:lnTo>
                  <a:pt x="528" y="521"/>
                </a:lnTo>
                <a:lnTo>
                  <a:pt x="523" y="519"/>
                </a:lnTo>
                <a:lnTo>
                  <a:pt x="521" y="518"/>
                </a:lnTo>
                <a:lnTo>
                  <a:pt x="519" y="518"/>
                </a:lnTo>
                <a:lnTo>
                  <a:pt x="519" y="516"/>
                </a:lnTo>
                <a:lnTo>
                  <a:pt x="519" y="516"/>
                </a:lnTo>
                <a:lnTo>
                  <a:pt x="518" y="514"/>
                </a:lnTo>
                <a:lnTo>
                  <a:pt x="516" y="514"/>
                </a:lnTo>
                <a:lnTo>
                  <a:pt x="512" y="514"/>
                </a:lnTo>
                <a:lnTo>
                  <a:pt x="508" y="512"/>
                </a:lnTo>
                <a:lnTo>
                  <a:pt x="508" y="512"/>
                </a:lnTo>
                <a:lnTo>
                  <a:pt x="502" y="508"/>
                </a:lnTo>
                <a:lnTo>
                  <a:pt x="498" y="508"/>
                </a:lnTo>
                <a:lnTo>
                  <a:pt x="494" y="509"/>
                </a:lnTo>
                <a:lnTo>
                  <a:pt x="494" y="509"/>
                </a:lnTo>
                <a:lnTo>
                  <a:pt x="489" y="511"/>
                </a:lnTo>
                <a:lnTo>
                  <a:pt x="482" y="512"/>
                </a:lnTo>
                <a:lnTo>
                  <a:pt x="465" y="514"/>
                </a:lnTo>
                <a:lnTo>
                  <a:pt x="465" y="514"/>
                </a:lnTo>
                <a:lnTo>
                  <a:pt x="451" y="515"/>
                </a:lnTo>
                <a:lnTo>
                  <a:pt x="437" y="515"/>
                </a:lnTo>
                <a:lnTo>
                  <a:pt x="425" y="514"/>
                </a:lnTo>
                <a:lnTo>
                  <a:pt x="420" y="512"/>
                </a:lnTo>
                <a:lnTo>
                  <a:pt x="417" y="511"/>
                </a:lnTo>
                <a:lnTo>
                  <a:pt x="417" y="511"/>
                </a:lnTo>
                <a:lnTo>
                  <a:pt x="417" y="508"/>
                </a:lnTo>
                <a:lnTo>
                  <a:pt x="417" y="507"/>
                </a:lnTo>
                <a:lnTo>
                  <a:pt x="422" y="502"/>
                </a:lnTo>
                <a:lnTo>
                  <a:pt x="430" y="499"/>
                </a:lnTo>
                <a:lnTo>
                  <a:pt x="435" y="498"/>
                </a:lnTo>
                <a:lnTo>
                  <a:pt x="435" y="498"/>
                </a:lnTo>
                <a:lnTo>
                  <a:pt x="438" y="498"/>
                </a:lnTo>
                <a:lnTo>
                  <a:pt x="437" y="495"/>
                </a:lnTo>
                <a:lnTo>
                  <a:pt x="434" y="491"/>
                </a:lnTo>
                <a:lnTo>
                  <a:pt x="430" y="487"/>
                </a:lnTo>
                <a:lnTo>
                  <a:pt x="430" y="487"/>
                </a:lnTo>
                <a:lnTo>
                  <a:pt x="422" y="482"/>
                </a:lnTo>
                <a:lnTo>
                  <a:pt x="412" y="479"/>
                </a:lnTo>
                <a:lnTo>
                  <a:pt x="407" y="478"/>
                </a:lnTo>
                <a:lnTo>
                  <a:pt x="404" y="478"/>
                </a:lnTo>
                <a:lnTo>
                  <a:pt x="404" y="479"/>
                </a:lnTo>
                <a:lnTo>
                  <a:pt x="404" y="479"/>
                </a:lnTo>
                <a:lnTo>
                  <a:pt x="402" y="481"/>
                </a:lnTo>
                <a:lnTo>
                  <a:pt x="401" y="481"/>
                </a:lnTo>
                <a:lnTo>
                  <a:pt x="397" y="481"/>
                </a:lnTo>
                <a:lnTo>
                  <a:pt x="380" y="478"/>
                </a:lnTo>
                <a:lnTo>
                  <a:pt x="380" y="478"/>
                </a:lnTo>
                <a:lnTo>
                  <a:pt x="371" y="475"/>
                </a:lnTo>
                <a:lnTo>
                  <a:pt x="367" y="472"/>
                </a:lnTo>
                <a:lnTo>
                  <a:pt x="361" y="471"/>
                </a:lnTo>
                <a:lnTo>
                  <a:pt x="357" y="470"/>
                </a:lnTo>
                <a:lnTo>
                  <a:pt x="357" y="470"/>
                </a:lnTo>
                <a:lnTo>
                  <a:pt x="350" y="470"/>
                </a:lnTo>
                <a:lnTo>
                  <a:pt x="341" y="468"/>
                </a:lnTo>
                <a:lnTo>
                  <a:pt x="333" y="464"/>
                </a:lnTo>
                <a:lnTo>
                  <a:pt x="326" y="460"/>
                </a:lnTo>
                <a:lnTo>
                  <a:pt x="326" y="460"/>
                </a:lnTo>
                <a:lnTo>
                  <a:pt x="321" y="457"/>
                </a:lnTo>
                <a:lnTo>
                  <a:pt x="316" y="455"/>
                </a:lnTo>
                <a:lnTo>
                  <a:pt x="304" y="454"/>
                </a:lnTo>
                <a:lnTo>
                  <a:pt x="294" y="457"/>
                </a:lnTo>
                <a:lnTo>
                  <a:pt x="290" y="458"/>
                </a:lnTo>
                <a:lnTo>
                  <a:pt x="289" y="461"/>
                </a:lnTo>
                <a:lnTo>
                  <a:pt x="289" y="461"/>
                </a:lnTo>
                <a:lnTo>
                  <a:pt x="286" y="465"/>
                </a:lnTo>
                <a:lnTo>
                  <a:pt x="282" y="467"/>
                </a:lnTo>
                <a:lnTo>
                  <a:pt x="276" y="468"/>
                </a:lnTo>
                <a:lnTo>
                  <a:pt x="270" y="468"/>
                </a:lnTo>
                <a:lnTo>
                  <a:pt x="270" y="468"/>
                </a:lnTo>
                <a:lnTo>
                  <a:pt x="269" y="467"/>
                </a:lnTo>
                <a:lnTo>
                  <a:pt x="267" y="467"/>
                </a:lnTo>
                <a:lnTo>
                  <a:pt x="269" y="462"/>
                </a:lnTo>
                <a:lnTo>
                  <a:pt x="272" y="460"/>
                </a:lnTo>
                <a:lnTo>
                  <a:pt x="272" y="458"/>
                </a:lnTo>
                <a:lnTo>
                  <a:pt x="272" y="457"/>
                </a:lnTo>
                <a:lnTo>
                  <a:pt x="272" y="457"/>
                </a:lnTo>
                <a:lnTo>
                  <a:pt x="269" y="455"/>
                </a:lnTo>
                <a:lnTo>
                  <a:pt x="269" y="451"/>
                </a:lnTo>
                <a:lnTo>
                  <a:pt x="269" y="447"/>
                </a:lnTo>
                <a:lnTo>
                  <a:pt x="267" y="445"/>
                </a:lnTo>
                <a:lnTo>
                  <a:pt x="266" y="445"/>
                </a:lnTo>
                <a:lnTo>
                  <a:pt x="266" y="445"/>
                </a:lnTo>
                <a:lnTo>
                  <a:pt x="263" y="445"/>
                </a:lnTo>
                <a:lnTo>
                  <a:pt x="262" y="448"/>
                </a:lnTo>
                <a:lnTo>
                  <a:pt x="257" y="457"/>
                </a:lnTo>
                <a:lnTo>
                  <a:pt x="252" y="464"/>
                </a:lnTo>
                <a:lnTo>
                  <a:pt x="247" y="467"/>
                </a:lnTo>
                <a:lnTo>
                  <a:pt x="245" y="468"/>
                </a:lnTo>
                <a:lnTo>
                  <a:pt x="245" y="468"/>
                </a:lnTo>
                <a:lnTo>
                  <a:pt x="240" y="467"/>
                </a:lnTo>
                <a:lnTo>
                  <a:pt x="237" y="464"/>
                </a:lnTo>
                <a:lnTo>
                  <a:pt x="232" y="454"/>
                </a:lnTo>
                <a:lnTo>
                  <a:pt x="226" y="444"/>
                </a:lnTo>
                <a:lnTo>
                  <a:pt x="223" y="438"/>
                </a:lnTo>
                <a:lnTo>
                  <a:pt x="220" y="435"/>
                </a:lnTo>
                <a:lnTo>
                  <a:pt x="220" y="435"/>
                </a:lnTo>
                <a:lnTo>
                  <a:pt x="213" y="433"/>
                </a:lnTo>
                <a:lnTo>
                  <a:pt x="209" y="431"/>
                </a:lnTo>
                <a:lnTo>
                  <a:pt x="208" y="431"/>
                </a:lnTo>
                <a:lnTo>
                  <a:pt x="208" y="433"/>
                </a:lnTo>
                <a:lnTo>
                  <a:pt x="210" y="438"/>
                </a:lnTo>
                <a:lnTo>
                  <a:pt x="210" y="438"/>
                </a:lnTo>
                <a:lnTo>
                  <a:pt x="212" y="441"/>
                </a:lnTo>
                <a:lnTo>
                  <a:pt x="212" y="442"/>
                </a:lnTo>
                <a:lnTo>
                  <a:pt x="212" y="444"/>
                </a:lnTo>
                <a:lnTo>
                  <a:pt x="210" y="444"/>
                </a:lnTo>
                <a:lnTo>
                  <a:pt x="206" y="445"/>
                </a:lnTo>
                <a:lnTo>
                  <a:pt x="205" y="445"/>
                </a:lnTo>
                <a:lnTo>
                  <a:pt x="205" y="448"/>
                </a:lnTo>
                <a:lnTo>
                  <a:pt x="205" y="448"/>
                </a:lnTo>
                <a:lnTo>
                  <a:pt x="205" y="450"/>
                </a:lnTo>
                <a:lnTo>
                  <a:pt x="203" y="452"/>
                </a:lnTo>
                <a:lnTo>
                  <a:pt x="199" y="457"/>
                </a:lnTo>
                <a:lnTo>
                  <a:pt x="195" y="458"/>
                </a:lnTo>
                <a:lnTo>
                  <a:pt x="193" y="460"/>
                </a:lnTo>
                <a:lnTo>
                  <a:pt x="193" y="458"/>
                </a:lnTo>
                <a:lnTo>
                  <a:pt x="193" y="458"/>
                </a:lnTo>
                <a:lnTo>
                  <a:pt x="192" y="455"/>
                </a:lnTo>
                <a:lnTo>
                  <a:pt x="188" y="454"/>
                </a:lnTo>
                <a:lnTo>
                  <a:pt x="183" y="455"/>
                </a:lnTo>
                <a:lnTo>
                  <a:pt x="178" y="461"/>
                </a:lnTo>
                <a:lnTo>
                  <a:pt x="178" y="461"/>
                </a:lnTo>
                <a:lnTo>
                  <a:pt x="171" y="467"/>
                </a:lnTo>
                <a:lnTo>
                  <a:pt x="166" y="468"/>
                </a:lnTo>
                <a:lnTo>
                  <a:pt x="163" y="468"/>
                </a:lnTo>
                <a:lnTo>
                  <a:pt x="162" y="465"/>
                </a:lnTo>
                <a:lnTo>
                  <a:pt x="162" y="465"/>
                </a:lnTo>
                <a:lnTo>
                  <a:pt x="161" y="465"/>
                </a:lnTo>
                <a:lnTo>
                  <a:pt x="158" y="465"/>
                </a:lnTo>
                <a:lnTo>
                  <a:pt x="149" y="470"/>
                </a:lnTo>
                <a:lnTo>
                  <a:pt x="141" y="475"/>
                </a:lnTo>
                <a:lnTo>
                  <a:pt x="138" y="477"/>
                </a:lnTo>
                <a:lnTo>
                  <a:pt x="136" y="479"/>
                </a:lnTo>
                <a:lnTo>
                  <a:pt x="136" y="479"/>
                </a:lnTo>
                <a:lnTo>
                  <a:pt x="136" y="482"/>
                </a:lnTo>
                <a:lnTo>
                  <a:pt x="135" y="484"/>
                </a:lnTo>
                <a:lnTo>
                  <a:pt x="131" y="485"/>
                </a:lnTo>
                <a:lnTo>
                  <a:pt x="126" y="487"/>
                </a:lnTo>
                <a:lnTo>
                  <a:pt x="126" y="487"/>
                </a:lnTo>
                <a:lnTo>
                  <a:pt x="124" y="485"/>
                </a:lnTo>
                <a:lnTo>
                  <a:pt x="124" y="482"/>
                </a:lnTo>
                <a:lnTo>
                  <a:pt x="126" y="479"/>
                </a:lnTo>
                <a:lnTo>
                  <a:pt x="131" y="477"/>
                </a:lnTo>
                <a:lnTo>
                  <a:pt x="131" y="477"/>
                </a:lnTo>
                <a:lnTo>
                  <a:pt x="145" y="468"/>
                </a:lnTo>
                <a:lnTo>
                  <a:pt x="154" y="462"/>
                </a:lnTo>
                <a:lnTo>
                  <a:pt x="161" y="460"/>
                </a:lnTo>
                <a:lnTo>
                  <a:pt x="161" y="460"/>
                </a:lnTo>
                <a:lnTo>
                  <a:pt x="169" y="458"/>
                </a:lnTo>
                <a:lnTo>
                  <a:pt x="176" y="454"/>
                </a:lnTo>
                <a:lnTo>
                  <a:pt x="183" y="451"/>
                </a:lnTo>
                <a:lnTo>
                  <a:pt x="186" y="450"/>
                </a:lnTo>
                <a:lnTo>
                  <a:pt x="186" y="447"/>
                </a:lnTo>
                <a:lnTo>
                  <a:pt x="186" y="447"/>
                </a:lnTo>
                <a:lnTo>
                  <a:pt x="186" y="447"/>
                </a:lnTo>
                <a:lnTo>
                  <a:pt x="185" y="445"/>
                </a:lnTo>
                <a:lnTo>
                  <a:pt x="182" y="445"/>
                </a:lnTo>
                <a:lnTo>
                  <a:pt x="178" y="445"/>
                </a:lnTo>
                <a:lnTo>
                  <a:pt x="172" y="445"/>
                </a:lnTo>
                <a:lnTo>
                  <a:pt x="172" y="445"/>
                </a:lnTo>
                <a:lnTo>
                  <a:pt x="168" y="445"/>
                </a:lnTo>
                <a:lnTo>
                  <a:pt x="162" y="448"/>
                </a:lnTo>
                <a:lnTo>
                  <a:pt x="148" y="455"/>
                </a:lnTo>
                <a:lnTo>
                  <a:pt x="148" y="455"/>
                </a:lnTo>
                <a:lnTo>
                  <a:pt x="141" y="458"/>
                </a:lnTo>
                <a:lnTo>
                  <a:pt x="134" y="460"/>
                </a:lnTo>
                <a:lnTo>
                  <a:pt x="129" y="461"/>
                </a:lnTo>
                <a:lnTo>
                  <a:pt x="129" y="462"/>
                </a:lnTo>
                <a:lnTo>
                  <a:pt x="129" y="464"/>
                </a:lnTo>
                <a:lnTo>
                  <a:pt x="129" y="464"/>
                </a:lnTo>
                <a:lnTo>
                  <a:pt x="129" y="465"/>
                </a:lnTo>
                <a:lnTo>
                  <a:pt x="129" y="467"/>
                </a:lnTo>
                <a:lnTo>
                  <a:pt x="126" y="467"/>
                </a:lnTo>
                <a:lnTo>
                  <a:pt x="121" y="465"/>
                </a:lnTo>
                <a:lnTo>
                  <a:pt x="119" y="465"/>
                </a:lnTo>
                <a:lnTo>
                  <a:pt x="118" y="467"/>
                </a:lnTo>
                <a:lnTo>
                  <a:pt x="118" y="467"/>
                </a:lnTo>
                <a:lnTo>
                  <a:pt x="117" y="468"/>
                </a:lnTo>
                <a:lnTo>
                  <a:pt x="114" y="468"/>
                </a:lnTo>
                <a:lnTo>
                  <a:pt x="114" y="467"/>
                </a:lnTo>
                <a:lnTo>
                  <a:pt x="115" y="464"/>
                </a:lnTo>
                <a:lnTo>
                  <a:pt x="115" y="464"/>
                </a:lnTo>
                <a:lnTo>
                  <a:pt x="115" y="464"/>
                </a:lnTo>
                <a:lnTo>
                  <a:pt x="115" y="462"/>
                </a:lnTo>
                <a:lnTo>
                  <a:pt x="112" y="461"/>
                </a:lnTo>
                <a:lnTo>
                  <a:pt x="108" y="460"/>
                </a:lnTo>
                <a:lnTo>
                  <a:pt x="107" y="460"/>
                </a:lnTo>
                <a:lnTo>
                  <a:pt x="107" y="461"/>
                </a:lnTo>
                <a:lnTo>
                  <a:pt x="107" y="461"/>
                </a:lnTo>
                <a:lnTo>
                  <a:pt x="105" y="462"/>
                </a:lnTo>
                <a:lnTo>
                  <a:pt x="104" y="465"/>
                </a:lnTo>
                <a:lnTo>
                  <a:pt x="101" y="467"/>
                </a:lnTo>
                <a:lnTo>
                  <a:pt x="95" y="467"/>
                </a:lnTo>
                <a:lnTo>
                  <a:pt x="95" y="467"/>
                </a:lnTo>
                <a:lnTo>
                  <a:pt x="90" y="468"/>
                </a:lnTo>
                <a:lnTo>
                  <a:pt x="84" y="470"/>
                </a:lnTo>
                <a:lnTo>
                  <a:pt x="82" y="474"/>
                </a:lnTo>
                <a:lnTo>
                  <a:pt x="82" y="475"/>
                </a:lnTo>
                <a:lnTo>
                  <a:pt x="84" y="477"/>
                </a:lnTo>
                <a:lnTo>
                  <a:pt x="84" y="477"/>
                </a:lnTo>
                <a:lnTo>
                  <a:pt x="91" y="482"/>
                </a:lnTo>
                <a:lnTo>
                  <a:pt x="91" y="484"/>
                </a:lnTo>
                <a:lnTo>
                  <a:pt x="91" y="487"/>
                </a:lnTo>
                <a:lnTo>
                  <a:pt x="91" y="487"/>
                </a:lnTo>
                <a:lnTo>
                  <a:pt x="90" y="487"/>
                </a:lnTo>
                <a:lnTo>
                  <a:pt x="87" y="487"/>
                </a:lnTo>
                <a:lnTo>
                  <a:pt x="82" y="484"/>
                </a:lnTo>
                <a:lnTo>
                  <a:pt x="75" y="481"/>
                </a:lnTo>
                <a:lnTo>
                  <a:pt x="71" y="479"/>
                </a:lnTo>
                <a:lnTo>
                  <a:pt x="67" y="479"/>
                </a:lnTo>
                <a:lnTo>
                  <a:pt x="67" y="479"/>
                </a:lnTo>
                <a:lnTo>
                  <a:pt x="61" y="479"/>
                </a:lnTo>
                <a:lnTo>
                  <a:pt x="55" y="478"/>
                </a:lnTo>
                <a:lnTo>
                  <a:pt x="43" y="472"/>
                </a:lnTo>
                <a:lnTo>
                  <a:pt x="33" y="467"/>
                </a:lnTo>
                <a:lnTo>
                  <a:pt x="30" y="464"/>
                </a:lnTo>
                <a:lnTo>
                  <a:pt x="28" y="462"/>
                </a:lnTo>
                <a:lnTo>
                  <a:pt x="28" y="462"/>
                </a:lnTo>
                <a:lnTo>
                  <a:pt x="28" y="461"/>
                </a:lnTo>
                <a:lnTo>
                  <a:pt x="25" y="461"/>
                </a:lnTo>
                <a:lnTo>
                  <a:pt x="18" y="461"/>
                </a:lnTo>
                <a:lnTo>
                  <a:pt x="0" y="460"/>
                </a:lnTo>
                <a:lnTo>
                  <a:pt x="0" y="706"/>
                </a:lnTo>
                <a:lnTo>
                  <a:pt x="0" y="706"/>
                </a:lnTo>
                <a:lnTo>
                  <a:pt x="3" y="707"/>
                </a:lnTo>
                <a:lnTo>
                  <a:pt x="6" y="709"/>
                </a:lnTo>
                <a:lnTo>
                  <a:pt x="8" y="707"/>
                </a:lnTo>
                <a:lnTo>
                  <a:pt x="8" y="707"/>
                </a:lnTo>
                <a:lnTo>
                  <a:pt x="10" y="706"/>
                </a:lnTo>
                <a:lnTo>
                  <a:pt x="13" y="707"/>
                </a:lnTo>
                <a:lnTo>
                  <a:pt x="17" y="706"/>
                </a:lnTo>
                <a:lnTo>
                  <a:pt x="23" y="704"/>
                </a:lnTo>
                <a:lnTo>
                  <a:pt x="23" y="704"/>
                </a:lnTo>
                <a:lnTo>
                  <a:pt x="25" y="704"/>
                </a:lnTo>
                <a:lnTo>
                  <a:pt x="27" y="704"/>
                </a:lnTo>
                <a:lnTo>
                  <a:pt x="31" y="706"/>
                </a:lnTo>
                <a:lnTo>
                  <a:pt x="33" y="710"/>
                </a:lnTo>
                <a:lnTo>
                  <a:pt x="34" y="713"/>
                </a:lnTo>
                <a:lnTo>
                  <a:pt x="34" y="713"/>
                </a:lnTo>
                <a:lnTo>
                  <a:pt x="35" y="716"/>
                </a:lnTo>
                <a:lnTo>
                  <a:pt x="40" y="720"/>
                </a:lnTo>
                <a:lnTo>
                  <a:pt x="45" y="724"/>
                </a:lnTo>
                <a:lnTo>
                  <a:pt x="50" y="728"/>
                </a:lnTo>
                <a:lnTo>
                  <a:pt x="50" y="728"/>
                </a:lnTo>
                <a:lnTo>
                  <a:pt x="55" y="737"/>
                </a:lnTo>
                <a:lnTo>
                  <a:pt x="58" y="738"/>
                </a:lnTo>
                <a:lnTo>
                  <a:pt x="62" y="737"/>
                </a:lnTo>
                <a:lnTo>
                  <a:pt x="62" y="737"/>
                </a:lnTo>
                <a:lnTo>
                  <a:pt x="71" y="733"/>
                </a:lnTo>
                <a:lnTo>
                  <a:pt x="75" y="730"/>
                </a:lnTo>
                <a:lnTo>
                  <a:pt x="77" y="727"/>
                </a:lnTo>
                <a:lnTo>
                  <a:pt x="77" y="726"/>
                </a:lnTo>
                <a:lnTo>
                  <a:pt x="77" y="726"/>
                </a:lnTo>
                <a:lnTo>
                  <a:pt x="78" y="723"/>
                </a:lnTo>
                <a:lnTo>
                  <a:pt x="80" y="721"/>
                </a:lnTo>
                <a:lnTo>
                  <a:pt x="88" y="720"/>
                </a:lnTo>
                <a:lnTo>
                  <a:pt x="95" y="721"/>
                </a:lnTo>
                <a:lnTo>
                  <a:pt x="98" y="724"/>
                </a:lnTo>
                <a:lnTo>
                  <a:pt x="98" y="727"/>
                </a:lnTo>
                <a:lnTo>
                  <a:pt x="98" y="727"/>
                </a:lnTo>
                <a:lnTo>
                  <a:pt x="99" y="730"/>
                </a:lnTo>
                <a:lnTo>
                  <a:pt x="102" y="733"/>
                </a:lnTo>
                <a:lnTo>
                  <a:pt x="111" y="741"/>
                </a:lnTo>
                <a:lnTo>
                  <a:pt x="122" y="751"/>
                </a:lnTo>
                <a:lnTo>
                  <a:pt x="128" y="758"/>
                </a:lnTo>
                <a:lnTo>
                  <a:pt x="134" y="765"/>
                </a:lnTo>
                <a:lnTo>
                  <a:pt x="134" y="765"/>
                </a:lnTo>
                <a:lnTo>
                  <a:pt x="141" y="780"/>
                </a:lnTo>
                <a:lnTo>
                  <a:pt x="145" y="788"/>
                </a:lnTo>
                <a:lnTo>
                  <a:pt x="151" y="794"/>
                </a:lnTo>
                <a:lnTo>
                  <a:pt x="162" y="800"/>
                </a:lnTo>
                <a:lnTo>
                  <a:pt x="162" y="800"/>
                </a:lnTo>
                <a:lnTo>
                  <a:pt x="172" y="804"/>
                </a:lnTo>
                <a:lnTo>
                  <a:pt x="176" y="808"/>
                </a:lnTo>
                <a:lnTo>
                  <a:pt x="178" y="812"/>
                </a:lnTo>
                <a:lnTo>
                  <a:pt x="176" y="817"/>
                </a:lnTo>
                <a:lnTo>
                  <a:pt x="176" y="817"/>
                </a:lnTo>
                <a:lnTo>
                  <a:pt x="176" y="818"/>
                </a:lnTo>
                <a:lnTo>
                  <a:pt x="178" y="821"/>
                </a:lnTo>
                <a:lnTo>
                  <a:pt x="181" y="824"/>
                </a:lnTo>
                <a:lnTo>
                  <a:pt x="182" y="828"/>
                </a:lnTo>
                <a:lnTo>
                  <a:pt x="182" y="829"/>
                </a:lnTo>
                <a:lnTo>
                  <a:pt x="181" y="831"/>
                </a:lnTo>
                <a:lnTo>
                  <a:pt x="181" y="831"/>
                </a:lnTo>
                <a:lnTo>
                  <a:pt x="169" y="839"/>
                </a:lnTo>
                <a:lnTo>
                  <a:pt x="169" y="839"/>
                </a:lnTo>
                <a:lnTo>
                  <a:pt x="169" y="841"/>
                </a:lnTo>
                <a:lnTo>
                  <a:pt x="171" y="844"/>
                </a:lnTo>
                <a:lnTo>
                  <a:pt x="176" y="847"/>
                </a:lnTo>
                <a:lnTo>
                  <a:pt x="176" y="847"/>
                </a:lnTo>
                <a:lnTo>
                  <a:pt x="176" y="848"/>
                </a:lnTo>
                <a:lnTo>
                  <a:pt x="176" y="849"/>
                </a:lnTo>
                <a:lnTo>
                  <a:pt x="173" y="851"/>
                </a:lnTo>
                <a:lnTo>
                  <a:pt x="171" y="852"/>
                </a:lnTo>
                <a:lnTo>
                  <a:pt x="171" y="852"/>
                </a:lnTo>
                <a:lnTo>
                  <a:pt x="172" y="854"/>
                </a:lnTo>
                <a:lnTo>
                  <a:pt x="172" y="854"/>
                </a:lnTo>
                <a:lnTo>
                  <a:pt x="173" y="856"/>
                </a:lnTo>
                <a:lnTo>
                  <a:pt x="173" y="859"/>
                </a:lnTo>
                <a:lnTo>
                  <a:pt x="173" y="862"/>
                </a:lnTo>
                <a:lnTo>
                  <a:pt x="175" y="866"/>
                </a:lnTo>
                <a:lnTo>
                  <a:pt x="175" y="866"/>
                </a:lnTo>
                <a:lnTo>
                  <a:pt x="178" y="868"/>
                </a:lnTo>
                <a:lnTo>
                  <a:pt x="181" y="868"/>
                </a:lnTo>
                <a:lnTo>
                  <a:pt x="185" y="868"/>
                </a:lnTo>
                <a:lnTo>
                  <a:pt x="188" y="865"/>
                </a:lnTo>
                <a:lnTo>
                  <a:pt x="188" y="865"/>
                </a:lnTo>
                <a:lnTo>
                  <a:pt x="191" y="865"/>
                </a:lnTo>
                <a:lnTo>
                  <a:pt x="192" y="866"/>
                </a:lnTo>
                <a:lnTo>
                  <a:pt x="193" y="871"/>
                </a:lnTo>
                <a:lnTo>
                  <a:pt x="192" y="875"/>
                </a:lnTo>
                <a:lnTo>
                  <a:pt x="192" y="875"/>
                </a:lnTo>
                <a:lnTo>
                  <a:pt x="191" y="878"/>
                </a:lnTo>
                <a:lnTo>
                  <a:pt x="193" y="881"/>
                </a:lnTo>
                <a:lnTo>
                  <a:pt x="196" y="882"/>
                </a:lnTo>
                <a:lnTo>
                  <a:pt x="199" y="879"/>
                </a:lnTo>
                <a:lnTo>
                  <a:pt x="199" y="879"/>
                </a:lnTo>
                <a:lnTo>
                  <a:pt x="200" y="879"/>
                </a:lnTo>
                <a:lnTo>
                  <a:pt x="202" y="879"/>
                </a:lnTo>
                <a:lnTo>
                  <a:pt x="205" y="882"/>
                </a:lnTo>
                <a:lnTo>
                  <a:pt x="212" y="888"/>
                </a:lnTo>
                <a:lnTo>
                  <a:pt x="212" y="888"/>
                </a:lnTo>
                <a:lnTo>
                  <a:pt x="213" y="889"/>
                </a:lnTo>
                <a:lnTo>
                  <a:pt x="215" y="892"/>
                </a:lnTo>
                <a:lnTo>
                  <a:pt x="215" y="895"/>
                </a:lnTo>
                <a:lnTo>
                  <a:pt x="213" y="895"/>
                </a:lnTo>
                <a:lnTo>
                  <a:pt x="213" y="895"/>
                </a:lnTo>
                <a:lnTo>
                  <a:pt x="210" y="895"/>
                </a:lnTo>
                <a:lnTo>
                  <a:pt x="210" y="896"/>
                </a:lnTo>
                <a:lnTo>
                  <a:pt x="209" y="899"/>
                </a:lnTo>
                <a:lnTo>
                  <a:pt x="209" y="903"/>
                </a:lnTo>
                <a:lnTo>
                  <a:pt x="212" y="905"/>
                </a:lnTo>
                <a:lnTo>
                  <a:pt x="212" y="905"/>
                </a:lnTo>
                <a:lnTo>
                  <a:pt x="215" y="906"/>
                </a:lnTo>
                <a:lnTo>
                  <a:pt x="215" y="908"/>
                </a:lnTo>
                <a:lnTo>
                  <a:pt x="216" y="913"/>
                </a:lnTo>
                <a:lnTo>
                  <a:pt x="216" y="913"/>
                </a:lnTo>
                <a:lnTo>
                  <a:pt x="218" y="916"/>
                </a:lnTo>
                <a:lnTo>
                  <a:pt x="222" y="918"/>
                </a:lnTo>
                <a:lnTo>
                  <a:pt x="227" y="919"/>
                </a:lnTo>
                <a:lnTo>
                  <a:pt x="233" y="919"/>
                </a:lnTo>
                <a:lnTo>
                  <a:pt x="233" y="919"/>
                </a:lnTo>
                <a:lnTo>
                  <a:pt x="236" y="919"/>
                </a:lnTo>
                <a:lnTo>
                  <a:pt x="239" y="920"/>
                </a:lnTo>
                <a:lnTo>
                  <a:pt x="243" y="926"/>
                </a:lnTo>
                <a:lnTo>
                  <a:pt x="243" y="926"/>
                </a:lnTo>
                <a:lnTo>
                  <a:pt x="246" y="929"/>
                </a:lnTo>
                <a:lnTo>
                  <a:pt x="250" y="930"/>
                </a:lnTo>
                <a:lnTo>
                  <a:pt x="255" y="932"/>
                </a:lnTo>
                <a:lnTo>
                  <a:pt x="257" y="930"/>
                </a:lnTo>
                <a:lnTo>
                  <a:pt x="257" y="930"/>
                </a:lnTo>
                <a:lnTo>
                  <a:pt x="260" y="930"/>
                </a:lnTo>
                <a:lnTo>
                  <a:pt x="262" y="933"/>
                </a:lnTo>
                <a:lnTo>
                  <a:pt x="263" y="940"/>
                </a:lnTo>
                <a:lnTo>
                  <a:pt x="263" y="940"/>
                </a:lnTo>
                <a:lnTo>
                  <a:pt x="264" y="943"/>
                </a:lnTo>
                <a:lnTo>
                  <a:pt x="269" y="943"/>
                </a:lnTo>
                <a:lnTo>
                  <a:pt x="276" y="942"/>
                </a:lnTo>
                <a:lnTo>
                  <a:pt x="276" y="942"/>
                </a:lnTo>
                <a:lnTo>
                  <a:pt x="279" y="943"/>
                </a:lnTo>
                <a:lnTo>
                  <a:pt x="282" y="945"/>
                </a:lnTo>
                <a:lnTo>
                  <a:pt x="283" y="946"/>
                </a:lnTo>
                <a:lnTo>
                  <a:pt x="286" y="946"/>
                </a:lnTo>
                <a:lnTo>
                  <a:pt x="286" y="946"/>
                </a:lnTo>
                <a:lnTo>
                  <a:pt x="287" y="946"/>
                </a:lnTo>
                <a:lnTo>
                  <a:pt x="289" y="948"/>
                </a:lnTo>
                <a:lnTo>
                  <a:pt x="292" y="950"/>
                </a:lnTo>
                <a:lnTo>
                  <a:pt x="297" y="962"/>
                </a:lnTo>
                <a:lnTo>
                  <a:pt x="740" y="959"/>
                </a:lnTo>
                <a:lnTo>
                  <a:pt x="740" y="959"/>
                </a:lnTo>
                <a:lnTo>
                  <a:pt x="741" y="955"/>
                </a:lnTo>
                <a:lnTo>
                  <a:pt x="742" y="952"/>
                </a:lnTo>
                <a:lnTo>
                  <a:pt x="744" y="952"/>
                </a:lnTo>
                <a:lnTo>
                  <a:pt x="745" y="952"/>
                </a:lnTo>
                <a:lnTo>
                  <a:pt x="745" y="952"/>
                </a:lnTo>
                <a:lnTo>
                  <a:pt x="748" y="955"/>
                </a:lnTo>
                <a:lnTo>
                  <a:pt x="748" y="959"/>
                </a:lnTo>
                <a:lnTo>
                  <a:pt x="748" y="962"/>
                </a:lnTo>
                <a:lnTo>
                  <a:pt x="752" y="965"/>
                </a:lnTo>
                <a:lnTo>
                  <a:pt x="752" y="965"/>
                </a:lnTo>
                <a:lnTo>
                  <a:pt x="760" y="969"/>
                </a:lnTo>
                <a:lnTo>
                  <a:pt x="762" y="969"/>
                </a:lnTo>
                <a:lnTo>
                  <a:pt x="765" y="969"/>
                </a:lnTo>
                <a:lnTo>
                  <a:pt x="765" y="969"/>
                </a:lnTo>
                <a:lnTo>
                  <a:pt x="772" y="966"/>
                </a:lnTo>
                <a:lnTo>
                  <a:pt x="777" y="966"/>
                </a:lnTo>
                <a:lnTo>
                  <a:pt x="781" y="970"/>
                </a:lnTo>
                <a:lnTo>
                  <a:pt x="781" y="970"/>
                </a:lnTo>
                <a:lnTo>
                  <a:pt x="784" y="973"/>
                </a:lnTo>
                <a:lnTo>
                  <a:pt x="788" y="973"/>
                </a:lnTo>
                <a:lnTo>
                  <a:pt x="791" y="973"/>
                </a:lnTo>
                <a:lnTo>
                  <a:pt x="794" y="975"/>
                </a:lnTo>
                <a:lnTo>
                  <a:pt x="794" y="975"/>
                </a:lnTo>
                <a:lnTo>
                  <a:pt x="797" y="977"/>
                </a:lnTo>
                <a:lnTo>
                  <a:pt x="799" y="980"/>
                </a:lnTo>
                <a:lnTo>
                  <a:pt x="804" y="980"/>
                </a:lnTo>
                <a:lnTo>
                  <a:pt x="808" y="977"/>
                </a:lnTo>
                <a:lnTo>
                  <a:pt x="808" y="977"/>
                </a:lnTo>
                <a:lnTo>
                  <a:pt x="809" y="976"/>
                </a:lnTo>
                <a:lnTo>
                  <a:pt x="811" y="976"/>
                </a:lnTo>
                <a:lnTo>
                  <a:pt x="818" y="976"/>
                </a:lnTo>
                <a:lnTo>
                  <a:pt x="831" y="980"/>
                </a:lnTo>
                <a:lnTo>
                  <a:pt x="831" y="980"/>
                </a:lnTo>
                <a:lnTo>
                  <a:pt x="836" y="975"/>
                </a:lnTo>
                <a:lnTo>
                  <a:pt x="841" y="969"/>
                </a:lnTo>
                <a:lnTo>
                  <a:pt x="846" y="963"/>
                </a:lnTo>
                <a:lnTo>
                  <a:pt x="849" y="962"/>
                </a:lnTo>
                <a:lnTo>
                  <a:pt x="851" y="960"/>
                </a:lnTo>
                <a:lnTo>
                  <a:pt x="851" y="960"/>
                </a:lnTo>
                <a:lnTo>
                  <a:pt x="861" y="962"/>
                </a:lnTo>
                <a:lnTo>
                  <a:pt x="870" y="963"/>
                </a:lnTo>
                <a:lnTo>
                  <a:pt x="876" y="966"/>
                </a:lnTo>
                <a:lnTo>
                  <a:pt x="880" y="967"/>
                </a:lnTo>
                <a:lnTo>
                  <a:pt x="883" y="972"/>
                </a:lnTo>
                <a:lnTo>
                  <a:pt x="885" y="975"/>
                </a:lnTo>
                <a:lnTo>
                  <a:pt x="885" y="975"/>
                </a:lnTo>
                <a:lnTo>
                  <a:pt x="886" y="979"/>
                </a:lnTo>
                <a:lnTo>
                  <a:pt x="889" y="980"/>
                </a:lnTo>
                <a:lnTo>
                  <a:pt x="893" y="982"/>
                </a:lnTo>
                <a:lnTo>
                  <a:pt x="899" y="982"/>
                </a:lnTo>
                <a:lnTo>
                  <a:pt x="902" y="984"/>
                </a:lnTo>
                <a:lnTo>
                  <a:pt x="902" y="987"/>
                </a:lnTo>
                <a:lnTo>
                  <a:pt x="902" y="987"/>
                </a:lnTo>
                <a:lnTo>
                  <a:pt x="905" y="994"/>
                </a:lnTo>
                <a:lnTo>
                  <a:pt x="907" y="1000"/>
                </a:lnTo>
                <a:lnTo>
                  <a:pt x="910" y="1006"/>
                </a:lnTo>
                <a:lnTo>
                  <a:pt x="912" y="1010"/>
                </a:lnTo>
                <a:lnTo>
                  <a:pt x="912" y="1010"/>
                </a:lnTo>
                <a:lnTo>
                  <a:pt x="920" y="1016"/>
                </a:lnTo>
                <a:lnTo>
                  <a:pt x="920" y="1016"/>
                </a:lnTo>
                <a:lnTo>
                  <a:pt x="925" y="1016"/>
                </a:lnTo>
                <a:lnTo>
                  <a:pt x="932" y="1016"/>
                </a:lnTo>
                <a:lnTo>
                  <a:pt x="944" y="1019"/>
                </a:lnTo>
                <a:lnTo>
                  <a:pt x="944" y="1019"/>
                </a:lnTo>
                <a:lnTo>
                  <a:pt x="949" y="1020"/>
                </a:lnTo>
                <a:lnTo>
                  <a:pt x="953" y="1020"/>
                </a:lnTo>
                <a:lnTo>
                  <a:pt x="962" y="1020"/>
                </a:lnTo>
                <a:lnTo>
                  <a:pt x="966" y="1020"/>
                </a:lnTo>
                <a:lnTo>
                  <a:pt x="970" y="1021"/>
                </a:lnTo>
                <a:lnTo>
                  <a:pt x="973" y="1023"/>
                </a:lnTo>
                <a:lnTo>
                  <a:pt x="974" y="1027"/>
                </a:lnTo>
                <a:lnTo>
                  <a:pt x="974" y="1027"/>
                </a:lnTo>
                <a:lnTo>
                  <a:pt x="980" y="1036"/>
                </a:lnTo>
                <a:lnTo>
                  <a:pt x="984" y="1043"/>
                </a:lnTo>
                <a:lnTo>
                  <a:pt x="984" y="1046"/>
                </a:lnTo>
                <a:lnTo>
                  <a:pt x="984" y="1047"/>
                </a:lnTo>
                <a:lnTo>
                  <a:pt x="984" y="1049"/>
                </a:lnTo>
                <a:lnTo>
                  <a:pt x="980" y="1049"/>
                </a:lnTo>
                <a:lnTo>
                  <a:pt x="980" y="1049"/>
                </a:lnTo>
                <a:lnTo>
                  <a:pt x="977" y="1049"/>
                </a:lnTo>
                <a:lnTo>
                  <a:pt x="973" y="1047"/>
                </a:lnTo>
                <a:lnTo>
                  <a:pt x="966" y="1044"/>
                </a:lnTo>
                <a:lnTo>
                  <a:pt x="962" y="1041"/>
                </a:lnTo>
                <a:lnTo>
                  <a:pt x="960" y="1043"/>
                </a:lnTo>
                <a:lnTo>
                  <a:pt x="960" y="1044"/>
                </a:lnTo>
                <a:lnTo>
                  <a:pt x="960" y="1044"/>
                </a:lnTo>
                <a:lnTo>
                  <a:pt x="960" y="1049"/>
                </a:lnTo>
                <a:lnTo>
                  <a:pt x="957" y="1050"/>
                </a:lnTo>
                <a:lnTo>
                  <a:pt x="956" y="1053"/>
                </a:lnTo>
                <a:lnTo>
                  <a:pt x="954" y="1058"/>
                </a:lnTo>
                <a:lnTo>
                  <a:pt x="954" y="1058"/>
                </a:lnTo>
                <a:lnTo>
                  <a:pt x="954" y="1067"/>
                </a:lnTo>
                <a:lnTo>
                  <a:pt x="950" y="1076"/>
                </a:lnTo>
                <a:lnTo>
                  <a:pt x="947" y="1081"/>
                </a:lnTo>
                <a:lnTo>
                  <a:pt x="946" y="1083"/>
                </a:lnTo>
                <a:lnTo>
                  <a:pt x="943" y="1083"/>
                </a:lnTo>
                <a:lnTo>
                  <a:pt x="943" y="1083"/>
                </a:lnTo>
                <a:lnTo>
                  <a:pt x="943" y="1083"/>
                </a:lnTo>
                <a:lnTo>
                  <a:pt x="943" y="1083"/>
                </a:lnTo>
                <a:lnTo>
                  <a:pt x="943" y="1090"/>
                </a:lnTo>
                <a:lnTo>
                  <a:pt x="944" y="1093"/>
                </a:lnTo>
                <a:lnTo>
                  <a:pt x="946" y="1095"/>
                </a:lnTo>
                <a:lnTo>
                  <a:pt x="946" y="1095"/>
                </a:lnTo>
                <a:lnTo>
                  <a:pt x="956" y="1088"/>
                </a:lnTo>
                <a:lnTo>
                  <a:pt x="960" y="1087"/>
                </a:lnTo>
                <a:lnTo>
                  <a:pt x="966" y="1085"/>
                </a:lnTo>
                <a:lnTo>
                  <a:pt x="966" y="1085"/>
                </a:lnTo>
                <a:lnTo>
                  <a:pt x="973" y="1087"/>
                </a:lnTo>
                <a:lnTo>
                  <a:pt x="977" y="1088"/>
                </a:lnTo>
                <a:lnTo>
                  <a:pt x="981" y="1090"/>
                </a:lnTo>
                <a:lnTo>
                  <a:pt x="986" y="1087"/>
                </a:lnTo>
                <a:lnTo>
                  <a:pt x="986" y="1087"/>
                </a:lnTo>
                <a:lnTo>
                  <a:pt x="993" y="1083"/>
                </a:lnTo>
                <a:lnTo>
                  <a:pt x="996" y="1083"/>
                </a:lnTo>
                <a:lnTo>
                  <a:pt x="996" y="1084"/>
                </a:lnTo>
                <a:lnTo>
                  <a:pt x="996" y="1084"/>
                </a:lnTo>
                <a:lnTo>
                  <a:pt x="996" y="1085"/>
                </a:lnTo>
                <a:lnTo>
                  <a:pt x="996" y="1085"/>
                </a:lnTo>
                <a:lnTo>
                  <a:pt x="1000" y="1084"/>
                </a:lnTo>
                <a:lnTo>
                  <a:pt x="1001" y="1081"/>
                </a:lnTo>
                <a:lnTo>
                  <a:pt x="1001" y="1081"/>
                </a:lnTo>
                <a:lnTo>
                  <a:pt x="1000" y="1076"/>
                </a:lnTo>
                <a:lnTo>
                  <a:pt x="1000" y="1076"/>
                </a:lnTo>
                <a:lnTo>
                  <a:pt x="993" y="1076"/>
                </a:lnTo>
                <a:lnTo>
                  <a:pt x="990" y="1074"/>
                </a:lnTo>
                <a:lnTo>
                  <a:pt x="989" y="1071"/>
                </a:lnTo>
                <a:lnTo>
                  <a:pt x="989" y="1071"/>
                </a:lnTo>
                <a:lnTo>
                  <a:pt x="989" y="1070"/>
                </a:lnTo>
                <a:lnTo>
                  <a:pt x="990" y="1067"/>
                </a:lnTo>
                <a:lnTo>
                  <a:pt x="1000" y="1063"/>
                </a:lnTo>
                <a:lnTo>
                  <a:pt x="1011" y="1060"/>
                </a:lnTo>
                <a:lnTo>
                  <a:pt x="1021" y="1058"/>
                </a:lnTo>
                <a:lnTo>
                  <a:pt x="1021" y="1058"/>
                </a:lnTo>
                <a:lnTo>
                  <a:pt x="1028" y="1058"/>
                </a:lnTo>
                <a:lnTo>
                  <a:pt x="1034" y="1057"/>
                </a:lnTo>
                <a:lnTo>
                  <a:pt x="1040" y="1056"/>
                </a:lnTo>
                <a:lnTo>
                  <a:pt x="1041" y="1056"/>
                </a:lnTo>
                <a:lnTo>
                  <a:pt x="1043" y="1057"/>
                </a:lnTo>
                <a:lnTo>
                  <a:pt x="1043" y="1057"/>
                </a:lnTo>
                <a:lnTo>
                  <a:pt x="1055" y="1047"/>
                </a:lnTo>
                <a:lnTo>
                  <a:pt x="1061" y="1043"/>
                </a:lnTo>
                <a:lnTo>
                  <a:pt x="1065" y="1041"/>
                </a:lnTo>
                <a:lnTo>
                  <a:pt x="1065" y="1041"/>
                </a:lnTo>
                <a:lnTo>
                  <a:pt x="1119" y="1041"/>
                </a:lnTo>
                <a:lnTo>
                  <a:pt x="1119" y="1041"/>
                </a:lnTo>
                <a:lnTo>
                  <a:pt x="1129" y="1034"/>
                </a:lnTo>
                <a:lnTo>
                  <a:pt x="1135" y="1027"/>
                </a:lnTo>
                <a:lnTo>
                  <a:pt x="1138" y="1024"/>
                </a:lnTo>
                <a:lnTo>
                  <a:pt x="1139" y="1020"/>
                </a:lnTo>
                <a:lnTo>
                  <a:pt x="1139" y="1020"/>
                </a:lnTo>
                <a:lnTo>
                  <a:pt x="1142" y="1010"/>
                </a:lnTo>
                <a:lnTo>
                  <a:pt x="1148" y="1000"/>
                </a:lnTo>
                <a:lnTo>
                  <a:pt x="1155" y="993"/>
                </a:lnTo>
                <a:lnTo>
                  <a:pt x="1158" y="990"/>
                </a:lnTo>
                <a:lnTo>
                  <a:pt x="1161" y="992"/>
                </a:lnTo>
                <a:lnTo>
                  <a:pt x="1161" y="992"/>
                </a:lnTo>
                <a:lnTo>
                  <a:pt x="1162" y="993"/>
                </a:lnTo>
                <a:lnTo>
                  <a:pt x="1166" y="994"/>
                </a:lnTo>
                <a:lnTo>
                  <a:pt x="1174" y="994"/>
                </a:lnTo>
                <a:lnTo>
                  <a:pt x="1179" y="996"/>
                </a:lnTo>
                <a:lnTo>
                  <a:pt x="1181" y="996"/>
                </a:lnTo>
                <a:lnTo>
                  <a:pt x="1182" y="997"/>
                </a:lnTo>
                <a:lnTo>
                  <a:pt x="1182" y="997"/>
                </a:lnTo>
                <a:lnTo>
                  <a:pt x="1181" y="1003"/>
                </a:lnTo>
                <a:lnTo>
                  <a:pt x="1182" y="1013"/>
                </a:lnTo>
                <a:lnTo>
                  <a:pt x="1182" y="1019"/>
                </a:lnTo>
                <a:lnTo>
                  <a:pt x="1185" y="1026"/>
                </a:lnTo>
                <a:lnTo>
                  <a:pt x="1189" y="1034"/>
                </a:lnTo>
                <a:lnTo>
                  <a:pt x="1195" y="1043"/>
                </a:lnTo>
                <a:lnTo>
                  <a:pt x="1195" y="1043"/>
                </a:lnTo>
                <a:lnTo>
                  <a:pt x="1205" y="1037"/>
                </a:lnTo>
                <a:lnTo>
                  <a:pt x="1209" y="1036"/>
                </a:lnTo>
                <a:lnTo>
                  <a:pt x="1212" y="1036"/>
                </a:lnTo>
                <a:lnTo>
                  <a:pt x="1212" y="1036"/>
                </a:lnTo>
                <a:lnTo>
                  <a:pt x="1218" y="1034"/>
                </a:lnTo>
                <a:lnTo>
                  <a:pt x="1222" y="1030"/>
                </a:lnTo>
                <a:lnTo>
                  <a:pt x="1228" y="1026"/>
                </a:lnTo>
                <a:lnTo>
                  <a:pt x="1230" y="1021"/>
                </a:lnTo>
                <a:lnTo>
                  <a:pt x="1230" y="1021"/>
                </a:lnTo>
                <a:lnTo>
                  <a:pt x="1232" y="1020"/>
                </a:lnTo>
                <a:lnTo>
                  <a:pt x="1233" y="1020"/>
                </a:lnTo>
                <a:lnTo>
                  <a:pt x="1235" y="1023"/>
                </a:lnTo>
                <a:lnTo>
                  <a:pt x="1235" y="1026"/>
                </a:lnTo>
                <a:lnTo>
                  <a:pt x="1233" y="1027"/>
                </a:lnTo>
                <a:lnTo>
                  <a:pt x="1232" y="1029"/>
                </a:lnTo>
                <a:lnTo>
                  <a:pt x="1232" y="1029"/>
                </a:lnTo>
                <a:lnTo>
                  <a:pt x="1230" y="1029"/>
                </a:lnTo>
                <a:lnTo>
                  <a:pt x="1230" y="1030"/>
                </a:lnTo>
                <a:lnTo>
                  <a:pt x="1233" y="1031"/>
                </a:lnTo>
                <a:lnTo>
                  <a:pt x="1239" y="1034"/>
                </a:lnTo>
                <a:lnTo>
                  <a:pt x="1246" y="1034"/>
                </a:lnTo>
                <a:lnTo>
                  <a:pt x="1246" y="1034"/>
                </a:lnTo>
                <a:lnTo>
                  <a:pt x="1249" y="1034"/>
                </a:lnTo>
                <a:lnTo>
                  <a:pt x="1246" y="1036"/>
                </a:lnTo>
                <a:lnTo>
                  <a:pt x="1240" y="1037"/>
                </a:lnTo>
                <a:lnTo>
                  <a:pt x="1235" y="1037"/>
                </a:lnTo>
                <a:lnTo>
                  <a:pt x="1235" y="1037"/>
                </a:lnTo>
                <a:lnTo>
                  <a:pt x="1229" y="1037"/>
                </a:lnTo>
                <a:lnTo>
                  <a:pt x="1225" y="1039"/>
                </a:lnTo>
                <a:lnTo>
                  <a:pt x="1220" y="1043"/>
                </a:lnTo>
                <a:lnTo>
                  <a:pt x="1213" y="1049"/>
                </a:lnTo>
                <a:lnTo>
                  <a:pt x="1213" y="1049"/>
                </a:lnTo>
                <a:lnTo>
                  <a:pt x="1208" y="1054"/>
                </a:lnTo>
                <a:lnTo>
                  <a:pt x="1206" y="1058"/>
                </a:lnTo>
                <a:lnTo>
                  <a:pt x="1208" y="1063"/>
                </a:lnTo>
                <a:lnTo>
                  <a:pt x="1212" y="1066"/>
                </a:lnTo>
                <a:lnTo>
                  <a:pt x="1212" y="1066"/>
                </a:lnTo>
                <a:lnTo>
                  <a:pt x="1216" y="1068"/>
                </a:lnTo>
                <a:lnTo>
                  <a:pt x="1222" y="1068"/>
                </a:lnTo>
                <a:lnTo>
                  <a:pt x="1228" y="1066"/>
                </a:lnTo>
                <a:lnTo>
                  <a:pt x="1233" y="1061"/>
                </a:lnTo>
                <a:lnTo>
                  <a:pt x="1233" y="1061"/>
                </a:lnTo>
                <a:lnTo>
                  <a:pt x="1238" y="1057"/>
                </a:lnTo>
                <a:lnTo>
                  <a:pt x="1240" y="1053"/>
                </a:lnTo>
                <a:lnTo>
                  <a:pt x="1243" y="1050"/>
                </a:lnTo>
                <a:lnTo>
                  <a:pt x="1247" y="1049"/>
                </a:lnTo>
                <a:lnTo>
                  <a:pt x="1247" y="1049"/>
                </a:lnTo>
                <a:lnTo>
                  <a:pt x="1256" y="1047"/>
                </a:lnTo>
                <a:lnTo>
                  <a:pt x="1266" y="1046"/>
                </a:lnTo>
                <a:lnTo>
                  <a:pt x="1284" y="1039"/>
                </a:lnTo>
                <a:lnTo>
                  <a:pt x="1284" y="1039"/>
                </a:lnTo>
                <a:lnTo>
                  <a:pt x="1289" y="1037"/>
                </a:lnTo>
                <a:lnTo>
                  <a:pt x="1290" y="1036"/>
                </a:lnTo>
                <a:lnTo>
                  <a:pt x="1289" y="1033"/>
                </a:lnTo>
                <a:lnTo>
                  <a:pt x="1289" y="1030"/>
                </a:lnTo>
                <a:lnTo>
                  <a:pt x="1289" y="1030"/>
                </a:lnTo>
                <a:lnTo>
                  <a:pt x="1289" y="1030"/>
                </a:lnTo>
                <a:lnTo>
                  <a:pt x="1290" y="1029"/>
                </a:lnTo>
                <a:lnTo>
                  <a:pt x="1297" y="1027"/>
                </a:lnTo>
                <a:lnTo>
                  <a:pt x="1304" y="1026"/>
                </a:lnTo>
                <a:lnTo>
                  <a:pt x="1310" y="1023"/>
                </a:lnTo>
                <a:lnTo>
                  <a:pt x="1310" y="1023"/>
                </a:lnTo>
                <a:lnTo>
                  <a:pt x="1311" y="1020"/>
                </a:lnTo>
                <a:lnTo>
                  <a:pt x="1310" y="1017"/>
                </a:lnTo>
                <a:lnTo>
                  <a:pt x="1307" y="1017"/>
                </a:lnTo>
                <a:lnTo>
                  <a:pt x="1303" y="1016"/>
                </a:lnTo>
                <a:lnTo>
                  <a:pt x="1303" y="1016"/>
                </a:lnTo>
                <a:close/>
                <a:moveTo>
                  <a:pt x="378" y="555"/>
                </a:moveTo>
                <a:lnTo>
                  <a:pt x="378" y="555"/>
                </a:lnTo>
                <a:lnTo>
                  <a:pt x="371" y="562"/>
                </a:lnTo>
                <a:lnTo>
                  <a:pt x="367" y="566"/>
                </a:lnTo>
                <a:lnTo>
                  <a:pt x="361" y="568"/>
                </a:lnTo>
                <a:lnTo>
                  <a:pt x="356" y="568"/>
                </a:lnTo>
                <a:lnTo>
                  <a:pt x="356" y="568"/>
                </a:lnTo>
                <a:lnTo>
                  <a:pt x="350" y="566"/>
                </a:lnTo>
                <a:lnTo>
                  <a:pt x="346" y="568"/>
                </a:lnTo>
                <a:lnTo>
                  <a:pt x="343" y="571"/>
                </a:lnTo>
                <a:lnTo>
                  <a:pt x="346" y="573"/>
                </a:lnTo>
                <a:lnTo>
                  <a:pt x="346" y="573"/>
                </a:lnTo>
                <a:lnTo>
                  <a:pt x="347" y="576"/>
                </a:lnTo>
                <a:lnTo>
                  <a:pt x="348" y="578"/>
                </a:lnTo>
                <a:lnTo>
                  <a:pt x="346" y="580"/>
                </a:lnTo>
                <a:lnTo>
                  <a:pt x="340" y="582"/>
                </a:lnTo>
                <a:lnTo>
                  <a:pt x="340" y="582"/>
                </a:lnTo>
                <a:lnTo>
                  <a:pt x="333" y="585"/>
                </a:lnTo>
                <a:lnTo>
                  <a:pt x="327" y="588"/>
                </a:lnTo>
                <a:lnTo>
                  <a:pt x="323" y="590"/>
                </a:lnTo>
                <a:lnTo>
                  <a:pt x="320" y="590"/>
                </a:lnTo>
                <a:lnTo>
                  <a:pt x="320" y="590"/>
                </a:lnTo>
                <a:lnTo>
                  <a:pt x="320" y="590"/>
                </a:lnTo>
                <a:lnTo>
                  <a:pt x="321" y="588"/>
                </a:lnTo>
                <a:lnTo>
                  <a:pt x="326" y="582"/>
                </a:lnTo>
                <a:lnTo>
                  <a:pt x="331" y="576"/>
                </a:lnTo>
                <a:lnTo>
                  <a:pt x="333" y="573"/>
                </a:lnTo>
                <a:lnTo>
                  <a:pt x="331" y="572"/>
                </a:lnTo>
                <a:lnTo>
                  <a:pt x="331" y="572"/>
                </a:lnTo>
                <a:lnTo>
                  <a:pt x="328" y="571"/>
                </a:lnTo>
                <a:lnTo>
                  <a:pt x="326" y="571"/>
                </a:lnTo>
                <a:lnTo>
                  <a:pt x="320" y="573"/>
                </a:lnTo>
                <a:lnTo>
                  <a:pt x="314" y="579"/>
                </a:lnTo>
                <a:lnTo>
                  <a:pt x="313" y="583"/>
                </a:lnTo>
                <a:lnTo>
                  <a:pt x="313" y="583"/>
                </a:lnTo>
                <a:lnTo>
                  <a:pt x="311" y="586"/>
                </a:lnTo>
                <a:lnTo>
                  <a:pt x="307" y="588"/>
                </a:lnTo>
                <a:lnTo>
                  <a:pt x="299" y="588"/>
                </a:lnTo>
                <a:lnTo>
                  <a:pt x="299" y="588"/>
                </a:lnTo>
                <a:lnTo>
                  <a:pt x="294" y="586"/>
                </a:lnTo>
                <a:lnTo>
                  <a:pt x="290" y="585"/>
                </a:lnTo>
                <a:lnTo>
                  <a:pt x="289" y="583"/>
                </a:lnTo>
                <a:lnTo>
                  <a:pt x="292" y="582"/>
                </a:lnTo>
                <a:lnTo>
                  <a:pt x="292" y="582"/>
                </a:lnTo>
                <a:lnTo>
                  <a:pt x="293" y="580"/>
                </a:lnTo>
                <a:lnTo>
                  <a:pt x="294" y="578"/>
                </a:lnTo>
                <a:lnTo>
                  <a:pt x="296" y="575"/>
                </a:lnTo>
                <a:lnTo>
                  <a:pt x="300" y="572"/>
                </a:lnTo>
                <a:lnTo>
                  <a:pt x="300" y="572"/>
                </a:lnTo>
                <a:lnTo>
                  <a:pt x="301" y="572"/>
                </a:lnTo>
                <a:lnTo>
                  <a:pt x="303" y="571"/>
                </a:lnTo>
                <a:lnTo>
                  <a:pt x="303" y="568"/>
                </a:lnTo>
                <a:lnTo>
                  <a:pt x="301" y="565"/>
                </a:lnTo>
                <a:lnTo>
                  <a:pt x="301" y="562"/>
                </a:lnTo>
                <a:lnTo>
                  <a:pt x="301" y="562"/>
                </a:lnTo>
                <a:lnTo>
                  <a:pt x="303" y="562"/>
                </a:lnTo>
                <a:lnTo>
                  <a:pt x="304" y="562"/>
                </a:lnTo>
                <a:lnTo>
                  <a:pt x="310" y="562"/>
                </a:lnTo>
                <a:lnTo>
                  <a:pt x="316" y="562"/>
                </a:lnTo>
                <a:lnTo>
                  <a:pt x="317" y="561"/>
                </a:lnTo>
                <a:lnTo>
                  <a:pt x="319" y="559"/>
                </a:lnTo>
                <a:lnTo>
                  <a:pt x="319" y="559"/>
                </a:lnTo>
                <a:lnTo>
                  <a:pt x="319" y="558"/>
                </a:lnTo>
                <a:lnTo>
                  <a:pt x="316" y="556"/>
                </a:lnTo>
                <a:lnTo>
                  <a:pt x="310" y="552"/>
                </a:lnTo>
                <a:lnTo>
                  <a:pt x="304" y="552"/>
                </a:lnTo>
                <a:lnTo>
                  <a:pt x="299" y="552"/>
                </a:lnTo>
                <a:lnTo>
                  <a:pt x="299" y="552"/>
                </a:lnTo>
                <a:lnTo>
                  <a:pt x="293" y="556"/>
                </a:lnTo>
                <a:lnTo>
                  <a:pt x="286" y="559"/>
                </a:lnTo>
                <a:lnTo>
                  <a:pt x="277" y="561"/>
                </a:lnTo>
                <a:lnTo>
                  <a:pt x="273" y="559"/>
                </a:lnTo>
                <a:lnTo>
                  <a:pt x="267" y="558"/>
                </a:lnTo>
                <a:lnTo>
                  <a:pt x="267" y="558"/>
                </a:lnTo>
                <a:lnTo>
                  <a:pt x="267" y="558"/>
                </a:lnTo>
                <a:lnTo>
                  <a:pt x="267" y="556"/>
                </a:lnTo>
                <a:lnTo>
                  <a:pt x="272" y="556"/>
                </a:lnTo>
                <a:lnTo>
                  <a:pt x="284" y="553"/>
                </a:lnTo>
                <a:lnTo>
                  <a:pt x="300" y="549"/>
                </a:lnTo>
                <a:lnTo>
                  <a:pt x="306" y="548"/>
                </a:lnTo>
                <a:lnTo>
                  <a:pt x="310" y="545"/>
                </a:lnTo>
                <a:lnTo>
                  <a:pt x="310" y="545"/>
                </a:lnTo>
                <a:lnTo>
                  <a:pt x="313" y="543"/>
                </a:lnTo>
                <a:lnTo>
                  <a:pt x="319" y="541"/>
                </a:lnTo>
                <a:lnTo>
                  <a:pt x="331" y="536"/>
                </a:lnTo>
                <a:lnTo>
                  <a:pt x="343" y="535"/>
                </a:lnTo>
                <a:lnTo>
                  <a:pt x="347" y="536"/>
                </a:lnTo>
                <a:lnTo>
                  <a:pt x="350" y="538"/>
                </a:lnTo>
                <a:lnTo>
                  <a:pt x="350" y="538"/>
                </a:lnTo>
                <a:lnTo>
                  <a:pt x="350" y="539"/>
                </a:lnTo>
                <a:lnTo>
                  <a:pt x="348" y="542"/>
                </a:lnTo>
                <a:lnTo>
                  <a:pt x="343" y="545"/>
                </a:lnTo>
                <a:lnTo>
                  <a:pt x="340" y="548"/>
                </a:lnTo>
                <a:lnTo>
                  <a:pt x="340" y="551"/>
                </a:lnTo>
                <a:lnTo>
                  <a:pt x="341" y="552"/>
                </a:lnTo>
                <a:lnTo>
                  <a:pt x="341" y="552"/>
                </a:lnTo>
                <a:lnTo>
                  <a:pt x="350" y="555"/>
                </a:lnTo>
                <a:lnTo>
                  <a:pt x="357" y="553"/>
                </a:lnTo>
                <a:lnTo>
                  <a:pt x="364" y="552"/>
                </a:lnTo>
                <a:lnTo>
                  <a:pt x="368" y="548"/>
                </a:lnTo>
                <a:lnTo>
                  <a:pt x="368" y="548"/>
                </a:lnTo>
                <a:lnTo>
                  <a:pt x="371" y="546"/>
                </a:lnTo>
                <a:lnTo>
                  <a:pt x="373" y="545"/>
                </a:lnTo>
                <a:lnTo>
                  <a:pt x="378" y="545"/>
                </a:lnTo>
                <a:lnTo>
                  <a:pt x="380" y="546"/>
                </a:lnTo>
                <a:lnTo>
                  <a:pt x="381" y="549"/>
                </a:lnTo>
                <a:lnTo>
                  <a:pt x="380" y="552"/>
                </a:lnTo>
                <a:lnTo>
                  <a:pt x="378" y="555"/>
                </a:lnTo>
                <a:lnTo>
                  <a:pt x="378" y="555"/>
                </a:lnTo>
                <a:close/>
                <a:moveTo>
                  <a:pt x="468" y="670"/>
                </a:moveTo>
                <a:lnTo>
                  <a:pt x="468" y="670"/>
                </a:lnTo>
                <a:lnTo>
                  <a:pt x="461" y="674"/>
                </a:lnTo>
                <a:lnTo>
                  <a:pt x="458" y="677"/>
                </a:lnTo>
                <a:lnTo>
                  <a:pt x="448" y="679"/>
                </a:lnTo>
                <a:lnTo>
                  <a:pt x="448" y="679"/>
                </a:lnTo>
                <a:lnTo>
                  <a:pt x="445" y="680"/>
                </a:lnTo>
                <a:lnTo>
                  <a:pt x="444" y="681"/>
                </a:lnTo>
                <a:lnTo>
                  <a:pt x="442" y="684"/>
                </a:lnTo>
                <a:lnTo>
                  <a:pt x="439" y="689"/>
                </a:lnTo>
                <a:lnTo>
                  <a:pt x="438" y="690"/>
                </a:lnTo>
                <a:lnTo>
                  <a:pt x="434" y="690"/>
                </a:lnTo>
                <a:lnTo>
                  <a:pt x="434" y="690"/>
                </a:lnTo>
                <a:lnTo>
                  <a:pt x="424" y="691"/>
                </a:lnTo>
                <a:lnTo>
                  <a:pt x="410" y="691"/>
                </a:lnTo>
                <a:lnTo>
                  <a:pt x="398" y="690"/>
                </a:lnTo>
                <a:lnTo>
                  <a:pt x="394" y="689"/>
                </a:lnTo>
                <a:lnTo>
                  <a:pt x="391" y="686"/>
                </a:lnTo>
                <a:lnTo>
                  <a:pt x="391" y="686"/>
                </a:lnTo>
                <a:lnTo>
                  <a:pt x="391" y="686"/>
                </a:lnTo>
                <a:lnTo>
                  <a:pt x="393" y="684"/>
                </a:lnTo>
                <a:lnTo>
                  <a:pt x="398" y="684"/>
                </a:lnTo>
                <a:lnTo>
                  <a:pt x="404" y="683"/>
                </a:lnTo>
                <a:lnTo>
                  <a:pt x="407" y="683"/>
                </a:lnTo>
                <a:lnTo>
                  <a:pt x="407" y="680"/>
                </a:lnTo>
                <a:lnTo>
                  <a:pt x="407" y="680"/>
                </a:lnTo>
                <a:lnTo>
                  <a:pt x="408" y="677"/>
                </a:lnTo>
                <a:lnTo>
                  <a:pt x="411" y="673"/>
                </a:lnTo>
                <a:lnTo>
                  <a:pt x="415" y="670"/>
                </a:lnTo>
                <a:lnTo>
                  <a:pt x="420" y="669"/>
                </a:lnTo>
                <a:lnTo>
                  <a:pt x="420" y="669"/>
                </a:lnTo>
                <a:lnTo>
                  <a:pt x="422" y="667"/>
                </a:lnTo>
                <a:lnTo>
                  <a:pt x="424" y="667"/>
                </a:lnTo>
                <a:lnTo>
                  <a:pt x="424" y="664"/>
                </a:lnTo>
                <a:lnTo>
                  <a:pt x="424" y="663"/>
                </a:lnTo>
                <a:lnTo>
                  <a:pt x="421" y="657"/>
                </a:lnTo>
                <a:lnTo>
                  <a:pt x="415" y="653"/>
                </a:lnTo>
                <a:lnTo>
                  <a:pt x="415" y="653"/>
                </a:lnTo>
                <a:lnTo>
                  <a:pt x="412" y="652"/>
                </a:lnTo>
                <a:lnTo>
                  <a:pt x="412" y="650"/>
                </a:lnTo>
                <a:lnTo>
                  <a:pt x="415" y="649"/>
                </a:lnTo>
                <a:lnTo>
                  <a:pt x="420" y="647"/>
                </a:lnTo>
                <a:lnTo>
                  <a:pt x="425" y="647"/>
                </a:lnTo>
                <a:lnTo>
                  <a:pt x="430" y="649"/>
                </a:lnTo>
                <a:lnTo>
                  <a:pt x="435" y="650"/>
                </a:lnTo>
                <a:lnTo>
                  <a:pt x="438" y="653"/>
                </a:lnTo>
                <a:lnTo>
                  <a:pt x="438" y="653"/>
                </a:lnTo>
                <a:lnTo>
                  <a:pt x="444" y="659"/>
                </a:lnTo>
                <a:lnTo>
                  <a:pt x="451" y="663"/>
                </a:lnTo>
                <a:lnTo>
                  <a:pt x="457" y="664"/>
                </a:lnTo>
                <a:lnTo>
                  <a:pt x="459" y="664"/>
                </a:lnTo>
                <a:lnTo>
                  <a:pt x="462" y="662"/>
                </a:lnTo>
                <a:lnTo>
                  <a:pt x="462" y="662"/>
                </a:lnTo>
                <a:lnTo>
                  <a:pt x="472" y="656"/>
                </a:lnTo>
                <a:lnTo>
                  <a:pt x="486" y="649"/>
                </a:lnTo>
                <a:lnTo>
                  <a:pt x="501" y="644"/>
                </a:lnTo>
                <a:lnTo>
                  <a:pt x="505" y="644"/>
                </a:lnTo>
                <a:lnTo>
                  <a:pt x="506" y="644"/>
                </a:lnTo>
                <a:lnTo>
                  <a:pt x="506" y="646"/>
                </a:lnTo>
                <a:lnTo>
                  <a:pt x="506" y="646"/>
                </a:lnTo>
                <a:lnTo>
                  <a:pt x="505" y="649"/>
                </a:lnTo>
                <a:lnTo>
                  <a:pt x="502" y="652"/>
                </a:lnTo>
                <a:lnTo>
                  <a:pt x="491" y="657"/>
                </a:lnTo>
                <a:lnTo>
                  <a:pt x="478" y="663"/>
                </a:lnTo>
                <a:lnTo>
                  <a:pt x="472" y="666"/>
                </a:lnTo>
                <a:lnTo>
                  <a:pt x="468" y="670"/>
                </a:lnTo>
                <a:lnTo>
                  <a:pt x="468" y="670"/>
                </a:lnTo>
                <a:close/>
                <a:moveTo>
                  <a:pt x="715" y="928"/>
                </a:moveTo>
                <a:lnTo>
                  <a:pt x="715" y="928"/>
                </a:lnTo>
                <a:lnTo>
                  <a:pt x="713" y="928"/>
                </a:lnTo>
                <a:lnTo>
                  <a:pt x="711" y="925"/>
                </a:lnTo>
                <a:lnTo>
                  <a:pt x="711" y="918"/>
                </a:lnTo>
                <a:lnTo>
                  <a:pt x="710" y="912"/>
                </a:lnTo>
                <a:lnTo>
                  <a:pt x="708" y="908"/>
                </a:lnTo>
                <a:lnTo>
                  <a:pt x="705" y="903"/>
                </a:lnTo>
                <a:lnTo>
                  <a:pt x="701" y="899"/>
                </a:lnTo>
                <a:lnTo>
                  <a:pt x="701" y="899"/>
                </a:lnTo>
                <a:lnTo>
                  <a:pt x="696" y="896"/>
                </a:lnTo>
                <a:lnTo>
                  <a:pt x="691" y="892"/>
                </a:lnTo>
                <a:lnTo>
                  <a:pt x="683" y="882"/>
                </a:lnTo>
                <a:lnTo>
                  <a:pt x="678" y="872"/>
                </a:lnTo>
                <a:lnTo>
                  <a:pt x="677" y="864"/>
                </a:lnTo>
                <a:lnTo>
                  <a:pt x="677" y="864"/>
                </a:lnTo>
                <a:lnTo>
                  <a:pt x="678" y="861"/>
                </a:lnTo>
                <a:lnTo>
                  <a:pt x="680" y="858"/>
                </a:lnTo>
                <a:lnTo>
                  <a:pt x="683" y="856"/>
                </a:lnTo>
                <a:lnTo>
                  <a:pt x="686" y="855"/>
                </a:lnTo>
                <a:lnTo>
                  <a:pt x="688" y="854"/>
                </a:lnTo>
                <a:lnTo>
                  <a:pt x="691" y="855"/>
                </a:lnTo>
                <a:lnTo>
                  <a:pt x="696" y="855"/>
                </a:lnTo>
                <a:lnTo>
                  <a:pt x="697" y="858"/>
                </a:lnTo>
                <a:lnTo>
                  <a:pt x="697" y="858"/>
                </a:lnTo>
                <a:lnTo>
                  <a:pt x="703" y="866"/>
                </a:lnTo>
                <a:lnTo>
                  <a:pt x="707" y="879"/>
                </a:lnTo>
                <a:lnTo>
                  <a:pt x="713" y="893"/>
                </a:lnTo>
                <a:lnTo>
                  <a:pt x="717" y="903"/>
                </a:lnTo>
                <a:lnTo>
                  <a:pt x="717" y="903"/>
                </a:lnTo>
                <a:lnTo>
                  <a:pt x="720" y="911"/>
                </a:lnTo>
                <a:lnTo>
                  <a:pt x="720" y="919"/>
                </a:lnTo>
                <a:lnTo>
                  <a:pt x="718" y="925"/>
                </a:lnTo>
                <a:lnTo>
                  <a:pt x="717" y="928"/>
                </a:lnTo>
                <a:lnTo>
                  <a:pt x="715" y="928"/>
                </a:lnTo>
                <a:lnTo>
                  <a:pt x="715" y="928"/>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25" name="Freeform 312">
            <a:extLst>
              <a:ext uri="{FF2B5EF4-FFF2-40B4-BE49-F238E27FC236}">
                <a16:creationId xmlns:a16="http://schemas.microsoft.com/office/drawing/2014/main" id="{018134BF-66E7-32C6-8733-FB2D954F575F}"/>
              </a:ext>
            </a:extLst>
          </p:cNvPr>
          <p:cNvSpPr>
            <a:spLocks noEditPoints="1"/>
          </p:cNvSpPr>
          <p:nvPr userDrawn="1"/>
        </p:nvSpPr>
        <p:spPr bwMode="gray">
          <a:xfrm>
            <a:off x="826534" y="1512231"/>
            <a:ext cx="2118529" cy="1435761"/>
          </a:xfrm>
          <a:custGeom>
            <a:avLst/>
            <a:gdLst/>
            <a:ahLst/>
            <a:cxnLst>
              <a:cxn ang="0">
                <a:pos x="505" y="322"/>
              </a:cxn>
              <a:cxn ang="0">
                <a:pos x="425" y="47"/>
              </a:cxn>
              <a:cxn ang="0">
                <a:pos x="249" y="24"/>
              </a:cxn>
              <a:cxn ang="0">
                <a:pos x="196" y="7"/>
              </a:cxn>
              <a:cxn ang="0">
                <a:pos x="121" y="27"/>
              </a:cxn>
              <a:cxn ang="0">
                <a:pos x="33" y="91"/>
              </a:cxn>
              <a:cxn ang="0">
                <a:pos x="117" y="142"/>
              </a:cxn>
              <a:cxn ang="0">
                <a:pos x="31" y="150"/>
              </a:cxn>
              <a:cxn ang="0">
                <a:pos x="67" y="191"/>
              </a:cxn>
              <a:cxn ang="0">
                <a:pos x="88" y="216"/>
              </a:cxn>
              <a:cxn ang="0">
                <a:pos x="33" y="258"/>
              </a:cxn>
              <a:cxn ang="0">
                <a:pos x="85" y="306"/>
              </a:cxn>
              <a:cxn ang="0">
                <a:pos x="134" y="335"/>
              </a:cxn>
              <a:cxn ang="0">
                <a:pos x="161" y="366"/>
              </a:cxn>
              <a:cxn ang="0">
                <a:pos x="98" y="413"/>
              </a:cxn>
              <a:cxn ang="0">
                <a:pos x="189" y="366"/>
              </a:cxn>
              <a:cxn ang="0">
                <a:pos x="225" y="317"/>
              </a:cxn>
              <a:cxn ang="0">
                <a:pos x="292" y="279"/>
              </a:cxn>
              <a:cxn ang="0">
                <a:pos x="265" y="323"/>
              </a:cxn>
              <a:cxn ang="0">
                <a:pos x="327" y="279"/>
              </a:cxn>
              <a:cxn ang="0">
                <a:pos x="358" y="295"/>
              </a:cxn>
              <a:cxn ang="0">
                <a:pos x="461" y="307"/>
              </a:cxn>
              <a:cxn ang="0">
                <a:pos x="526" y="346"/>
              </a:cxn>
              <a:cxn ang="0">
                <a:pos x="511" y="357"/>
              </a:cxn>
              <a:cxn ang="0">
                <a:pos x="538" y="369"/>
              </a:cxn>
              <a:cxn ang="0">
                <a:pos x="542" y="381"/>
              </a:cxn>
              <a:cxn ang="0">
                <a:pos x="565" y="384"/>
              </a:cxn>
              <a:cxn ang="0">
                <a:pos x="562" y="426"/>
              </a:cxn>
              <a:cxn ang="0">
                <a:pos x="600" y="426"/>
              </a:cxn>
              <a:cxn ang="0">
                <a:pos x="10" y="455"/>
              </a:cxn>
              <a:cxn ang="0">
                <a:pos x="226" y="359"/>
              </a:cxn>
              <a:cxn ang="0">
                <a:pos x="243" y="353"/>
              </a:cxn>
              <a:cxn ang="0">
                <a:pos x="36" y="299"/>
              </a:cxn>
              <a:cxn ang="0">
                <a:pos x="186" y="1070"/>
              </a:cxn>
              <a:cxn ang="0">
                <a:pos x="156" y="1063"/>
              </a:cxn>
              <a:cxn ang="0">
                <a:pos x="1569" y="616"/>
              </a:cxn>
              <a:cxn ang="0">
                <a:pos x="1393" y="697"/>
              </a:cxn>
              <a:cxn ang="0">
                <a:pos x="1374" y="653"/>
              </a:cxn>
              <a:cxn ang="0">
                <a:pos x="1323" y="630"/>
              </a:cxn>
              <a:cxn ang="0">
                <a:pos x="1293" y="632"/>
              </a:cxn>
              <a:cxn ang="0">
                <a:pos x="1302" y="602"/>
              </a:cxn>
              <a:cxn ang="0">
                <a:pos x="1225" y="588"/>
              </a:cxn>
              <a:cxn ang="0">
                <a:pos x="1196" y="558"/>
              </a:cxn>
              <a:cxn ang="0">
                <a:pos x="727" y="582"/>
              </a:cxn>
              <a:cxn ang="0">
                <a:pos x="718" y="603"/>
              </a:cxn>
              <a:cxn ang="0">
                <a:pos x="714" y="743"/>
              </a:cxn>
              <a:cxn ang="0">
                <a:pos x="768" y="830"/>
              </a:cxn>
              <a:cxn ang="0">
                <a:pos x="1001" y="888"/>
              </a:cxn>
              <a:cxn ang="0">
                <a:pos x="1102" y="952"/>
              </a:cxn>
              <a:cxn ang="0">
                <a:pos x="1138" y="950"/>
              </a:cxn>
              <a:cxn ang="0">
                <a:pos x="1202" y="913"/>
              </a:cxn>
              <a:cxn ang="0">
                <a:pos x="1265" y="926"/>
              </a:cxn>
              <a:cxn ang="0">
                <a:pos x="1296" y="908"/>
              </a:cxn>
              <a:cxn ang="0">
                <a:pos x="1374" y="955"/>
              </a:cxn>
              <a:cxn ang="0">
                <a:pos x="1407" y="945"/>
              </a:cxn>
              <a:cxn ang="0">
                <a:pos x="1450" y="840"/>
              </a:cxn>
              <a:cxn ang="0">
                <a:pos x="1482" y="798"/>
              </a:cxn>
              <a:cxn ang="0">
                <a:pos x="1478" y="736"/>
              </a:cxn>
              <a:cxn ang="0">
                <a:pos x="1492" y="741"/>
              </a:cxn>
              <a:cxn ang="0">
                <a:pos x="1521" y="709"/>
              </a:cxn>
              <a:cxn ang="0">
                <a:pos x="1568" y="665"/>
              </a:cxn>
              <a:cxn ang="0">
                <a:pos x="1616" y="586"/>
              </a:cxn>
            </a:cxnLst>
            <a:rect l="0" t="0" r="r" b="b"/>
            <a:pathLst>
              <a:path w="1629" h="1104">
                <a:moveTo>
                  <a:pt x="610" y="406"/>
                </a:moveTo>
                <a:lnTo>
                  <a:pt x="610" y="406"/>
                </a:lnTo>
                <a:lnTo>
                  <a:pt x="612" y="401"/>
                </a:lnTo>
                <a:lnTo>
                  <a:pt x="610" y="397"/>
                </a:lnTo>
                <a:lnTo>
                  <a:pt x="606" y="393"/>
                </a:lnTo>
                <a:lnTo>
                  <a:pt x="596" y="389"/>
                </a:lnTo>
                <a:lnTo>
                  <a:pt x="596" y="389"/>
                </a:lnTo>
                <a:lnTo>
                  <a:pt x="585" y="383"/>
                </a:lnTo>
                <a:lnTo>
                  <a:pt x="579" y="377"/>
                </a:lnTo>
                <a:lnTo>
                  <a:pt x="575" y="369"/>
                </a:lnTo>
                <a:lnTo>
                  <a:pt x="568" y="354"/>
                </a:lnTo>
                <a:lnTo>
                  <a:pt x="568" y="354"/>
                </a:lnTo>
                <a:lnTo>
                  <a:pt x="562" y="347"/>
                </a:lnTo>
                <a:lnTo>
                  <a:pt x="556" y="340"/>
                </a:lnTo>
                <a:lnTo>
                  <a:pt x="545" y="330"/>
                </a:lnTo>
                <a:lnTo>
                  <a:pt x="536" y="322"/>
                </a:lnTo>
                <a:lnTo>
                  <a:pt x="533" y="319"/>
                </a:lnTo>
                <a:lnTo>
                  <a:pt x="532" y="316"/>
                </a:lnTo>
                <a:lnTo>
                  <a:pt x="532" y="316"/>
                </a:lnTo>
                <a:lnTo>
                  <a:pt x="532" y="313"/>
                </a:lnTo>
                <a:lnTo>
                  <a:pt x="529" y="310"/>
                </a:lnTo>
                <a:lnTo>
                  <a:pt x="522" y="309"/>
                </a:lnTo>
                <a:lnTo>
                  <a:pt x="514" y="310"/>
                </a:lnTo>
                <a:lnTo>
                  <a:pt x="512" y="312"/>
                </a:lnTo>
                <a:lnTo>
                  <a:pt x="511" y="315"/>
                </a:lnTo>
                <a:lnTo>
                  <a:pt x="511" y="315"/>
                </a:lnTo>
                <a:lnTo>
                  <a:pt x="511" y="316"/>
                </a:lnTo>
                <a:lnTo>
                  <a:pt x="509" y="319"/>
                </a:lnTo>
                <a:lnTo>
                  <a:pt x="505" y="322"/>
                </a:lnTo>
                <a:lnTo>
                  <a:pt x="496" y="326"/>
                </a:lnTo>
                <a:lnTo>
                  <a:pt x="496" y="326"/>
                </a:lnTo>
                <a:lnTo>
                  <a:pt x="492" y="327"/>
                </a:lnTo>
                <a:lnTo>
                  <a:pt x="489" y="326"/>
                </a:lnTo>
                <a:lnTo>
                  <a:pt x="484" y="317"/>
                </a:lnTo>
                <a:lnTo>
                  <a:pt x="484" y="317"/>
                </a:lnTo>
                <a:lnTo>
                  <a:pt x="479" y="313"/>
                </a:lnTo>
                <a:lnTo>
                  <a:pt x="474" y="309"/>
                </a:lnTo>
                <a:lnTo>
                  <a:pt x="469" y="305"/>
                </a:lnTo>
                <a:lnTo>
                  <a:pt x="468" y="302"/>
                </a:lnTo>
                <a:lnTo>
                  <a:pt x="468" y="302"/>
                </a:lnTo>
                <a:lnTo>
                  <a:pt x="467" y="299"/>
                </a:lnTo>
                <a:lnTo>
                  <a:pt x="465" y="295"/>
                </a:lnTo>
                <a:lnTo>
                  <a:pt x="461" y="293"/>
                </a:lnTo>
                <a:lnTo>
                  <a:pt x="459" y="293"/>
                </a:lnTo>
                <a:lnTo>
                  <a:pt x="457" y="293"/>
                </a:lnTo>
                <a:lnTo>
                  <a:pt x="457" y="293"/>
                </a:lnTo>
                <a:lnTo>
                  <a:pt x="451" y="295"/>
                </a:lnTo>
                <a:lnTo>
                  <a:pt x="447" y="296"/>
                </a:lnTo>
                <a:lnTo>
                  <a:pt x="444" y="295"/>
                </a:lnTo>
                <a:lnTo>
                  <a:pt x="442" y="296"/>
                </a:lnTo>
                <a:lnTo>
                  <a:pt x="442" y="296"/>
                </a:lnTo>
                <a:lnTo>
                  <a:pt x="440" y="298"/>
                </a:lnTo>
                <a:lnTo>
                  <a:pt x="437" y="296"/>
                </a:lnTo>
                <a:lnTo>
                  <a:pt x="434" y="295"/>
                </a:lnTo>
                <a:lnTo>
                  <a:pt x="434" y="49"/>
                </a:lnTo>
                <a:lnTo>
                  <a:pt x="434" y="49"/>
                </a:lnTo>
                <a:lnTo>
                  <a:pt x="425" y="47"/>
                </a:lnTo>
                <a:lnTo>
                  <a:pt x="425" y="47"/>
                </a:lnTo>
                <a:lnTo>
                  <a:pt x="408" y="40"/>
                </a:lnTo>
                <a:lnTo>
                  <a:pt x="400" y="39"/>
                </a:lnTo>
                <a:lnTo>
                  <a:pt x="393" y="39"/>
                </a:lnTo>
                <a:lnTo>
                  <a:pt x="393" y="39"/>
                </a:lnTo>
                <a:lnTo>
                  <a:pt x="376" y="40"/>
                </a:lnTo>
                <a:lnTo>
                  <a:pt x="368" y="40"/>
                </a:lnTo>
                <a:lnTo>
                  <a:pt x="361" y="39"/>
                </a:lnTo>
                <a:lnTo>
                  <a:pt x="361" y="39"/>
                </a:lnTo>
                <a:lnTo>
                  <a:pt x="357" y="37"/>
                </a:lnTo>
                <a:lnTo>
                  <a:pt x="351" y="36"/>
                </a:lnTo>
                <a:lnTo>
                  <a:pt x="344" y="34"/>
                </a:lnTo>
                <a:lnTo>
                  <a:pt x="337" y="36"/>
                </a:lnTo>
                <a:lnTo>
                  <a:pt x="337" y="36"/>
                </a:lnTo>
                <a:lnTo>
                  <a:pt x="329" y="36"/>
                </a:lnTo>
                <a:lnTo>
                  <a:pt x="320" y="33"/>
                </a:lnTo>
                <a:lnTo>
                  <a:pt x="313" y="29"/>
                </a:lnTo>
                <a:lnTo>
                  <a:pt x="303" y="26"/>
                </a:lnTo>
                <a:lnTo>
                  <a:pt x="303" y="26"/>
                </a:lnTo>
                <a:lnTo>
                  <a:pt x="290" y="24"/>
                </a:lnTo>
                <a:lnTo>
                  <a:pt x="279" y="26"/>
                </a:lnTo>
                <a:lnTo>
                  <a:pt x="267" y="27"/>
                </a:lnTo>
                <a:lnTo>
                  <a:pt x="262" y="29"/>
                </a:lnTo>
                <a:lnTo>
                  <a:pt x="262" y="29"/>
                </a:lnTo>
                <a:lnTo>
                  <a:pt x="259" y="29"/>
                </a:lnTo>
                <a:lnTo>
                  <a:pt x="257" y="27"/>
                </a:lnTo>
                <a:lnTo>
                  <a:pt x="255" y="24"/>
                </a:lnTo>
                <a:lnTo>
                  <a:pt x="252" y="24"/>
                </a:lnTo>
                <a:lnTo>
                  <a:pt x="252" y="24"/>
                </a:lnTo>
                <a:lnTo>
                  <a:pt x="249" y="24"/>
                </a:lnTo>
                <a:lnTo>
                  <a:pt x="248" y="22"/>
                </a:lnTo>
                <a:lnTo>
                  <a:pt x="248" y="19"/>
                </a:lnTo>
                <a:lnTo>
                  <a:pt x="246" y="16"/>
                </a:lnTo>
                <a:lnTo>
                  <a:pt x="246" y="16"/>
                </a:lnTo>
                <a:lnTo>
                  <a:pt x="245" y="14"/>
                </a:lnTo>
                <a:lnTo>
                  <a:pt x="242" y="13"/>
                </a:lnTo>
                <a:lnTo>
                  <a:pt x="233" y="13"/>
                </a:lnTo>
                <a:lnTo>
                  <a:pt x="219" y="16"/>
                </a:lnTo>
                <a:lnTo>
                  <a:pt x="219" y="16"/>
                </a:lnTo>
                <a:lnTo>
                  <a:pt x="215" y="16"/>
                </a:lnTo>
                <a:lnTo>
                  <a:pt x="212" y="14"/>
                </a:lnTo>
                <a:lnTo>
                  <a:pt x="211" y="12"/>
                </a:lnTo>
                <a:lnTo>
                  <a:pt x="211" y="10"/>
                </a:lnTo>
                <a:lnTo>
                  <a:pt x="211" y="10"/>
                </a:lnTo>
                <a:lnTo>
                  <a:pt x="211" y="9"/>
                </a:lnTo>
                <a:lnTo>
                  <a:pt x="208" y="7"/>
                </a:lnTo>
                <a:lnTo>
                  <a:pt x="205" y="9"/>
                </a:lnTo>
                <a:lnTo>
                  <a:pt x="202" y="12"/>
                </a:lnTo>
                <a:lnTo>
                  <a:pt x="202" y="12"/>
                </a:lnTo>
                <a:lnTo>
                  <a:pt x="201" y="14"/>
                </a:lnTo>
                <a:lnTo>
                  <a:pt x="196" y="16"/>
                </a:lnTo>
                <a:lnTo>
                  <a:pt x="193" y="16"/>
                </a:lnTo>
                <a:lnTo>
                  <a:pt x="191" y="14"/>
                </a:lnTo>
                <a:lnTo>
                  <a:pt x="191" y="14"/>
                </a:lnTo>
                <a:lnTo>
                  <a:pt x="189" y="13"/>
                </a:lnTo>
                <a:lnTo>
                  <a:pt x="189" y="12"/>
                </a:lnTo>
                <a:lnTo>
                  <a:pt x="192" y="10"/>
                </a:lnTo>
                <a:lnTo>
                  <a:pt x="195" y="9"/>
                </a:lnTo>
                <a:lnTo>
                  <a:pt x="196" y="7"/>
                </a:lnTo>
                <a:lnTo>
                  <a:pt x="196" y="7"/>
                </a:lnTo>
                <a:lnTo>
                  <a:pt x="195" y="4"/>
                </a:lnTo>
                <a:lnTo>
                  <a:pt x="192" y="3"/>
                </a:lnTo>
                <a:lnTo>
                  <a:pt x="184" y="0"/>
                </a:lnTo>
                <a:lnTo>
                  <a:pt x="184" y="0"/>
                </a:lnTo>
                <a:lnTo>
                  <a:pt x="181" y="2"/>
                </a:lnTo>
                <a:lnTo>
                  <a:pt x="176" y="3"/>
                </a:lnTo>
                <a:lnTo>
                  <a:pt x="166" y="12"/>
                </a:lnTo>
                <a:lnTo>
                  <a:pt x="166" y="12"/>
                </a:lnTo>
                <a:lnTo>
                  <a:pt x="161" y="14"/>
                </a:lnTo>
                <a:lnTo>
                  <a:pt x="154" y="17"/>
                </a:lnTo>
                <a:lnTo>
                  <a:pt x="148" y="17"/>
                </a:lnTo>
                <a:lnTo>
                  <a:pt x="142" y="16"/>
                </a:lnTo>
                <a:lnTo>
                  <a:pt x="142" y="16"/>
                </a:lnTo>
                <a:lnTo>
                  <a:pt x="137" y="16"/>
                </a:lnTo>
                <a:lnTo>
                  <a:pt x="131" y="17"/>
                </a:lnTo>
                <a:lnTo>
                  <a:pt x="128" y="19"/>
                </a:lnTo>
                <a:lnTo>
                  <a:pt x="127" y="22"/>
                </a:lnTo>
                <a:lnTo>
                  <a:pt x="127" y="22"/>
                </a:lnTo>
                <a:lnTo>
                  <a:pt x="128" y="23"/>
                </a:lnTo>
                <a:lnTo>
                  <a:pt x="131" y="24"/>
                </a:lnTo>
                <a:lnTo>
                  <a:pt x="132" y="27"/>
                </a:lnTo>
                <a:lnTo>
                  <a:pt x="131" y="30"/>
                </a:lnTo>
                <a:lnTo>
                  <a:pt x="131" y="30"/>
                </a:lnTo>
                <a:lnTo>
                  <a:pt x="128" y="30"/>
                </a:lnTo>
                <a:lnTo>
                  <a:pt x="127" y="30"/>
                </a:lnTo>
                <a:lnTo>
                  <a:pt x="124" y="29"/>
                </a:lnTo>
                <a:lnTo>
                  <a:pt x="122" y="27"/>
                </a:lnTo>
                <a:lnTo>
                  <a:pt x="121" y="27"/>
                </a:lnTo>
                <a:lnTo>
                  <a:pt x="118" y="29"/>
                </a:lnTo>
                <a:lnTo>
                  <a:pt x="118" y="29"/>
                </a:lnTo>
                <a:lnTo>
                  <a:pt x="114" y="31"/>
                </a:lnTo>
                <a:lnTo>
                  <a:pt x="107" y="33"/>
                </a:lnTo>
                <a:lnTo>
                  <a:pt x="95" y="33"/>
                </a:lnTo>
                <a:lnTo>
                  <a:pt x="95" y="33"/>
                </a:lnTo>
                <a:lnTo>
                  <a:pt x="91" y="34"/>
                </a:lnTo>
                <a:lnTo>
                  <a:pt x="85" y="39"/>
                </a:lnTo>
                <a:lnTo>
                  <a:pt x="77" y="49"/>
                </a:lnTo>
                <a:lnTo>
                  <a:pt x="77" y="49"/>
                </a:lnTo>
                <a:lnTo>
                  <a:pt x="75" y="51"/>
                </a:lnTo>
                <a:lnTo>
                  <a:pt x="75" y="54"/>
                </a:lnTo>
                <a:lnTo>
                  <a:pt x="74" y="59"/>
                </a:lnTo>
                <a:lnTo>
                  <a:pt x="70" y="66"/>
                </a:lnTo>
                <a:lnTo>
                  <a:pt x="70" y="66"/>
                </a:lnTo>
                <a:lnTo>
                  <a:pt x="65" y="68"/>
                </a:lnTo>
                <a:lnTo>
                  <a:pt x="60" y="71"/>
                </a:lnTo>
                <a:lnTo>
                  <a:pt x="47" y="73"/>
                </a:lnTo>
                <a:lnTo>
                  <a:pt x="36" y="74"/>
                </a:lnTo>
                <a:lnTo>
                  <a:pt x="28" y="73"/>
                </a:lnTo>
                <a:lnTo>
                  <a:pt x="28" y="73"/>
                </a:lnTo>
                <a:lnTo>
                  <a:pt x="27" y="74"/>
                </a:lnTo>
                <a:lnTo>
                  <a:pt x="26" y="77"/>
                </a:lnTo>
                <a:lnTo>
                  <a:pt x="26" y="80"/>
                </a:lnTo>
                <a:lnTo>
                  <a:pt x="24" y="83"/>
                </a:lnTo>
                <a:lnTo>
                  <a:pt x="24" y="83"/>
                </a:lnTo>
                <a:lnTo>
                  <a:pt x="24" y="86"/>
                </a:lnTo>
                <a:lnTo>
                  <a:pt x="27" y="88"/>
                </a:lnTo>
                <a:lnTo>
                  <a:pt x="33" y="91"/>
                </a:lnTo>
                <a:lnTo>
                  <a:pt x="43" y="94"/>
                </a:lnTo>
                <a:lnTo>
                  <a:pt x="43" y="94"/>
                </a:lnTo>
                <a:lnTo>
                  <a:pt x="48" y="97"/>
                </a:lnTo>
                <a:lnTo>
                  <a:pt x="53" y="100"/>
                </a:lnTo>
                <a:lnTo>
                  <a:pt x="60" y="108"/>
                </a:lnTo>
                <a:lnTo>
                  <a:pt x="65" y="117"/>
                </a:lnTo>
                <a:lnTo>
                  <a:pt x="68" y="123"/>
                </a:lnTo>
                <a:lnTo>
                  <a:pt x="68" y="123"/>
                </a:lnTo>
                <a:lnTo>
                  <a:pt x="70" y="124"/>
                </a:lnTo>
                <a:lnTo>
                  <a:pt x="73" y="124"/>
                </a:lnTo>
                <a:lnTo>
                  <a:pt x="80" y="124"/>
                </a:lnTo>
                <a:lnTo>
                  <a:pt x="88" y="123"/>
                </a:lnTo>
                <a:lnTo>
                  <a:pt x="95" y="123"/>
                </a:lnTo>
                <a:lnTo>
                  <a:pt x="95" y="123"/>
                </a:lnTo>
                <a:lnTo>
                  <a:pt x="98" y="124"/>
                </a:lnTo>
                <a:lnTo>
                  <a:pt x="98" y="125"/>
                </a:lnTo>
                <a:lnTo>
                  <a:pt x="100" y="130"/>
                </a:lnTo>
                <a:lnTo>
                  <a:pt x="98" y="134"/>
                </a:lnTo>
                <a:lnTo>
                  <a:pt x="100" y="135"/>
                </a:lnTo>
                <a:lnTo>
                  <a:pt x="101" y="137"/>
                </a:lnTo>
                <a:lnTo>
                  <a:pt x="101" y="137"/>
                </a:lnTo>
                <a:lnTo>
                  <a:pt x="107" y="138"/>
                </a:lnTo>
                <a:lnTo>
                  <a:pt x="111" y="138"/>
                </a:lnTo>
                <a:lnTo>
                  <a:pt x="115" y="138"/>
                </a:lnTo>
                <a:lnTo>
                  <a:pt x="117" y="140"/>
                </a:lnTo>
                <a:lnTo>
                  <a:pt x="118" y="141"/>
                </a:lnTo>
                <a:lnTo>
                  <a:pt x="118" y="141"/>
                </a:lnTo>
                <a:lnTo>
                  <a:pt x="118" y="142"/>
                </a:lnTo>
                <a:lnTo>
                  <a:pt x="117" y="142"/>
                </a:lnTo>
                <a:lnTo>
                  <a:pt x="112" y="142"/>
                </a:lnTo>
                <a:lnTo>
                  <a:pt x="105" y="144"/>
                </a:lnTo>
                <a:lnTo>
                  <a:pt x="102" y="144"/>
                </a:lnTo>
                <a:lnTo>
                  <a:pt x="100" y="145"/>
                </a:lnTo>
                <a:lnTo>
                  <a:pt x="100" y="145"/>
                </a:lnTo>
                <a:lnTo>
                  <a:pt x="91" y="151"/>
                </a:lnTo>
                <a:lnTo>
                  <a:pt x="88" y="151"/>
                </a:lnTo>
                <a:lnTo>
                  <a:pt x="85" y="150"/>
                </a:lnTo>
                <a:lnTo>
                  <a:pt x="85" y="150"/>
                </a:lnTo>
                <a:lnTo>
                  <a:pt x="83" y="148"/>
                </a:lnTo>
                <a:lnTo>
                  <a:pt x="77" y="148"/>
                </a:lnTo>
                <a:lnTo>
                  <a:pt x="65" y="150"/>
                </a:lnTo>
                <a:lnTo>
                  <a:pt x="65" y="150"/>
                </a:lnTo>
                <a:lnTo>
                  <a:pt x="63" y="150"/>
                </a:lnTo>
                <a:lnTo>
                  <a:pt x="63" y="148"/>
                </a:lnTo>
                <a:lnTo>
                  <a:pt x="63" y="145"/>
                </a:lnTo>
                <a:lnTo>
                  <a:pt x="65" y="138"/>
                </a:lnTo>
                <a:lnTo>
                  <a:pt x="65" y="138"/>
                </a:lnTo>
                <a:lnTo>
                  <a:pt x="64" y="135"/>
                </a:lnTo>
                <a:lnTo>
                  <a:pt x="60" y="134"/>
                </a:lnTo>
                <a:lnTo>
                  <a:pt x="53" y="135"/>
                </a:lnTo>
                <a:lnTo>
                  <a:pt x="46" y="138"/>
                </a:lnTo>
                <a:lnTo>
                  <a:pt x="46" y="138"/>
                </a:lnTo>
                <a:lnTo>
                  <a:pt x="37" y="144"/>
                </a:lnTo>
                <a:lnTo>
                  <a:pt x="36" y="148"/>
                </a:lnTo>
                <a:lnTo>
                  <a:pt x="36" y="148"/>
                </a:lnTo>
                <a:lnTo>
                  <a:pt x="36" y="150"/>
                </a:lnTo>
                <a:lnTo>
                  <a:pt x="34" y="150"/>
                </a:lnTo>
                <a:lnTo>
                  <a:pt x="31" y="150"/>
                </a:lnTo>
                <a:lnTo>
                  <a:pt x="27" y="148"/>
                </a:lnTo>
                <a:lnTo>
                  <a:pt x="24" y="148"/>
                </a:lnTo>
                <a:lnTo>
                  <a:pt x="23" y="150"/>
                </a:lnTo>
                <a:lnTo>
                  <a:pt x="23" y="150"/>
                </a:lnTo>
                <a:lnTo>
                  <a:pt x="10" y="157"/>
                </a:lnTo>
                <a:lnTo>
                  <a:pt x="4" y="160"/>
                </a:lnTo>
                <a:lnTo>
                  <a:pt x="0" y="162"/>
                </a:lnTo>
                <a:lnTo>
                  <a:pt x="0" y="162"/>
                </a:lnTo>
                <a:lnTo>
                  <a:pt x="0" y="164"/>
                </a:lnTo>
                <a:lnTo>
                  <a:pt x="3" y="165"/>
                </a:lnTo>
                <a:lnTo>
                  <a:pt x="9" y="168"/>
                </a:lnTo>
                <a:lnTo>
                  <a:pt x="24" y="171"/>
                </a:lnTo>
                <a:lnTo>
                  <a:pt x="24" y="171"/>
                </a:lnTo>
                <a:lnTo>
                  <a:pt x="26" y="172"/>
                </a:lnTo>
                <a:lnTo>
                  <a:pt x="26" y="174"/>
                </a:lnTo>
                <a:lnTo>
                  <a:pt x="23" y="175"/>
                </a:lnTo>
                <a:lnTo>
                  <a:pt x="20" y="178"/>
                </a:lnTo>
                <a:lnTo>
                  <a:pt x="20" y="178"/>
                </a:lnTo>
                <a:lnTo>
                  <a:pt x="21" y="179"/>
                </a:lnTo>
                <a:lnTo>
                  <a:pt x="21" y="179"/>
                </a:lnTo>
                <a:lnTo>
                  <a:pt x="24" y="181"/>
                </a:lnTo>
                <a:lnTo>
                  <a:pt x="26" y="184"/>
                </a:lnTo>
                <a:lnTo>
                  <a:pt x="28" y="188"/>
                </a:lnTo>
                <a:lnTo>
                  <a:pt x="33" y="191"/>
                </a:lnTo>
                <a:lnTo>
                  <a:pt x="33" y="191"/>
                </a:lnTo>
                <a:lnTo>
                  <a:pt x="37" y="192"/>
                </a:lnTo>
                <a:lnTo>
                  <a:pt x="41" y="194"/>
                </a:lnTo>
                <a:lnTo>
                  <a:pt x="51" y="192"/>
                </a:lnTo>
                <a:lnTo>
                  <a:pt x="67" y="191"/>
                </a:lnTo>
                <a:lnTo>
                  <a:pt x="67" y="191"/>
                </a:lnTo>
                <a:lnTo>
                  <a:pt x="71" y="192"/>
                </a:lnTo>
                <a:lnTo>
                  <a:pt x="75" y="194"/>
                </a:lnTo>
                <a:lnTo>
                  <a:pt x="78" y="195"/>
                </a:lnTo>
                <a:lnTo>
                  <a:pt x="81" y="192"/>
                </a:lnTo>
                <a:lnTo>
                  <a:pt x="81" y="192"/>
                </a:lnTo>
                <a:lnTo>
                  <a:pt x="87" y="188"/>
                </a:lnTo>
                <a:lnTo>
                  <a:pt x="94" y="184"/>
                </a:lnTo>
                <a:lnTo>
                  <a:pt x="98" y="181"/>
                </a:lnTo>
                <a:lnTo>
                  <a:pt x="102" y="181"/>
                </a:lnTo>
                <a:lnTo>
                  <a:pt x="107" y="181"/>
                </a:lnTo>
                <a:lnTo>
                  <a:pt x="110" y="182"/>
                </a:lnTo>
                <a:lnTo>
                  <a:pt x="110" y="182"/>
                </a:lnTo>
                <a:lnTo>
                  <a:pt x="112" y="185"/>
                </a:lnTo>
                <a:lnTo>
                  <a:pt x="112" y="187"/>
                </a:lnTo>
                <a:lnTo>
                  <a:pt x="110" y="189"/>
                </a:lnTo>
                <a:lnTo>
                  <a:pt x="105" y="191"/>
                </a:lnTo>
                <a:lnTo>
                  <a:pt x="105" y="192"/>
                </a:lnTo>
                <a:lnTo>
                  <a:pt x="105" y="194"/>
                </a:lnTo>
                <a:lnTo>
                  <a:pt x="105" y="194"/>
                </a:lnTo>
                <a:lnTo>
                  <a:pt x="108" y="198"/>
                </a:lnTo>
                <a:lnTo>
                  <a:pt x="111" y="204"/>
                </a:lnTo>
                <a:lnTo>
                  <a:pt x="111" y="211"/>
                </a:lnTo>
                <a:lnTo>
                  <a:pt x="110" y="214"/>
                </a:lnTo>
                <a:lnTo>
                  <a:pt x="107" y="215"/>
                </a:lnTo>
                <a:lnTo>
                  <a:pt x="107" y="215"/>
                </a:lnTo>
                <a:lnTo>
                  <a:pt x="101" y="218"/>
                </a:lnTo>
                <a:lnTo>
                  <a:pt x="97" y="218"/>
                </a:lnTo>
                <a:lnTo>
                  <a:pt x="88" y="216"/>
                </a:lnTo>
                <a:lnTo>
                  <a:pt x="88" y="216"/>
                </a:lnTo>
                <a:lnTo>
                  <a:pt x="87" y="216"/>
                </a:lnTo>
                <a:lnTo>
                  <a:pt x="85" y="218"/>
                </a:lnTo>
                <a:lnTo>
                  <a:pt x="84" y="221"/>
                </a:lnTo>
                <a:lnTo>
                  <a:pt x="83" y="225"/>
                </a:lnTo>
                <a:lnTo>
                  <a:pt x="80" y="229"/>
                </a:lnTo>
                <a:lnTo>
                  <a:pt x="80" y="229"/>
                </a:lnTo>
                <a:lnTo>
                  <a:pt x="77" y="231"/>
                </a:lnTo>
                <a:lnTo>
                  <a:pt x="74" y="231"/>
                </a:lnTo>
                <a:lnTo>
                  <a:pt x="70" y="229"/>
                </a:lnTo>
                <a:lnTo>
                  <a:pt x="64" y="226"/>
                </a:lnTo>
                <a:lnTo>
                  <a:pt x="61" y="225"/>
                </a:lnTo>
                <a:lnTo>
                  <a:pt x="58" y="224"/>
                </a:lnTo>
                <a:lnTo>
                  <a:pt x="58" y="224"/>
                </a:lnTo>
                <a:lnTo>
                  <a:pt x="55" y="225"/>
                </a:lnTo>
                <a:lnTo>
                  <a:pt x="54" y="226"/>
                </a:lnTo>
                <a:lnTo>
                  <a:pt x="53" y="231"/>
                </a:lnTo>
                <a:lnTo>
                  <a:pt x="53" y="236"/>
                </a:lnTo>
                <a:lnTo>
                  <a:pt x="53" y="241"/>
                </a:lnTo>
                <a:lnTo>
                  <a:pt x="53" y="241"/>
                </a:lnTo>
                <a:lnTo>
                  <a:pt x="53" y="242"/>
                </a:lnTo>
                <a:lnTo>
                  <a:pt x="51" y="243"/>
                </a:lnTo>
                <a:lnTo>
                  <a:pt x="46" y="243"/>
                </a:lnTo>
                <a:lnTo>
                  <a:pt x="40" y="246"/>
                </a:lnTo>
                <a:lnTo>
                  <a:pt x="38" y="248"/>
                </a:lnTo>
                <a:lnTo>
                  <a:pt x="37" y="252"/>
                </a:lnTo>
                <a:lnTo>
                  <a:pt x="37" y="252"/>
                </a:lnTo>
                <a:lnTo>
                  <a:pt x="34" y="256"/>
                </a:lnTo>
                <a:lnTo>
                  <a:pt x="33" y="258"/>
                </a:lnTo>
                <a:lnTo>
                  <a:pt x="28" y="259"/>
                </a:lnTo>
                <a:lnTo>
                  <a:pt x="26" y="261"/>
                </a:lnTo>
                <a:lnTo>
                  <a:pt x="26" y="261"/>
                </a:lnTo>
                <a:lnTo>
                  <a:pt x="28" y="266"/>
                </a:lnTo>
                <a:lnTo>
                  <a:pt x="28" y="266"/>
                </a:lnTo>
                <a:lnTo>
                  <a:pt x="34" y="272"/>
                </a:lnTo>
                <a:lnTo>
                  <a:pt x="37" y="275"/>
                </a:lnTo>
                <a:lnTo>
                  <a:pt x="40" y="275"/>
                </a:lnTo>
                <a:lnTo>
                  <a:pt x="43" y="276"/>
                </a:lnTo>
                <a:lnTo>
                  <a:pt x="43" y="276"/>
                </a:lnTo>
                <a:lnTo>
                  <a:pt x="46" y="278"/>
                </a:lnTo>
                <a:lnTo>
                  <a:pt x="46" y="280"/>
                </a:lnTo>
                <a:lnTo>
                  <a:pt x="43" y="285"/>
                </a:lnTo>
                <a:lnTo>
                  <a:pt x="41" y="289"/>
                </a:lnTo>
                <a:lnTo>
                  <a:pt x="41" y="290"/>
                </a:lnTo>
                <a:lnTo>
                  <a:pt x="43" y="292"/>
                </a:lnTo>
                <a:lnTo>
                  <a:pt x="43" y="292"/>
                </a:lnTo>
                <a:lnTo>
                  <a:pt x="48" y="295"/>
                </a:lnTo>
                <a:lnTo>
                  <a:pt x="53" y="299"/>
                </a:lnTo>
                <a:lnTo>
                  <a:pt x="63" y="310"/>
                </a:lnTo>
                <a:lnTo>
                  <a:pt x="63" y="310"/>
                </a:lnTo>
                <a:lnTo>
                  <a:pt x="64" y="312"/>
                </a:lnTo>
                <a:lnTo>
                  <a:pt x="67" y="312"/>
                </a:lnTo>
                <a:lnTo>
                  <a:pt x="71" y="310"/>
                </a:lnTo>
                <a:lnTo>
                  <a:pt x="75" y="309"/>
                </a:lnTo>
                <a:lnTo>
                  <a:pt x="81" y="307"/>
                </a:lnTo>
                <a:lnTo>
                  <a:pt x="81" y="307"/>
                </a:lnTo>
                <a:lnTo>
                  <a:pt x="84" y="307"/>
                </a:lnTo>
                <a:lnTo>
                  <a:pt x="85" y="306"/>
                </a:lnTo>
                <a:lnTo>
                  <a:pt x="87" y="302"/>
                </a:lnTo>
                <a:lnTo>
                  <a:pt x="87" y="300"/>
                </a:lnTo>
                <a:lnTo>
                  <a:pt x="88" y="300"/>
                </a:lnTo>
                <a:lnTo>
                  <a:pt x="90" y="300"/>
                </a:lnTo>
                <a:lnTo>
                  <a:pt x="90" y="300"/>
                </a:lnTo>
                <a:lnTo>
                  <a:pt x="92" y="305"/>
                </a:lnTo>
                <a:lnTo>
                  <a:pt x="95" y="310"/>
                </a:lnTo>
                <a:lnTo>
                  <a:pt x="97" y="315"/>
                </a:lnTo>
                <a:lnTo>
                  <a:pt x="97" y="317"/>
                </a:lnTo>
                <a:lnTo>
                  <a:pt x="95" y="319"/>
                </a:lnTo>
                <a:lnTo>
                  <a:pt x="95" y="319"/>
                </a:lnTo>
                <a:lnTo>
                  <a:pt x="94" y="322"/>
                </a:lnTo>
                <a:lnTo>
                  <a:pt x="94" y="326"/>
                </a:lnTo>
                <a:lnTo>
                  <a:pt x="94" y="335"/>
                </a:lnTo>
                <a:lnTo>
                  <a:pt x="94" y="335"/>
                </a:lnTo>
                <a:lnTo>
                  <a:pt x="95" y="336"/>
                </a:lnTo>
                <a:lnTo>
                  <a:pt x="97" y="337"/>
                </a:lnTo>
                <a:lnTo>
                  <a:pt x="102" y="337"/>
                </a:lnTo>
                <a:lnTo>
                  <a:pt x="108" y="336"/>
                </a:lnTo>
                <a:lnTo>
                  <a:pt x="111" y="335"/>
                </a:lnTo>
                <a:lnTo>
                  <a:pt x="112" y="333"/>
                </a:lnTo>
                <a:lnTo>
                  <a:pt x="112" y="333"/>
                </a:lnTo>
                <a:lnTo>
                  <a:pt x="112" y="330"/>
                </a:lnTo>
                <a:lnTo>
                  <a:pt x="115" y="330"/>
                </a:lnTo>
                <a:lnTo>
                  <a:pt x="121" y="329"/>
                </a:lnTo>
                <a:lnTo>
                  <a:pt x="128" y="330"/>
                </a:lnTo>
                <a:lnTo>
                  <a:pt x="131" y="332"/>
                </a:lnTo>
                <a:lnTo>
                  <a:pt x="134" y="335"/>
                </a:lnTo>
                <a:lnTo>
                  <a:pt x="134" y="335"/>
                </a:lnTo>
                <a:lnTo>
                  <a:pt x="138" y="339"/>
                </a:lnTo>
                <a:lnTo>
                  <a:pt x="142" y="342"/>
                </a:lnTo>
                <a:lnTo>
                  <a:pt x="144" y="342"/>
                </a:lnTo>
                <a:lnTo>
                  <a:pt x="144" y="337"/>
                </a:lnTo>
                <a:lnTo>
                  <a:pt x="144" y="337"/>
                </a:lnTo>
                <a:lnTo>
                  <a:pt x="145" y="333"/>
                </a:lnTo>
                <a:lnTo>
                  <a:pt x="147" y="329"/>
                </a:lnTo>
                <a:lnTo>
                  <a:pt x="149" y="327"/>
                </a:lnTo>
                <a:lnTo>
                  <a:pt x="151" y="327"/>
                </a:lnTo>
                <a:lnTo>
                  <a:pt x="151" y="329"/>
                </a:lnTo>
                <a:lnTo>
                  <a:pt x="151" y="329"/>
                </a:lnTo>
                <a:lnTo>
                  <a:pt x="152" y="333"/>
                </a:lnTo>
                <a:lnTo>
                  <a:pt x="155" y="335"/>
                </a:lnTo>
                <a:lnTo>
                  <a:pt x="161" y="333"/>
                </a:lnTo>
                <a:lnTo>
                  <a:pt x="168" y="332"/>
                </a:lnTo>
                <a:lnTo>
                  <a:pt x="168" y="332"/>
                </a:lnTo>
                <a:lnTo>
                  <a:pt x="174" y="329"/>
                </a:lnTo>
                <a:lnTo>
                  <a:pt x="175" y="329"/>
                </a:lnTo>
                <a:lnTo>
                  <a:pt x="175" y="330"/>
                </a:lnTo>
                <a:lnTo>
                  <a:pt x="168" y="339"/>
                </a:lnTo>
                <a:lnTo>
                  <a:pt x="168" y="339"/>
                </a:lnTo>
                <a:lnTo>
                  <a:pt x="166" y="343"/>
                </a:lnTo>
                <a:lnTo>
                  <a:pt x="165" y="346"/>
                </a:lnTo>
                <a:lnTo>
                  <a:pt x="165" y="354"/>
                </a:lnTo>
                <a:lnTo>
                  <a:pt x="165" y="362"/>
                </a:lnTo>
                <a:lnTo>
                  <a:pt x="164" y="363"/>
                </a:lnTo>
                <a:lnTo>
                  <a:pt x="162" y="364"/>
                </a:lnTo>
                <a:lnTo>
                  <a:pt x="162" y="364"/>
                </a:lnTo>
                <a:lnTo>
                  <a:pt x="161" y="366"/>
                </a:lnTo>
                <a:lnTo>
                  <a:pt x="158" y="367"/>
                </a:lnTo>
                <a:lnTo>
                  <a:pt x="154" y="373"/>
                </a:lnTo>
                <a:lnTo>
                  <a:pt x="149" y="379"/>
                </a:lnTo>
                <a:lnTo>
                  <a:pt x="147" y="380"/>
                </a:lnTo>
                <a:lnTo>
                  <a:pt x="144" y="381"/>
                </a:lnTo>
                <a:lnTo>
                  <a:pt x="144" y="381"/>
                </a:lnTo>
                <a:lnTo>
                  <a:pt x="139" y="383"/>
                </a:lnTo>
                <a:lnTo>
                  <a:pt x="135" y="384"/>
                </a:lnTo>
                <a:lnTo>
                  <a:pt x="127" y="391"/>
                </a:lnTo>
                <a:lnTo>
                  <a:pt x="117" y="403"/>
                </a:lnTo>
                <a:lnTo>
                  <a:pt x="117" y="403"/>
                </a:lnTo>
                <a:lnTo>
                  <a:pt x="114" y="403"/>
                </a:lnTo>
                <a:lnTo>
                  <a:pt x="112" y="403"/>
                </a:lnTo>
                <a:lnTo>
                  <a:pt x="104" y="401"/>
                </a:lnTo>
                <a:lnTo>
                  <a:pt x="95" y="401"/>
                </a:lnTo>
                <a:lnTo>
                  <a:pt x="92" y="403"/>
                </a:lnTo>
                <a:lnTo>
                  <a:pt x="91" y="406"/>
                </a:lnTo>
                <a:lnTo>
                  <a:pt x="91" y="406"/>
                </a:lnTo>
                <a:lnTo>
                  <a:pt x="88" y="411"/>
                </a:lnTo>
                <a:lnTo>
                  <a:pt x="83" y="416"/>
                </a:lnTo>
                <a:lnTo>
                  <a:pt x="80" y="420"/>
                </a:lnTo>
                <a:lnTo>
                  <a:pt x="78" y="421"/>
                </a:lnTo>
                <a:lnTo>
                  <a:pt x="80" y="423"/>
                </a:lnTo>
                <a:lnTo>
                  <a:pt x="80" y="423"/>
                </a:lnTo>
                <a:lnTo>
                  <a:pt x="84" y="423"/>
                </a:lnTo>
                <a:lnTo>
                  <a:pt x="90" y="420"/>
                </a:lnTo>
                <a:lnTo>
                  <a:pt x="95" y="416"/>
                </a:lnTo>
                <a:lnTo>
                  <a:pt x="98" y="413"/>
                </a:lnTo>
                <a:lnTo>
                  <a:pt x="98" y="413"/>
                </a:lnTo>
                <a:lnTo>
                  <a:pt x="100" y="410"/>
                </a:lnTo>
                <a:lnTo>
                  <a:pt x="101" y="410"/>
                </a:lnTo>
                <a:lnTo>
                  <a:pt x="104" y="411"/>
                </a:lnTo>
                <a:lnTo>
                  <a:pt x="104" y="411"/>
                </a:lnTo>
                <a:lnTo>
                  <a:pt x="107" y="413"/>
                </a:lnTo>
                <a:lnTo>
                  <a:pt x="111" y="413"/>
                </a:lnTo>
                <a:lnTo>
                  <a:pt x="118" y="407"/>
                </a:lnTo>
                <a:lnTo>
                  <a:pt x="118" y="407"/>
                </a:lnTo>
                <a:lnTo>
                  <a:pt x="121" y="406"/>
                </a:lnTo>
                <a:lnTo>
                  <a:pt x="124" y="406"/>
                </a:lnTo>
                <a:lnTo>
                  <a:pt x="129" y="406"/>
                </a:lnTo>
                <a:lnTo>
                  <a:pt x="129" y="406"/>
                </a:lnTo>
                <a:lnTo>
                  <a:pt x="131" y="406"/>
                </a:lnTo>
                <a:lnTo>
                  <a:pt x="134" y="404"/>
                </a:lnTo>
                <a:lnTo>
                  <a:pt x="138" y="403"/>
                </a:lnTo>
                <a:lnTo>
                  <a:pt x="144" y="400"/>
                </a:lnTo>
                <a:lnTo>
                  <a:pt x="144" y="400"/>
                </a:lnTo>
                <a:lnTo>
                  <a:pt x="149" y="399"/>
                </a:lnTo>
                <a:lnTo>
                  <a:pt x="151" y="397"/>
                </a:lnTo>
                <a:lnTo>
                  <a:pt x="154" y="391"/>
                </a:lnTo>
                <a:lnTo>
                  <a:pt x="154" y="391"/>
                </a:lnTo>
                <a:lnTo>
                  <a:pt x="158" y="386"/>
                </a:lnTo>
                <a:lnTo>
                  <a:pt x="166" y="381"/>
                </a:lnTo>
                <a:lnTo>
                  <a:pt x="182" y="374"/>
                </a:lnTo>
                <a:lnTo>
                  <a:pt x="182" y="374"/>
                </a:lnTo>
                <a:lnTo>
                  <a:pt x="185" y="373"/>
                </a:lnTo>
                <a:lnTo>
                  <a:pt x="185" y="370"/>
                </a:lnTo>
                <a:lnTo>
                  <a:pt x="186" y="367"/>
                </a:lnTo>
                <a:lnTo>
                  <a:pt x="189" y="366"/>
                </a:lnTo>
                <a:lnTo>
                  <a:pt x="189" y="366"/>
                </a:lnTo>
                <a:lnTo>
                  <a:pt x="192" y="364"/>
                </a:lnTo>
                <a:lnTo>
                  <a:pt x="196" y="362"/>
                </a:lnTo>
                <a:lnTo>
                  <a:pt x="206" y="354"/>
                </a:lnTo>
                <a:lnTo>
                  <a:pt x="206" y="354"/>
                </a:lnTo>
                <a:lnTo>
                  <a:pt x="211" y="352"/>
                </a:lnTo>
                <a:lnTo>
                  <a:pt x="213" y="352"/>
                </a:lnTo>
                <a:lnTo>
                  <a:pt x="219" y="350"/>
                </a:lnTo>
                <a:lnTo>
                  <a:pt x="219" y="350"/>
                </a:lnTo>
                <a:lnTo>
                  <a:pt x="220" y="349"/>
                </a:lnTo>
                <a:lnTo>
                  <a:pt x="220" y="347"/>
                </a:lnTo>
                <a:lnTo>
                  <a:pt x="222" y="344"/>
                </a:lnTo>
                <a:lnTo>
                  <a:pt x="222" y="340"/>
                </a:lnTo>
                <a:lnTo>
                  <a:pt x="223" y="339"/>
                </a:lnTo>
                <a:lnTo>
                  <a:pt x="225" y="339"/>
                </a:lnTo>
                <a:lnTo>
                  <a:pt x="225" y="339"/>
                </a:lnTo>
                <a:lnTo>
                  <a:pt x="228" y="337"/>
                </a:lnTo>
                <a:lnTo>
                  <a:pt x="230" y="336"/>
                </a:lnTo>
                <a:lnTo>
                  <a:pt x="232" y="333"/>
                </a:lnTo>
                <a:lnTo>
                  <a:pt x="232" y="330"/>
                </a:lnTo>
                <a:lnTo>
                  <a:pt x="232" y="330"/>
                </a:lnTo>
                <a:lnTo>
                  <a:pt x="232" y="329"/>
                </a:lnTo>
                <a:lnTo>
                  <a:pt x="230" y="327"/>
                </a:lnTo>
                <a:lnTo>
                  <a:pt x="226" y="326"/>
                </a:lnTo>
                <a:lnTo>
                  <a:pt x="222" y="325"/>
                </a:lnTo>
                <a:lnTo>
                  <a:pt x="219" y="323"/>
                </a:lnTo>
                <a:lnTo>
                  <a:pt x="219" y="323"/>
                </a:lnTo>
                <a:lnTo>
                  <a:pt x="220" y="320"/>
                </a:lnTo>
                <a:lnTo>
                  <a:pt x="225" y="317"/>
                </a:lnTo>
                <a:lnTo>
                  <a:pt x="229" y="313"/>
                </a:lnTo>
                <a:lnTo>
                  <a:pt x="233" y="312"/>
                </a:lnTo>
                <a:lnTo>
                  <a:pt x="233" y="312"/>
                </a:lnTo>
                <a:lnTo>
                  <a:pt x="236" y="312"/>
                </a:lnTo>
                <a:lnTo>
                  <a:pt x="239" y="310"/>
                </a:lnTo>
                <a:lnTo>
                  <a:pt x="242" y="306"/>
                </a:lnTo>
                <a:lnTo>
                  <a:pt x="243" y="303"/>
                </a:lnTo>
                <a:lnTo>
                  <a:pt x="243" y="303"/>
                </a:lnTo>
                <a:lnTo>
                  <a:pt x="245" y="299"/>
                </a:lnTo>
                <a:lnTo>
                  <a:pt x="248" y="296"/>
                </a:lnTo>
                <a:lnTo>
                  <a:pt x="255" y="290"/>
                </a:lnTo>
                <a:lnTo>
                  <a:pt x="255" y="290"/>
                </a:lnTo>
                <a:lnTo>
                  <a:pt x="256" y="288"/>
                </a:lnTo>
                <a:lnTo>
                  <a:pt x="257" y="285"/>
                </a:lnTo>
                <a:lnTo>
                  <a:pt x="260" y="282"/>
                </a:lnTo>
                <a:lnTo>
                  <a:pt x="262" y="282"/>
                </a:lnTo>
                <a:lnTo>
                  <a:pt x="262" y="282"/>
                </a:lnTo>
                <a:lnTo>
                  <a:pt x="266" y="280"/>
                </a:lnTo>
                <a:lnTo>
                  <a:pt x="269" y="278"/>
                </a:lnTo>
                <a:lnTo>
                  <a:pt x="276" y="272"/>
                </a:lnTo>
                <a:lnTo>
                  <a:pt x="276" y="272"/>
                </a:lnTo>
                <a:lnTo>
                  <a:pt x="279" y="270"/>
                </a:lnTo>
                <a:lnTo>
                  <a:pt x="279" y="272"/>
                </a:lnTo>
                <a:lnTo>
                  <a:pt x="280" y="275"/>
                </a:lnTo>
                <a:lnTo>
                  <a:pt x="286" y="276"/>
                </a:lnTo>
                <a:lnTo>
                  <a:pt x="286" y="276"/>
                </a:lnTo>
                <a:lnTo>
                  <a:pt x="289" y="276"/>
                </a:lnTo>
                <a:lnTo>
                  <a:pt x="290" y="278"/>
                </a:lnTo>
                <a:lnTo>
                  <a:pt x="292" y="279"/>
                </a:lnTo>
                <a:lnTo>
                  <a:pt x="292" y="280"/>
                </a:lnTo>
                <a:lnTo>
                  <a:pt x="290" y="282"/>
                </a:lnTo>
                <a:lnTo>
                  <a:pt x="289" y="282"/>
                </a:lnTo>
                <a:lnTo>
                  <a:pt x="286" y="282"/>
                </a:lnTo>
                <a:lnTo>
                  <a:pt x="286" y="282"/>
                </a:lnTo>
                <a:lnTo>
                  <a:pt x="282" y="280"/>
                </a:lnTo>
                <a:lnTo>
                  <a:pt x="277" y="280"/>
                </a:lnTo>
                <a:lnTo>
                  <a:pt x="273" y="282"/>
                </a:lnTo>
                <a:lnTo>
                  <a:pt x="269" y="285"/>
                </a:lnTo>
                <a:lnTo>
                  <a:pt x="269" y="285"/>
                </a:lnTo>
                <a:lnTo>
                  <a:pt x="266" y="289"/>
                </a:lnTo>
                <a:lnTo>
                  <a:pt x="266" y="292"/>
                </a:lnTo>
                <a:lnTo>
                  <a:pt x="265" y="295"/>
                </a:lnTo>
                <a:lnTo>
                  <a:pt x="263" y="299"/>
                </a:lnTo>
                <a:lnTo>
                  <a:pt x="263" y="299"/>
                </a:lnTo>
                <a:lnTo>
                  <a:pt x="260" y="305"/>
                </a:lnTo>
                <a:lnTo>
                  <a:pt x="259" y="307"/>
                </a:lnTo>
                <a:lnTo>
                  <a:pt x="260" y="310"/>
                </a:lnTo>
                <a:lnTo>
                  <a:pt x="265" y="312"/>
                </a:lnTo>
                <a:lnTo>
                  <a:pt x="265" y="312"/>
                </a:lnTo>
                <a:lnTo>
                  <a:pt x="266" y="312"/>
                </a:lnTo>
                <a:lnTo>
                  <a:pt x="266" y="315"/>
                </a:lnTo>
                <a:lnTo>
                  <a:pt x="263" y="316"/>
                </a:lnTo>
                <a:lnTo>
                  <a:pt x="259" y="319"/>
                </a:lnTo>
                <a:lnTo>
                  <a:pt x="259" y="319"/>
                </a:lnTo>
                <a:lnTo>
                  <a:pt x="256" y="320"/>
                </a:lnTo>
                <a:lnTo>
                  <a:pt x="256" y="322"/>
                </a:lnTo>
                <a:lnTo>
                  <a:pt x="259" y="323"/>
                </a:lnTo>
                <a:lnTo>
                  <a:pt x="265" y="323"/>
                </a:lnTo>
                <a:lnTo>
                  <a:pt x="265" y="323"/>
                </a:lnTo>
                <a:lnTo>
                  <a:pt x="272" y="322"/>
                </a:lnTo>
                <a:lnTo>
                  <a:pt x="279" y="317"/>
                </a:lnTo>
                <a:lnTo>
                  <a:pt x="287" y="312"/>
                </a:lnTo>
                <a:lnTo>
                  <a:pt x="296" y="306"/>
                </a:lnTo>
                <a:lnTo>
                  <a:pt x="296" y="306"/>
                </a:lnTo>
                <a:lnTo>
                  <a:pt x="304" y="303"/>
                </a:lnTo>
                <a:lnTo>
                  <a:pt x="312" y="305"/>
                </a:lnTo>
                <a:lnTo>
                  <a:pt x="316" y="305"/>
                </a:lnTo>
                <a:lnTo>
                  <a:pt x="320" y="305"/>
                </a:lnTo>
                <a:lnTo>
                  <a:pt x="320" y="305"/>
                </a:lnTo>
                <a:lnTo>
                  <a:pt x="320" y="303"/>
                </a:lnTo>
                <a:lnTo>
                  <a:pt x="320" y="302"/>
                </a:lnTo>
                <a:lnTo>
                  <a:pt x="319" y="299"/>
                </a:lnTo>
                <a:lnTo>
                  <a:pt x="320" y="298"/>
                </a:lnTo>
                <a:lnTo>
                  <a:pt x="320" y="298"/>
                </a:lnTo>
                <a:lnTo>
                  <a:pt x="320" y="296"/>
                </a:lnTo>
                <a:lnTo>
                  <a:pt x="319" y="295"/>
                </a:lnTo>
                <a:lnTo>
                  <a:pt x="316" y="292"/>
                </a:lnTo>
                <a:lnTo>
                  <a:pt x="313" y="288"/>
                </a:lnTo>
                <a:lnTo>
                  <a:pt x="313" y="288"/>
                </a:lnTo>
                <a:lnTo>
                  <a:pt x="313" y="285"/>
                </a:lnTo>
                <a:lnTo>
                  <a:pt x="314" y="283"/>
                </a:lnTo>
                <a:lnTo>
                  <a:pt x="316" y="282"/>
                </a:lnTo>
                <a:lnTo>
                  <a:pt x="319" y="279"/>
                </a:lnTo>
                <a:lnTo>
                  <a:pt x="319" y="279"/>
                </a:lnTo>
                <a:lnTo>
                  <a:pt x="320" y="278"/>
                </a:lnTo>
                <a:lnTo>
                  <a:pt x="322" y="276"/>
                </a:lnTo>
                <a:lnTo>
                  <a:pt x="327" y="279"/>
                </a:lnTo>
                <a:lnTo>
                  <a:pt x="327" y="279"/>
                </a:lnTo>
                <a:lnTo>
                  <a:pt x="330" y="279"/>
                </a:lnTo>
                <a:lnTo>
                  <a:pt x="333" y="279"/>
                </a:lnTo>
                <a:lnTo>
                  <a:pt x="336" y="280"/>
                </a:lnTo>
                <a:lnTo>
                  <a:pt x="339" y="283"/>
                </a:lnTo>
                <a:lnTo>
                  <a:pt x="339" y="283"/>
                </a:lnTo>
                <a:lnTo>
                  <a:pt x="340" y="285"/>
                </a:lnTo>
                <a:lnTo>
                  <a:pt x="341" y="286"/>
                </a:lnTo>
                <a:lnTo>
                  <a:pt x="344" y="285"/>
                </a:lnTo>
                <a:lnTo>
                  <a:pt x="347" y="285"/>
                </a:lnTo>
                <a:lnTo>
                  <a:pt x="349" y="285"/>
                </a:lnTo>
                <a:lnTo>
                  <a:pt x="351" y="286"/>
                </a:lnTo>
                <a:lnTo>
                  <a:pt x="351" y="286"/>
                </a:lnTo>
                <a:lnTo>
                  <a:pt x="353" y="289"/>
                </a:lnTo>
                <a:lnTo>
                  <a:pt x="351" y="290"/>
                </a:lnTo>
                <a:lnTo>
                  <a:pt x="344" y="292"/>
                </a:lnTo>
                <a:lnTo>
                  <a:pt x="344" y="292"/>
                </a:lnTo>
                <a:lnTo>
                  <a:pt x="343" y="292"/>
                </a:lnTo>
                <a:lnTo>
                  <a:pt x="341" y="293"/>
                </a:lnTo>
                <a:lnTo>
                  <a:pt x="341" y="296"/>
                </a:lnTo>
                <a:lnTo>
                  <a:pt x="343" y="298"/>
                </a:lnTo>
                <a:lnTo>
                  <a:pt x="344" y="298"/>
                </a:lnTo>
                <a:lnTo>
                  <a:pt x="346" y="298"/>
                </a:lnTo>
                <a:lnTo>
                  <a:pt x="346" y="298"/>
                </a:lnTo>
                <a:lnTo>
                  <a:pt x="349" y="295"/>
                </a:lnTo>
                <a:lnTo>
                  <a:pt x="353" y="293"/>
                </a:lnTo>
                <a:lnTo>
                  <a:pt x="356" y="293"/>
                </a:lnTo>
                <a:lnTo>
                  <a:pt x="358" y="295"/>
                </a:lnTo>
                <a:lnTo>
                  <a:pt x="358" y="295"/>
                </a:lnTo>
                <a:lnTo>
                  <a:pt x="361" y="296"/>
                </a:lnTo>
                <a:lnTo>
                  <a:pt x="364" y="296"/>
                </a:lnTo>
                <a:lnTo>
                  <a:pt x="368" y="293"/>
                </a:lnTo>
                <a:lnTo>
                  <a:pt x="368" y="293"/>
                </a:lnTo>
                <a:lnTo>
                  <a:pt x="370" y="292"/>
                </a:lnTo>
                <a:lnTo>
                  <a:pt x="371" y="292"/>
                </a:lnTo>
                <a:lnTo>
                  <a:pt x="371" y="296"/>
                </a:lnTo>
                <a:lnTo>
                  <a:pt x="371" y="296"/>
                </a:lnTo>
                <a:lnTo>
                  <a:pt x="373" y="298"/>
                </a:lnTo>
                <a:lnTo>
                  <a:pt x="377" y="299"/>
                </a:lnTo>
                <a:lnTo>
                  <a:pt x="390" y="302"/>
                </a:lnTo>
                <a:lnTo>
                  <a:pt x="390" y="302"/>
                </a:lnTo>
                <a:lnTo>
                  <a:pt x="400" y="303"/>
                </a:lnTo>
                <a:lnTo>
                  <a:pt x="410" y="302"/>
                </a:lnTo>
                <a:lnTo>
                  <a:pt x="425" y="300"/>
                </a:lnTo>
                <a:lnTo>
                  <a:pt x="425" y="300"/>
                </a:lnTo>
                <a:lnTo>
                  <a:pt x="428" y="302"/>
                </a:lnTo>
                <a:lnTo>
                  <a:pt x="430" y="305"/>
                </a:lnTo>
                <a:lnTo>
                  <a:pt x="432" y="307"/>
                </a:lnTo>
                <a:lnTo>
                  <a:pt x="440" y="310"/>
                </a:lnTo>
                <a:lnTo>
                  <a:pt x="440" y="310"/>
                </a:lnTo>
                <a:lnTo>
                  <a:pt x="442" y="310"/>
                </a:lnTo>
                <a:lnTo>
                  <a:pt x="445" y="310"/>
                </a:lnTo>
                <a:lnTo>
                  <a:pt x="451" y="306"/>
                </a:lnTo>
                <a:lnTo>
                  <a:pt x="455" y="303"/>
                </a:lnTo>
                <a:lnTo>
                  <a:pt x="457" y="303"/>
                </a:lnTo>
                <a:lnTo>
                  <a:pt x="458" y="305"/>
                </a:lnTo>
                <a:lnTo>
                  <a:pt x="458" y="305"/>
                </a:lnTo>
                <a:lnTo>
                  <a:pt x="461" y="307"/>
                </a:lnTo>
                <a:lnTo>
                  <a:pt x="461" y="309"/>
                </a:lnTo>
                <a:lnTo>
                  <a:pt x="455" y="315"/>
                </a:lnTo>
                <a:lnTo>
                  <a:pt x="455" y="315"/>
                </a:lnTo>
                <a:lnTo>
                  <a:pt x="455" y="316"/>
                </a:lnTo>
                <a:lnTo>
                  <a:pt x="457" y="317"/>
                </a:lnTo>
                <a:lnTo>
                  <a:pt x="464" y="320"/>
                </a:lnTo>
                <a:lnTo>
                  <a:pt x="464" y="320"/>
                </a:lnTo>
                <a:lnTo>
                  <a:pt x="472" y="323"/>
                </a:lnTo>
                <a:lnTo>
                  <a:pt x="478" y="326"/>
                </a:lnTo>
                <a:lnTo>
                  <a:pt x="482" y="329"/>
                </a:lnTo>
                <a:lnTo>
                  <a:pt x="482" y="329"/>
                </a:lnTo>
                <a:lnTo>
                  <a:pt x="489" y="336"/>
                </a:lnTo>
                <a:lnTo>
                  <a:pt x="494" y="340"/>
                </a:lnTo>
                <a:lnTo>
                  <a:pt x="501" y="344"/>
                </a:lnTo>
                <a:lnTo>
                  <a:pt x="501" y="344"/>
                </a:lnTo>
                <a:lnTo>
                  <a:pt x="504" y="346"/>
                </a:lnTo>
                <a:lnTo>
                  <a:pt x="506" y="344"/>
                </a:lnTo>
                <a:lnTo>
                  <a:pt x="506" y="343"/>
                </a:lnTo>
                <a:lnTo>
                  <a:pt x="506" y="340"/>
                </a:lnTo>
                <a:lnTo>
                  <a:pt x="506" y="336"/>
                </a:lnTo>
                <a:lnTo>
                  <a:pt x="508" y="336"/>
                </a:lnTo>
                <a:lnTo>
                  <a:pt x="511" y="336"/>
                </a:lnTo>
                <a:lnTo>
                  <a:pt x="511" y="336"/>
                </a:lnTo>
                <a:lnTo>
                  <a:pt x="515" y="339"/>
                </a:lnTo>
                <a:lnTo>
                  <a:pt x="518" y="340"/>
                </a:lnTo>
                <a:lnTo>
                  <a:pt x="519" y="340"/>
                </a:lnTo>
                <a:lnTo>
                  <a:pt x="524" y="343"/>
                </a:lnTo>
                <a:lnTo>
                  <a:pt x="524" y="343"/>
                </a:lnTo>
                <a:lnTo>
                  <a:pt x="526" y="346"/>
                </a:lnTo>
                <a:lnTo>
                  <a:pt x="528" y="344"/>
                </a:lnTo>
                <a:lnTo>
                  <a:pt x="528" y="343"/>
                </a:lnTo>
                <a:lnTo>
                  <a:pt x="525" y="330"/>
                </a:lnTo>
                <a:lnTo>
                  <a:pt x="525" y="330"/>
                </a:lnTo>
                <a:lnTo>
                  <a:pt x="524" y="325"/>
                </a:lnTo>
                <a:lnTo>
                  <a:pt x="524" y="325"/>
                </a:lnTo>
                <a:lnTo>
                  <a:pt x="525" y="325"/>
                </a:lnTo>
                <a:lnTo>
                  <a:pt x="531" y="332"/>
                </a:lnTo>
                <a:lnTo>
                  <a:pt x="531" y="332"/>
                </a:lnTo>
                <a:lnTo>
                  <a:pt x="532" y="336"/>
                </a:lnTo>
                <a:lnTo>
                  <a:pt x="533" y="342"/>
                </a:lnTo>
                <a:lnTo>
                  <a:pt x="533" y="347"/>
                </a:lnTo>
                <a:lnTo>
                  <a:pt x="532" y="352"/>
                </a:lnTo>
                <a:lnTo>
                  <a:pt x="532" y="352"/>
                </a:lnTo>
                <a:lnTo>
                  <a:pt x="531" y="354"/>
                </a:lnTo>
                <a:lnTo>
                  <a:pt x="529" y="354"/>
                </a:lnTo>
                <a:lnTo>
                  <a:pt x="525" y="354"/>
                </a:lnTo>
                <a:lnTo>
                  <a:pt x="521" y="353"/>
                </a:lnTo>
                <a:lnTo>
                  <a:pt x="521" y="352"/>
                </a:lnTo>
                <a:lnTo>
                  <a:pt x="521" y="350"/>
                </a:lnTo>
                <a:lnTo>
                  <a:pt x="521" y="350"/>
                </a:lnTo>
                <a:lnTo>
                  <a:pt x="519" y="349"/>
                </a:lnTo>
                <a:lnTo>
                  <a:pt x="519" y="347"/>
                </a:lnTo>
                <a:lnTo>
                  <a:pt x="515" y="347"/>
                </a:lnTo>
                <a:lnTo>
                  <a:pt x="511" y="350"/>
                </a:lnTo>
                <a:lnTo>
                  <a:pt x="509" y="350"/>
                </a:lnTo>
                <a:lnTo>
                  <a:pt x="509" y="353"/>
                </a:lnTo>
                <a:lnTo>
                  <a:pt x="509" y="353"/>
                </a:lnTo>
                <a:lnTo>
                  <a:pt x="511" y="357"/>
                </a:lnTo>
                <a:lnTo>
                  <a:pt x="514" y="362"/>
                </a:lnTo>
                <a:lnTo>
                  <a:pt x="518" y="366"/>
                </a:lnTo>
                <a:lnTo>
                  <a:pt x="522" y="369"/>
                </a:lnTo>
                <a:lnTo>
                  <a:pt x="522" y="369"/>
                </a:lnTo>
                <a:lnTo>
                  <a:pt x="524" y="369"/>
                </a:lnTo>
                <a:lnTo>
                  <a:pt x="525" y="370"/>
                </a:lnTo>
                <a:lnTo>
                  <a:pt x="525" y="374"/>
                </a:lnTo>
                <a:lnTo>
                  <a:pt x="526" y="377"/>
                </a:lnTo>
                <a:lnTo>
                  <a:pt x="528" y="379"/>
                </a:lnTo>
                <a:lnTo>
                  <a:pt x="528" y="379"/>
                </a:lnTo>
                <a:lnTo>
                  <a:pt x="531" y="381"/>
                </a:lnTo>
                <a:lnTo>
                  <a:pt x="532" y="384"/>
                </a:lnTo>
                <a:lnTo>
                  <a:pt x="533" y="387"/>
                </a:lnTo>
                <a:lnTo>
                  <a:pt x="533" y="389"/>
                </a:lnTo>
                <a:lnTo>
                  <a:pt x="535" y="389"/>
                </a:lnTo>
                <a:lnTo>
                  <a:pt x="535" y="389"/>
                </a:lnTo>
                <a:lnTo>
                  <a:pt x="536" y="386"/>
                </a:lnTo>
                <a:lnTo>
                  <a:pt x="536" y="381"/>
                </a:lnTo>
                <a:lnTo>
                  <a:pt x="535" y="376"/>
                </a:lnTo>
                <a:lnTo>
                  <a:pt x="533" y="371"/>
                </a:lnTo>
                <a:lnTo>
                  <a:pt x="533" y="371"/>
                </a:lnTo>
                <a:lnTo>
                  <a:pt x="532" y="367"/>
                </a:lnTo>
                <a:lnTo>
                  <a:pt x="532" y="363"/>
                </a:lnTo>
                <a:lnTo>
                  <a:pt x="533" y="360"/>
                </a:lnTo>
                <a:lnTo>
                  <a:pt x="536" y="360"/>
                </a:lnTo>
                <a:lnTo>
                  <a:pt x="536" y="360"/>
                </a:lnTo>
                <a:lnTo>
                  <a:pt x="538" y="363"/>
                </a:lnTo>
                <a:lnTo>
                  <a:pt x="538" y="366"/>
                </a:lnTo>
                <a:lnTo>
                  <a:pt x="538" y="369"/>
                </a:lnTo>
                <a:lnTo>
                  <a:pt x="538" y="371"/>
                </a:lnTo>
                <a:lnTo>
                  <a:pt x="538" y="371"/>
                </a:lnTo>
                <a:lnTo>
                  <a:pt x="539" y="373"/>
                </a:lnTo>
                <a:lnTo>
                  <a:pt x="542" y="371"/>
                </a:lnTo>
                <a:lnTo>
                  <a:pt x="548" y="366"/>
                </a:lnTo>
                <a:lnTo>
                  <a:pt x="548" y="366"/>
                </a:lnTo>
                <a:lnTo>
                  <a:pt x="549" y="366"/>
                </a:lnTo>
                <a:lnTo>
                  <a:pt x="549" y="363"/>
                </a:lnTo>
                <a:lnTo>
                  <a:pt x="549" y="359"/>
                </a:lnTo>
                <a:lnTo>
                  <a:pt x="548" y="354"/>
                </a:lnTo>
                <a:lnTo>
                  <a:pt x="548" y="352"/>
                </a:lnTo>
                <a:lnTo>
                  <a:pt x="548" y="352"/>
                </a:lnTo>
                <a:lnTo>
                  <a:pt x="548" y="350"/>
                </a:lnTo>
                <a:lnTo>
                  <a:pt x="549" y="350"/>
                </a:lnTo>
                <a:lnTo>
                  <a:pt x="552" y="352"/>
                </a:lnTo>
                <a:lnTo>
                  <a:pt x="555" y="357"/>
                </a:lnTo>
                <a:lnTo>
                  <a:pt x="556" y="362"/>
                </a:lnTo>
                <a:lnTo>
                  <a:pt x="556" y="362"/>
                </a:lnTo>
                <a:lnTo>
                  <a:pt x="556" y="366"/>
                </a:lnTo>
                <a:lnTo>
                  <a:pt x="555" y="369"/>
                </a:lnTo>
                <a:lnTo>
                  <a:pt x="552" y="371"/>
                </a:lnTo>
                <a:lnTo>
                  <a:pt x="552" y="373"/>
                </a:lnTo>
                <a:lnTo>
                  <a:pt x="552" y="373"/>
                </a:lnTo>
                <a:lnTo>
                  <a:pt x="551" y="376"/>
                </a:lnTo>
                <a:lnTo>
                  <a:pt x="548" y="376"/>
                </a:lnTo>
                <a:lnTo>
                  <a:pt x="545" y="376"/>
                </a:lnTo>
                <a:lnTo>
                  <a:pt x="542" y="377"/>
                </a:lnTo>
                <a:lnTo>
                  <a:pt x="542" y="377"/>
                </a:lnTo>
                <a:lnTo>
                  <a:pt x="542" y="381"/>
                </a:lnTo>
                <a:lnTo>
                  <a:pt x="542" y="387"/>
                </a:lnTo>
                <a:lnTo>
                  <a:pt x="542" y="391"/>
                </a:lnTo>
                <a:lnTo>
                  <a:pt x="545" y="394"/>
                </a:lnTo>
                <a:lnTo>
                  <a:pt x="545" y="394"/>
                </a:lnTo>
                <a:lnTo>
                  <a:pt x="546" y="393"/>
                </a:lnTo>
                <a:lnTo>
                  <a:pt x="548" y="389"/>
                </a:lnTo>
                <a:lnTo>
                  <a:pt x="549" y="387"/>
                </a:lnTo>
                <a:lnTo>
                  <a:pt x="551" y="387"/>
                </a:lnTo>
                <a:lnTo>
                  <a:pt x="551" y="389"/>
                </a:lnTo>
                <a:lnTo>
                  <a:pt x="551" y="389"/>
                </a:lnTo>
                <a:lnTo>
                  <a:pt x="552" y="390"/>
                </a:lnTo>
                <a:lnTo>
                  <a:pt x="553" y="390"/>
                </a:lnTo>
                <a:lnTo>
                  <a:pt x="556" y="387"/>
                </a:lnTo>
                <a:lnTo>
                  <a:pt x="559" y="386"/>
                </a:lnTo>
                <a:lnTo>
                  <a:pt x="560" y="386"/>
                </a:lnTo>
                <a:lnTo>
                  <a:pt x="560" y="386"/>
                </a:lnTo>
                <a:lnTo>
                  <a:pt x="560" y="386"/>
                </a:lnTo>
                <a:lnTo>
                  <a:pt x="563" y="390"/>
                </a:lnTo>
                <a:lnTo>
                  <a:pt x="568" y="394"/>
                </a:lnTo>
                <a:lnTo>
                  <a:pt x="572" y="397"/>
                </a:lnTo>
                <a:lnTo>
                  <a:pt x="575" y="397"/>
                </a:lnTo>
                <a:lnTo>
                  <a:pt x="575" y="397"/>
                </a:lnTo>
                <a:lnTo>
                  <a:pt x="576" y="396"/>
                </a:lnTo>
                <a:lnTo>
                  <a:pt x="575" y="393"/>
                </a:lnTo>
                <a:lnTo>
                  <a:pt x="572" y="390"/>
                </a:lnTo>
                <a:lnTo>
                  <a:pt x="568" y="389"/>
                </a:lnTo>
                <a:lnTo>
                  <a:pt x="568" y="389"/>
                </a:lnTo>
                <a:lnTo>
                  <a:pt x="565" y="387"/>
                </a:lnTo>
                <a:lnTo>
                  <a:pt x="565" y="384"/>
                </a:lnTo>
                <a:lnTo>
                  <a:pt x="566" y="381"/>
                </a:lnTo>
                <a:lnTo>
                  <a:pt x="569" y="380"/>
                </a:lnTo>
                <a:lnTo>
                  <a:pt x="569" y="380"/>
                </a:lnTo>
                <a:lnTo>
                  <a:pt x="572" y="381"/>
                </a:lnTo>
                <a:lnTo>
                  <a:pt x="576" y="387"/>
                </a:lnTo>
                <a:lnTo>
                  <a:pt x="580" y="391"/>
                </a:lnTo>
                <a:lnTo>
                  <a:pt x="580" y="396"/>
                </a:lnTo>
                <a:lnTo>
                  <a:pt x="580" y="396"/>
                </a:lnTo>
                <a:lnTo>
                  <a:pt x="580" y="399"/>
                </a:lnTo>
                <a:lnTo>
                  <a:pt x="578" y="400"/>
                </a:lnTo>
                <a:lnTo>
                  <a:pt x="573" y="404"/>
                </a:lnTo>
                <a:lnTo>
                  <a:pt x="573" y="404"/>
                </a:lnTo>
                <a:lnTo>
                  <a:pt x="572" y="406"/>
                </a:lnTo>
                <a:lnTo>
                  <a:pt x="569" y="406"/>
                </a:lnTo>
                <a:lnTo>
                  <a:pt x="566" y="403"/>
                </a:lnTo>
                <a:lnTo>
                  <a:pt x="562" y="399"/>
                </a:lnTo>
                <a:lnTo>
                  <a:pt x="559" y="397"/>
                </a:lnTo>
                <a:lnTo>
                  <a:pt x="559" y="397"/>
                </a:lnTo>
                <a:lnTo>
                  <a:pt x="558" y="399"/>
                </a:lnTo>
                <a:lnTo>
                  <a:pt x="558" y="399"/>
                </a:lnTo>
                <a:lnTo>
                  <a:pt x="558" y="403"/>
                </a:lnTo>
                <a:lnTo>
                  <a:pt x="560" y="410"/>
                </a:lnTo>
                <a:lnTo>
                  <a:pt x="560" y="410"/>
                </a:lnTo>
                <a:lnTo>
                  <a:pt x="560" y="414"/>
                </a:lnTo>
                <a:lnTo>
                  <a:pt x="559" y="418"/>
                </a:lnTo>
                <a:lnTo>
                  <a:pt x="559" y="423"/>
                </a:lnTo>
                <a:lnTo>
                  <a:pt x="559" y="424"/>
                </a:lnTo>
                <a:lnTo>
                  <a:pt x="562" y="426"/>
                </a:lnTo>
                <a:lnTo>
                  <a:pt x="562" y="426"/>
                </a:lnTo>
                <a:lnTo>
                  <a:pt x="565" y="427"/>
                </a:lnTo>
                <a:lnTo>
                  <a:pt x="566" y="426"/>
                </a:lnTo>
                <a:lnTo>
                  <a:pt x="566" y="420"/>
                </a:lnTo>
                <a:lnTo>
                  <a:pt x="566" y="420"/>
                </a:lnTo>
                <a:lnTo>
                  <a:pt x="568" y="420"/>
                </a:lnTo>
                <a:lnTo>
                  <a:pt x="570" y="420"/>
                </a:lnTo>
                <a:lnTo>
                  <a:pt x="576" y="424"/>
                </a:lnTo>
                <a:lnTo>
                  <a:pt x="576" y="424"/>
                </a:lnTo>
                <a:lnTo>
                  <a:pt x="578" y="424"/>
                </a:lnTo>
                <a:lnTo>
                  <a:pt x="579" y="421"/>
                </a:lnTo>
                <a:lnTo>
                  <a:pt x="579" y="414"/>
                </a:lnTo>
                <a:lnTo>
                  <a:pt x="579" y="414"/>
                </a:lnTo>
                <a:lnTo>
                  <a:pt x="580" y="413"/>
                </a:lnTo>
                <a:lnTo>
                  <a:pt x="582" y="413"/>
                </a:lnTo>
                <a:lnTo>
                  <a:pt x="585" y="416"/>
                </a:lnTo>
                <a:lnTo>
                  <a:pt x="588" y="417"/>
                </a:lnTo>
                <a:lnTo>
                  <a:pt x="588" y="417"/>
                </a:lnTo>
                <a:lnTo>
                  <a:pt x="589" y="418"/>
                </a:lnTo>
                <a:lnTo>
                  <a:pt x="590" y="417"/>
                </a:lnTo>
                <a:lnTo>
                  <a:pt x="592" y="414"/>
                </a:lnTo>
                <a:lnTo>
                  <a:pt x="595" y="414"/>
                </a:lnTo>
                <a:lnTo>
                  <a:pt x="595" y="414"/>
                </a:lnTo>
                <a:lnTo>
                  <a:pt x="597" y="416"/>
                </a:lnTo>
                <a:lnTo>
                  <a:pt x="597" y="418"/>
                </a:lnTo>
                <a:lnTo>
                  <a:pt x="596" y="426"/>
                </a:lnTo>
                <a:lnTo>
                  <a:pt x="596" y="426"/>
                </a:lnTo>
                <a:lnTo>
                  <a:pt x="596" y="426"/>
                </a:lnTo>
                <a:lnTo>
                  <a:pt x="597" y="427"/>
                </a:lnTo>
                <a:lnTo>
                  <a:pt x="600" y="426"/>
                </a:lnTo>
                <a:lnTo>
                  <a:pt x="602" y="424"/>
                </a:lnTo>
                <a:lnTo>
                  <a:pt x="603" y="426"/>
                </a:lnTo>
                <a:lnTo>
                  <a:pt x="603" y="426"/>
                </a:lnTo>
                <a:lnTo>
                  <a:pt x="603" y="426"/>
                </a:lnTo>
                <a:lnTo>
                  <a:pt x="603" y="428"/>
                </a:lnTo>
                <a:lnTo>
                  <a:pt x="603" y="428"/>
                </a:lnTo>
                <a:lnTo>
                  <a:pt x="615" y="420"/>
                </a:lnTo>
                <a:lnTo>
                  <a:pt x="615" y="420"/>
                </a:lnTo>
                <a:lnTo>
                  <a:pt x="616" y="418"/>
                </a:lnTo>
                <a:lnTo>
                  <a:pt x="616" y="417"/>
                </a:lnTo>
                <a:lnTo>
                  <a:pt x="615" y="413"/>
                </a:lnTo>
                <a:lnTo>
                  <a:pt x="612" y="410"/>
                </a:lnTo>
                <a:lnTo>
                  <a:pt x="610" y="407"/>
                </a:lnTo>
                <a:lnTo>
                  <a:pt x="610" y="406"/>
                </a:lnTo>
                <a:lnTo>
                  <a:pt x="610" y="406"/>
                </a:lnTo>
                <a:close/>
                <a:moveTo>
                  <a:pt x="10" y="455"/>
                </a:moveTo>
                <a:lnTo>
                  <a:pt x="10" y="455"/>
                </a:lnTo>
                <a:lnTo>
                  <a:pt x="16" y="453"/>
                </a:lnTo>
                <a:lnTo>
                  <a:pt x="20" y="450"/>
                </a:lnTo>
                <a:lnTo>
                  <a:pt x="20" y="447"/>
                </a:lnTo>
                <a:lnTo>
                  <a:pt x="18" y="444"/>
                </a:lnTo>
                <a:lnTo>
                  <a:pt x="18" y="444"/>
                </a:lnTo>
                <a:lnTo>
                  <a:pt x="17" y="444"/>
                </a:lnTo>
                <a:lnTo>
                  <a:pt x="16" y="444"/>
                </a:lnTo>
                <a:lnTo>
                  <a:pt x="11" y="450"/>
                </a:lnTo>
                <a:lnTo>
                  <a:pt x="9" y="454"/>
                </a:lnTo>
                <a:lnTo>
                  <a:pt x="9" y="455"/>
                </a:lnTo>
                <a:lnTo>
                  <a:pt x="10" y="455"/>
                </a:lnTo>
                <a:lnTo>
                  <a:pt x="10" y="455"/>
                </a:lnTo>
                <a:close/>
                <a:moveTo>
                  <a:pt x="71" y="424"/>
                </a:moveTo>
                <a:lnTo>
                  <a:pt x="71" y="424"/>
                </a:lnTo>
                <a:lnTo>
                  <a:pt x="67" y="424"/>
                </a:lnTo>
                <a:lnTo>
                  <a:pt x="63" y="424"/>
                </a:lnTo>
                <a:lnTo>
                  <a:pt x="54" y="428"/>
                </a:lnTo>
                <a:lnTo>
                  <a:pt x="48" y="433"/>
                </a:lnTo>
                <a:lnTo>
                  <a:pt x="48" y="434"/>
                </a:lnTo>
                <a:lnTo>
                  <a:pt x="50" y="434"/>
                </a:lnTo>
                <a:lnTo>
                  <a:pt x="50" y="434"/>
                </a:lnTo>
                <a:lnTo>
                  <a:pt x="53" y="434"/>
                </a:lnTo>
                <a:lnTo>
                  <a:pt x="55" y="433"/>
                </a:lnTo>
                <a:lnTo>
                  <a:pt x="58" y="431"/>
                </a:lnTo>
                <a:lnTo>
                  <a:pt x="63" y="430"/>
                </a:lnTo>
                <a:lnTo>
                  <a:pt x="63" y="430"/>
                </a:lnTo>
                <a:lnTo>
                  <a:pt x="67" y="430"/>
                </a:lnTo>
                <a:lnTo>
                  <a:pt x="71" y="428"/>
                </a:lnTo>
                <a:lnTo>
                  <a:pt x="74" y="426"/>
                </a:lnTo>
                <a:lnTo>
                  <a:pt x="73" y="426"/>
                </a:lnTo>
                <a:lnTo>
                  <a:pt x="71" y="424"/>
                </a:lnTo>
                <a:lnTo>
                  <a:pt x="71" y="424"/>
                </a:lnTo>
                <a:close/>
                <a:moveTo>
                  <a:pt x="252" y="340"/>
                </a:moveTo>
                <a:lnTo>
                  <a:pt x="252" y="340"/>
                </a:lnTo>
                <a:lnTo>
                  <a:pt x="250" y="339"/>
                </a:lnTo>
                <a:lnTo>
                  <a:pt x="248" y="339"/>
                </a:lnTo>
                <a:lnTo>
                  <a:pt x="243" y="340"/>
                </a:lnTo>
                <a:lnTo>
                  <a:pt x="239" y="344"/>
                </a:lnTo>
                <a:lnTo>
                  <a:pt x="239" y="344"/>
                </a:lnTo>
                <a:lnTo>
                  <a:pt x="229" y="354"/>
                </a:lnTo>
                <a:lnTo>
                  <a:pt x="226" y="359"/>
                </a:lnTo>
                <a:lnTo>
                  <a:pt x="225" y="362"/>
                </a:lnTo>
                <a:lnTo>
                  <a:pt x="225" y="362"/>
                </a:lnTo>
                <a:lnTo>
                  <a:pt x="223" y="363"/>
                </a:lnTo>
                <a:lnTo>
                  <a:pt x="222" y="363"/>
                </a:lnTo>
                <a:lnTo>
                  <a:pt x="219" y="363"/>
                </a:lnTo>
                <a:lnTo>
                  <a:pt x="216" y="363"/>
                </a:lnTo>
                <a:lnTo>
                  <a:pt x="213" y="364"/>
                </a:lnTo>
                <a:lnTo>
                  <a:pt x="213" y="366"/>
                </a:lnTo>
                <a:lnTo>
                  <a:pt x="213" y="366"/>
                </a:lnTo>
                <a:lnTo>
                  <a:pt x="212" y="370"/>
                </a:lnTo>
                <a:lnTo>
                  <a:pt x="213" y="376"/>
                </a:lnTo>
                <a:lnTo>
                  <a:pt x="216" y="379"/>
                </a:lnTo>
                <a:lnTo>
                  <a:pt x="218" y="379"/>
                </a:lnTo>
                <a:lnTo>
                  <a:pt x="219" y="379"/>
                </a:lnTo>
                <a:lnTo>
                  <a:pt x="219" y="379"/>
                </a:lnTo>
                <a:lnTo>
                  <a:pt x="222" y="377"/>
                </a:lnTo>
                <a:lnTo>
                  <a:pt x="225" y="377"/>
                </a:lnTo>
                <a:lnTo>
                  <a:pt x="228" y="379"/>
                </a:lnTo>
                <a:lnTo>
                  <a:pt x="228" y="379"/>
                </a:lnTo>
                <a:lnTo>
                  <a:pt x="232" y="377"/>
                </a:lnTo>
                <a:lnTo>
                  <a:pt x="239" y="373"/>
                </a:lnTo>
                <a:lnTo>
                  <a:pt x="245" y="367"/>
                </a:lnTo>
                <a:lnTo>
                  <a:pt x="249" y="363"/>
                </a:lnTo>
                <a:lnTo>
                  <a:pt x="249" y="363"/>
                </a:lnTo>
                <a:lnTo>
                  <a:pt x="250" y="362"/>
                </a:lnTo>
                <a:lnTo>
                  <a:pt x="249" y="360"/>
                </a:lnTo>
                <a:lnTo>
                  <a:pt x="248" y="357"/>
                </a:lnTo>
                <a:lnTo>
                  <a:pt x="245" y="356"/>
                </a:lnTo>
                <a:lnTo>
                  <a:pt x="243" y="353"/>
                </a:lnTo>
                <a:lnTo>
                  <a:pt x="243" y="353"/>
                </a:lnTo>
                <a:lnTo>
                  <a:pt x="245" y="352"/>
                </a:lnTo>
                <a:lnTo>
                  <a:pt x="248" y="350"/>
                </a:lnTo>
                <a:lnTo>
                  <a:pt x="255" y="349"/>
                </a:lnTo>
                <a:lnTo>
                  <a:pt x="255" y="349"/>
                </a:lnTo>
                <a:lnTo>
                  <a:pt x="256" y="347"/>
                </a:lnTo>
                <a:lnTo>
                  <a:pt x="255" y="344"/>
                </a:lnTo>
                <a:lnTo>
                  <a:pt x="252" y="343"/>
                </a:lnTo>
                <a:lnTo>
                  <a:pt x="252" y="340"/>
                </a:lnTo>
                <a:lnTo>
                  <a:pt x="252" y="340"/>
                </a:lnTo>
                <a:close/>
                <a:moveTo>
                  <a:pt x="24" y="299"/>
                </a:moveTo>
                <a:lnTo>
                  <a:pt x="24" y="299"/>
                </a:lnTo>
                <a:lnTo>
                  <a:pt x="24" y="298"/>
                </a:lnTo>
                <a:lnTo>
                  <a:pt x="21" y="296"/>
                </a:lnTo>
                <a:lnTo>
                  <a:pt x="17" y="298"/>
                </a:lnTo>
                <a:lnTo>
                  <a:pt x="11" y="299"/>
                </a:lnTo>
                <a:lnTo>
                  <a:pt x="10" y="302"/>
                </a:lnTo>
                <a:lnTo>
                  <a:pt x="10" y="303"/>
                </a:lnTo>
                <a:lnTo>
                  <a:pt x="10" y="303"/>
                </a:lnTo>
                <a:lnTo>
                  <a:pt x="11" y="306"/>
                </a:lnTo>
                <a:lnTo>
                  <a:pt x="14" y="307"/>
                </a:lnTo>
                <a:lnTo>
                  <a:pt x="20" y="309"/>
                </a:lnTo>
                <a:lnTo>
                  <a:pt x="27" y="310"/>
                </a:lnTo>
                <a:lnTo>
                  <a:pt x="33" y="310"/>
                </a:lnTo>
                <a:lnTo>
                  <a:pt x="33" y="310"/>
                </a:lnTo>
                <a:lnTo>
                  <a:pt x="36" y="309"/>
                </a:lnTo>
                <a:lnTo>
                  <a:pt x="38" y="306"/>
                </a:lnTo>
                <a:lnTo>
                  <a:pt x="38" y="302"/>
                </a:lnTo>
                <a:lnTo>
                  <a:pt x="36" y="299"/>
                </a:lnTo>
                <a:lnTo>
                  <a:pt x="36" y="299"/>
                </a:lnTo>
                <a:lnTo>
                  <a:pt x="34" y="299"/>
                </a:lnTo>
                <a:lnTo>
                  <a:pt x="33" y="299"/>
                </a:lnTo>
                <a:lnTo>
                  <a:pt x="30" y="299"/>
                </a:lnTo>
                <a:lnTo>
                  <a:pt x="26" y="300"/>
                </a:lnTo>
                <a:lnTo>
                  <a:pt x="26" y="300"/>
                </a:lnTo>
                <a:lnTo>
                  <a:pt x="24" y="299"/>
                </a:lnTo>
                <a:lnTo>
                  <a:pt x="24" y="299"/>
                </a:lnTo>
                <a:close/>
                <a:moveTo>
                  <a:pt x="198" y="1084"/>
                </a:moveTo>
                <a:lnTo>
                  <a:pt x="198" y="1084"/>
                </a:lnTo>
                <a:lnTo>
                  <a:pt x="195" y="1086"/>
                </a:lnTo>
                <a:lnTo>
                  <a:pt x="193" y="1087"/>
                </a:lnTo>
                <a:lnTo>
                  <a:pt x="193" y="1091"/>
                </a:lnTo>
                <a:lnTo>
                  <a:pt x="193" y="1096"/>
                </a:lnTo>
                <a:lnTo>
                  <a:pt x="195" y="1101"/>
                </a:lnTo>
                <a:lnTo>
                  <a:pt x="196" y="1104"/>
                </a:lnTo>
                <a:lnTo>
                  <a:pt x="199" y="1103"/>
                </a:lnTo>
                <a:lnTo>
                  <a:pt x="199" y="1103"/>
                </a:lnTo>
                <a:lnTo>
                  <a:pt x="205" y="1100"/>
                </a:lnTo>
                <a:lnTo>
                  <a:pt x="208" y="1098"/>
                </a:lnTo>
                <a:lnTo>
                  <a:pt x="211" y="1097"/>
                </a:lnTo>
                <a:lnTo>
                  <a:pt x="211" y="1097"/>
                </a:lnTo>
                <a:lnTo>
                  <a:pt x="211" y="1093"/>
                </a:lnTo>
                <a:lnTo>
                  <a:pt x="208" y="1088"/>
                </a:lnTo>
                <a:lnTo>
                  <a:pt x="203" y="1084"/>
                </a:lnTo>
                <a:lnTo>
                  <a:pt x="201" y="1084"/>
                </a:lnTo>
                <a:lnTo>
                  <a:pt x="198" y="1084"/>
                </a:lnTo>
                <a:lnTo>
                  <a:pt x="198" y="1084"/>
                </a:lnTo>
                <a:close/>
                <a:moveTo>
                  <a:pt x="186" y="1070"/>
                </a:moveTo>
                <a:lnTo>
                  <a:pt x="186" y="1070"/>
                </a:lnTo>
                <a:lnTo>
                  <a:pt x="185" y="1071"/>
                </a:lnTo>
                <a:lnTo>
                  <a:pt x="184" y="1071"/>
                </a:lnTo>
                <a:lnTo>
                  <a:pt x="184" y="1076"/>
                </a:lnTo>
                <a:lnTo>
                  <a:pt x="185" y="1079"/>
                </a:lnTo>
                <a:lnTo>
                  <a:pt x="186" y="1079"/>
                </a:lnTo>
                <a:lnTo>
                  <a:pt x="188" y="1079"/>
                </a:lnTo>
                <a:lnTo>
                  <a:pt x="188" y="1079"/>
                </a:lnTo>
                <a:lnTo>
                  <a:pt x="191" y="1074"/>
                </a:lnTo>
                <a:lnTo>
                  <a:pt x="191" y="1073"/>
                </a:lnTo>
                <a:lnTo>
                  <a:pt x="189" y="1070"/>
                </a:lnTo>
                <a:lnTo>
                  <a:pt x="186" y="1070"/>
                </a:lnTo>
                <a:lnTo>
                  <a:pt x="186" y="1070"/>
                </a:lnTo>
                <a:close/>
                <a:moveTo>
                  <a:pt x="131" y="1051"/>
                </a:moveTo>
                <a:lnTo>
                  <a:pt x="131" y="1051"/>
                </a:lnTo>
                <a:lnTo>
                  <a:pt x="134" y="1054"/>
                </a:lnTo>
                <a:lnTo>
                  <a:pt x="137" y="1056"/>
                </a:lnTo>
                <a:lnTo>
                  <a:pt x="139" y="1054"/>
                </a:lnTo>
                <a:lnTo>
                  <a:pt x="141" y="1051"/>
                </a:lnTo>
                <a:lnTo>
                  <a:pt x="141" y="1051"/>
                </a:lnTo>
                <a:lnTo>
                  <a:pt x="139" y="1050"/>
                </a:lnTo>
                <a:lnTo>
                  <a:pt x="138" y="1049"/>
                </a:lnTo>
                <a:lnTo>
                  <a:pt x="134" y="1049"/>
                </a:lnTo>
                <a:lnTo>
                  <a:pt x="131" y="1049"/>
                </a:lnTo>
                <a:lnTo>
                  <a:pt x="129" y="1050"/>
                </a:lnTo>
                <a:lnTo>
                  <a:pt x="131" y="1051"/>
                </a:lnTo>
                <a:lnTo>
                  <a:pt x="131" y="1051"/>
                </a:lnTo>
                <a:close/>
                <a:moveTo>
                  <a:pt x="156" y="1063"/>
                </a:moveTo>
                <a:lnTo>
                  <a:pt x="156" y="1063"/>
                </a:lnTo>
                <a:lnTo>
                  <a:pt x="158" y="1066"/>
                </a:lnTo>
                <a:lnTo>
                  <a:pt x="161" y="1067"/>
                </a:lnTo>
                <a:lnTo>
                  <a:pt x="164" y="1067"/>
                </a:lnTo>
                <a:lnTo>
                  <a:pt x="166" y="1064"/>
                </a:lnTo>
                <a:lnTo>
                  <a:pt x="166" y="1064"/>
                </a:lnTo>
                <a:lnTo>
                  <a:pt x="166" y="1063"/>
                </a:lnTo>
                <a:lnTo>
                  <a:pt x="165" y="1061"/>
                </a:lnTo>
                <a:lnTo>
                  <a:pt x="161" y="1060"/>
                </a:lnTo>
                <a:lnTo>
                  <a:pt x="156" y="1060"/>
                </a:lnTo>
                <a:lnTo>
                  <a:pt x="155" y="1061"/>
                </a:lnTo>
                <a:lnTo>
                  <a:pt x="156" y="1063"/>
                </a:lnTo>
                <a:lnTo>
                  <a:pt x="156" y="1063"/>
                </a:lnTo>
                <a:close/>
                <a:moveTo>
                  <a:pt x="1616" y="586"/>
                </a:moveTo>
                <a:lnTo>
                  <a:pt x="1616" y="586"/>
                </a:lnTo>
                <a:lnTo>
                  <a:pt x="1615" y="585"/>
                </a:lnTo>
                <a:lnTo>
                  <a:pt x="1613" y="585"/>
                </a:lnTo>
                <a:lnTo>
                  <a:pt x="1608" y="583"/>
                </a:lnTo>
                <a:lnTo>
                  <a:pt x="1600" y="583"/>
                </a:lnTo>
                <a:lnTo>
                  <a:pt x="1596" y="582"/>
                </a:lnTo>
                <a:lnTo>
                  <a:pt x="1595" y="581"/>
                </a:lnTo>
                <a:lnTo>
                  <a:pt x="1595" y="581"/>
                </a:lnTo>
                <a:lnTo>
                  <a:pt x="1592" y="579"/>
                </a:lnTo>
                <a:lnTo>
                  <a:pt x="1589" y="582"/>
                </a:lnTo>
                <a:lnTo>
                  <a:pt x="1582" y="589"/>
                </a:lnTo>
                <a:lnTo>
                  <a:pt x="1576" y="599"/>
                </a:lnTo>
                <a:lnTo>
                  <a:pt x="1573" y="609"/>
                </a:lnTo>
                <a:lnTo>
                  <a:pt x="1573" y="609"/>
                </a:lnTo>
                <a:lnTo>
                  <a:pt x="1572" y="613"/>
                </a:lnTo>
                <a:lnTo>
                  <a:pt x="1569" y="616"/>
                </a:lnTo>
                <a:lnTo>
                  <a:pt x="1563" y="623"/>
                </a:lnTo>
                <a:lnTo>
                  <a:pt x="1553" y="630"/>
                </a:lnTo>
                <a:lnTo>
                  <a:pt x="1553" y="630"/>
                </a:lnTo>
                <a:lnTo>
                  <a:pt x="1499" y="630"/>
                </a:lnTo>
                <a:lnTo>
                  <a:pt x="1499" y="630"/>
                </a:lnTo>
                <a:lnTo>
                  <a:pt x="1495" y="632"/>
                </a:lnTo>
                <a:lnTo>
                  <a:pt x="1489" y="636"/>
                </a:lnTo>
                <a:lnTo>
                  <a:pt x="1477" y="646"/>
                </a:lnTo>
                <a:lnTo>
                  <a:pt x="1477" y="646"/>
                </a:lnTo>
                <a:lnTo>
                  <a:pt x="1478" y="647"/>
                </a:lnTo>
                <a:lnTo>
                  <a:pt x="1478" y="647"/>
                </a:lnTo>
                <a:lnTo>
                  <a:pt x="1478" y="650"/>
                </a:lnTo>
                <a:lnTo>
                  <a:pt x="1478" y="653"/>
                </a:lnTo>
                <a:lnTo>
                  <a:pt x="1475" y="656"/>
                </a:lnTo>
                <a:lnTo>
                  <a:pt x="1471" y="659"/>
                </a:lnTo>
                <a:lnTo>
                  <a:pt x="1460" y="662"/>
                </a:lnTo>
                <a:lnTo>
                  <a:pt x="1447" y="663"/>
                </a:lnTo>
                <a:lnTo>
                  <a:pt x="1447" y="663"/>
                </a:lnTo>
                <a:lnTo>
                  <a:pt x="1434" y="665"/>
                </a:lnTo>
                <a:lnTo>
                  <a:pt x="1434" y="665"/>
                </a:lnTo>
                <a:lnTo>
                  <a:pt x="1435" y="670"/>
                </a:lnTo>
                <a:lnTo>
                  <a:pt x="1435" y="670"/>
                </a:lnTo>
                <a:lnTo>
                  <a:pt x="1434" y="673"/>
                </a:lnTo>
                <a:lnTo>
                  <a:pt x="1430" y="674"/>
                </a:lnTo>
                <a:lnTo>
                  <a:pt x="1430" y="674"/>
                </a:lnTo>
                <a:lnTo>
                  <a:pt x="1425" y="680"/>
                </a:lnTo>
                <a:lnTo>
                  <a:pt x="1415" y="686"/>
                </a:lnTo>
                <a:lnTo>
                  <a:pt x="1393" y="697"/>
                </a:lnTo>
                <a:lnTo>
                  <a:pt x="1393" y="697"/>
                </a:lnTo>
                <a:lnTo>
                  <a:pt x="1388" y="699"/>
                </a:lnTo>
                <a:lnTo>
                  <a:pt x="1383" y="700"/>
                </a:lnTo>
                <a:lnTo>
                  <a:pt x="1377" y="702"/>
                </a:lnTo>
                <a:lnTo>
                  <a:pt x="1373" y="700"/>
                </a:lnTo>
                <a:lnTo>
                  <a:pt x="1367" y="699"/>
                </a:lnTo>
                <a:lnTo>
                  <a:pt x="1364" y="697"/>
                </a:lnTo>
                <a:lnTo>
                  <a:pt x="1361" y="693"/>
                </a:lnTo>
                <a:lnTo>
                  <a:pt x="1361" y="690"/>
                </a:lnTo>
                <a:lnTo>
                  <a:pt x="1361" y="690"/>
                </a:lnTo>
                <a:lnTo>
                  <a:pt x="1361" y="687"/>
                </a:lnTo>
                <a:lnTo>
                  <a:pt x="1363" y="684"/>
                </a:lnTo>
                <a:lnTo>
                  <a:pt x="1364" y="683"/>
                </a:lnTo>
                <a:lnTo>
                  <a:pt x="1367" y="683"/>
                </a:lnTo>
                <a:lnTo>
                  <a:pt x="1370" y="683"/>
                </a:lnTo>
                <a:lnTo>
                  <a:pt x="1373" y="686"/>
                </a:lnTo>
                <a:lnTo>
                  <a:pt x="1373" y="686"/>
                </a:lnTo>
                <a:lnTo>
                  <a:pt x="1374" y="687"/>
                </a:lnTo>
                <a:lnTo>
                  <a:pt x="1376" y="687"/>
                </a:lnTo>
                <a:lnTo>
                  <a:pt x="1380" y="684"/>
                </a:lnTo>
                <a:lnTo>
                  <a:pt x="1380" y="684"/>
                </a:lnTo>
                <a:lnTo>
                  <a:pt x="1378" y="682"/>
                </a:lnTo>
                <a:lnTo>
                  <a:pt x="1377" y="679"/>
                </a:lnTo>
                <a:lnTo>
                  <a:pt x="1377" y="672"/>
                </a:lnTo>
                <a:lnTo>
                  <a:pt x="1377" y="672"/>
                </a:lnTo>
                <a:lnTo>
                  <a:pt x="1376" y="670"/>
                </a:lnTo>
                <a:lnTo>
                  <a:pt x="1376" y="669"/>
                </a:lnTo>
                <a:lnTo>
                  <a:pt x="1376" y="662"/>
                </a:lnTo>
                <a:lnTo>
                  <a:pt x="1376" y="656"/>
                </a:lnTo>
                <a:lnTo>
                  <a:pt x="1374" y="653"/>
                </a:lnTo>
                <a:lnTo>
                  <a:pt x="1371" y="652"/>
                </a:lnTo>
                <a:lnTo>
                  <a:pt x="1371" y="652"/>
                </a:lnTo>
                <a:lnTo>
                  <a:pt x="1369" y="652"/>
                </a:lnTo>
                <a:lnTo>
                  <a:pt x="1364" y="652"/>
                </a:lnTo>
                <a:lnTo>
                  <a:pt x="1359" y="656"/>
                </a:lnTo>
                <a:lnTo>
                  <a:pt x="1354" y="657"/>
                </a:lnTo>
                <a:lnTo>
                  <a:pt x="1354" y="657"/>
                </a:lnTo>
                <a:lnTo>
                  <a:pt x="1354" y="655"/>
                </a:lnTo>
                <a:lnTo>
                  <a:pt x="1354" y="655"/>
                </a:lnTo>
                <a:lnTo>
                  <a:pt x="1357" y="647"/>
                </a:lnTo>
                <a:lnTo>
                  <a:pt x="1361" y="640"/>
                </a:lnTo>
                <a:lnTo>
                  <a:pt x="1363" y="638"/>
                </a:lnTo>
                <a:lnTo>
                  <a:pt x="1363" y="633"/>
                </a:lnTo>
                <a:lnTo>
                  <a:pt x="1363" y="629"/>
                </a:lnTo>
                <a:lnTo>
                  <a:pt x="1360" y="625"/>
                </a:lnTo>
                <a:lnTo>
                  <a:pt x="1360" y="625"/>
                </a:lnTo>
                <a:lnTo>
                  <a:pt x="1357" y="622"/>
                </a:lnTo>
                <a:lnTo>
                  <a:pt x="1354" y="619"/>
                </a:lnTo>
                <a:lnTo>
                  <a:pt x="1350" y="616"/>
                </a:lnTo>
                <a:lnTo>
                  <a:pt x="1346" y="616"/>
                </a:lnTo>
                <a:lnTo>
                  <a:pt x="1343" y="616"/>
                </a:lnTo>
                <a:lnTo>
                  <a:pt x="1340" y="618"/>
                </a:lnTo>
                <a:lnTo>
                  <a:pt x="1337" y="619"/>
                </a:lnTo>
                <a:lnTo>
                  <a:pt x="1336" y="622"/>
                </a:lnTo>
                <a:lnTo>
                  <a:pt x="1336" y="622"/>
                </a:lnTo>
                <a:lnTo>
                  <a:pt x="1334" y="625"/>
                </a:lnTo>
                <a:lnTo>
                  <a:pt x="1333" y="628"/>
                </a:lnTo>
                <a:lnTo>
                  <a:pt x="1327" y="629"/>
                </a:lnTo>
                <a:lnTo>
                  <a:pt x="1323" y="630"/>
                </a:lnTo>
                <a:lnTo>
                  <a:pt x="1320" y="632"/>
                </a:lnTo>
                <a:lnTo>
                  <a:pt x="1319" y="635"/>
                </a:lnTo>
                <a:lnTo>
                  <a:pt x="1319" y="635"/>
                </a:lnTo>
                <a:lnTo>
                  <a:pt x="1317" y="642"/>
                </a:lnTo>
                <a:lnTo>
                  <a:pt x="1314" y="650"/>
                </a:lnTo>
                <a:lnTo>
                  <a:pt x="1314" y="659"/>
                </a:lnTo>
                <a:lnTo>
                  <a:pt x="1314" y="669"/>
                </a:lnTo>
                <a:lnTo>
                  <a:pt x="1314" y="669"/>
                </a:lnTo>
                <a:lnTo>
                  <a:pt x="1316" y="676"/>
                </a:lnTo>
                <a:lnTo>
                  <a:pt x="1314" y="682"/>
                </a:lnTo>
                <a:lnTo>
                  <a:pt x="1310" y="687"/>
                </a:lnTo>
                <a:lnTo>
                  <a:pt x="1303" y="692"/>
                </a:lnTo>
                <a:lnTo>
                  <a:pt x="1303" y="692"/>
                </a:lnTo>
                <a:lnTo>
                  <a:pt x="1300" y="693"/>
                </a:lnTo>
                <a:lnTo>
                  <a:pt x="1296" y="693"/>
                </a:lnTo>
                <a:lnTo>
                  <a:pt x="1295" y="690"/>
                </a:lnTo>
                <a:lnTo>
                  <a:pt x="1292" y="687"/>
                </a:lnTo>
                <a:lnTo>
                  <a:pt x="1290" y="682"/>
                </a:lnTo>
                <a:lnTo>
                  <a:pt x="1290" y="676"/>
                </a:lnTo>
                <a:lnTo>
                  <a:pt x="1292" y="662"/>
                </a:lnTo>
                <a:lnTo>
                  <a:pt x="1292" y="662"/>
                </a:lnTo>
                <a:lnTo>
                  <a:pt x="1295" y="652"/>
                </a:lnTo>
                <a:lnTo>
                  <a:pt x="1297" y="642"/>
                </a:lnTo>
                <a:lnTo>
                  <a:pt x="1297" y="636"/>
                </a:lnTo>
                <a:lnTo>
                  <a:pt x="1297" y="635"/>
                </a:lnTo>
                <a:lnTo>
                  <a:pt x="1295" y="633"/>
                </a:lnTo>
                <a:lnTo>
                  <a:pt x="1295" y="633"/>
                </a:lnTo>
                <a:lnTo>
                  <a:pt x="1293" y="633"/>
                </a:lnTo>
                <a:lnTo>
                  <a:pt x="1293" y="632"/>
                </a:lnTo>
                <a:lnTo>
                  <a:pt x="1299" y="625"/>
                </a:lnTo>
                <a:lnTo>
                  <a:pt x="1309" y="618"/>
                </a:lnTo>
                <a:lnTo>
                  <a:pt x="1313" y="615"/>
                </a:lnTo>
                <a:lnTo>
                  <a:pt x="1319" y="613"/>
                </a:lnTo>
                <a:lnTo>
                  <a:pt x="1319" y="613"/>
                </a:lnTo>
                <a:lnTo>
                  <a:pt x="1330" y="612"/>
                </a:lnTo>
                <a:lnTo>
                  <a:pt x="1341" y="610"/>
                </a:lnTo>
                <a:lnTo>
                  <a:pt x="1350" y="609"/>
                </a:lnTo>
                <a:lnTo>
                  <a:pt x="1351" y="608"/>
                </a:lnTo>
                <a:lnTo>
                  <a:pt x="1353" y="606"/>
                </a:lnTo>
                <a:lnTo>
                  <a:pt x="1353" y="606"/>
                </a:lnTo>
                <a:lnTo>
                  <a:pt x="1353" y="606"/>
                </a:lnTo>
                <a:lnTo>
                  <a:pt x="1354" y="605"/>
                </a:lnTo>
                <a:lnTo>
                  <a:pt x="1354" y="605"/>
                </a:lnTo>
                <a:lnTo>
                  <a:pt x="1346" y="599"/>
                </a:lnTo>
                <a:lnTo>
                  <a:pt x="1346" y="599"/>
                </a:lnTo>
                <a:lnTo>
                  <a:pt x="1343" y="601"/>
                </a:lnTo>
                <a:lnTo>
                  <a:pt x="1343" y="601"/>
                </a:lnTo>
                <a:lnTo>
                  <a:pt x="1341" y="602"/>
                </a:lnTo>
                <a:lnTo>
                  <a:pt x="1340" y="602"/>
                </a:lnTo>
                <a:lnTo>
                  <a:pt x="1337" y="599"/>
                </a:lnTo>
                <a:lnTo>
                  <a:pt x="1334" y="596"/>
                </a:lnTo>
                <a:lnTo>
                  <a:pt x="1332" y="595"/>
                </a:lnTo>
                <a:lnTo>
                  <a:pt x="1329" y="595"/>
                </a:lnTo>
                <a:lnTo>
                  <a:pt x="1329" y="595"/>
                </a:lnTo>
                <a:lnTo>
                  <a:pt x="1320" y="596"/>
                </a:lnTo>
                <a:lnTo>
                  <a:pt x="1313" y="599"/>
                </a:lnTo>
                <a:lnTo>
                  <a:pt x="1306" y="602"/>
                </a:lnTo>
                <a:lnTo>
                  <a:pt x="1302" y="602"/>
                </a:lnTo>
                <a:lnTo>
                  <a:pt x="1299" y="601"/>
                </a:lnTo>
                <a:lnTo>
                  <a:pt x="1299" y="601"/>
                </a:lnTo>
                <a:lnTo>
                  <a:pt x="1295" y="598"/>
                </a:lnTo>
                <a:lnTo>
                  <a:pt x="1292" y="593"/>
                </a:lnTo>
                <a:lnTo>
                  <a:pt x="1290" y="592"/>
                </a:lnTo>
                <a:lnTo>
                  <a:pt x="1286" y="591"/>
                </a:lnTo>
                <a:lnTo>
                  <a:pt x="1286" y="591"/>
                </a:lnTo>
                <a:lnTo>
                  <a:pt x="1285" y="589"/>
                </a:lnTo>
                <a:lnTo>
                  <a:pt x="1285" y="588"/>
                </a:lnTo>
                <a:lnTo>
                  <a:pt x="1285" y="583"/>
                </a:lnTo>
                <a:lnTo>
                  <a:pt x="1286" y="581"/>
                </a:lnTo>
                <a:lnTo>
                  <a:pt x="1285" y="581"/>
                </a:lnTo>
                <a:lnTo>
                  <a:pt x="1280" y="582"/>
                </a:lnTo>
                <a:lnTo>
                  <a:pt x="1280" y="582"/>
                </a:lnTo>
                <a:lnTo>
                  <a:pt x="1262" y="595"/>
                </a:lnTo>
                <a:lnTo>
                  <a:pt x="1256" y="596"/>
                </a:lnTo>
                <a:lnTo>
                  <a:pt x="1252" y="599"/>
                </a:lnTo>
                <a:lnTo>
                  <a:pt x="1248" y="599"/>
                </a:lnTo>
                <a:lnTo>
                  <a:pt x="1245" y="596"/>
                </a:lnTo>
                <a:lnTo>
                  <a:pt x="1245" y="596"/>
                </a:lnTo>
                <a:lnTo>
                  <a:pt x="1242" y="595"/>
                </a:lnTo>
                <a:lnTo>
                  <a:pt x="1239" y="593"/>
                </a:lnTo>
                <a:lnTo>
                  <a:pt x="1233" y="595"/>
                </a:lnTo>
                <a:lnTo>
                  <a:pt x="1229" y="595"/>
                </a:lnTo>
                <a:lnTo>
                  <a:pt x="1226" y="595"/>
                </a:lnTo>
                <a:lnTo>
                  <a:pt x="1223" y="593"/>
                </a:lnTo>
                <a:lnTo>
                  <a:pt x="1223" y="593"/>
                </a:lnTo>
                <a:lnTo>
                  <a:pt x="1223" y="591"/>
                </a:lnTo>
                <a:lnTo>
                  <a:pt x="1225" y="588"/>
                </a:lnTo>
                <a:lnTo>
                  <a:pt x="1228" y="583"/>
                </a:lnTo>
                <a:lnTo>
                  <a:pt x="1233" y="581"/>
                </a:lnTo>
                <a:lnTo>
                  <a:pt x="1245" y="575"/>
                </a:lnTo>
                <a:lnTo>
                  <a:pt x="1250" y="573"/>
                </a:lnTo>
                <a:lnTo>
                  <a:pt x="1256" y="572"/>
                </a:lnTo>
                <a:lnTo>
                  <a:pt x="1256" y="572"/>
                </a:lnTo>
                <a:lnTo>
                  <a:pt x="1260" y="572"/>
                </a:lnTo>
                <a:lnTo>
                  <a:pt x="1265" y="569"/>
                </a:lnTo>
                <a:lnTo>
                  <a:pt x="1265" y="569"/>
                </a:lnTo>
                <a:lnTo>
                  <a:pt x="1252" y="565"/>
                </a:lnTo>
                <a:lnTo>
                  <a:pt x="1245" y="565"/>
                </a:lnTo>
                <a:lnTo>
                  <a:pt x="1243" y="565"/>
                </a:lnTo>
                <a:lnTo>
                  <a:pt x="1242" y="566"/>
                </a:lnTo>
                <a:lnTo>
                  <a:pt x="1242" y="566"/>
                </a:lnTo>
                <a:lnTo>
                  <a:pt x="1238" y="569"/>
                </a:lnTo>
                <a:lnTo>
                  <a:pt x="1233" y="569"/>
                </a:lnTo>
                <a:lnTo>
                  <a:pt x="1231" y="566"/>
                </a:lnTo>
                <a:lnTo>
                  <a:pt x="1228" y="564"/>
                </a:lnTo>
                <a:lnTo>
                  <a:pt x="1228" y="564"/>
                </a:lnTo>
                <a:lnTo>
                  <a:pt x="1225" y="562"/>
                </a:lnTo>
                <a:lnTo>
                  <a:pt x="1222" y="562"/>
                </a:lnTo>
                <a:lnTo>
                  <a:pt x="1218" y="562"/>
                </a:lnTo>
                <a:lnTo>
                  <a:pt x="1215" y="559"/>
                </a:lnTo>
                <a:lnTo>
                  <a:pt x="1215" y="559"/>
                </a:lnTo>
                <a:lnTo>
                  <a:pt x="1211" y="555"/>
                </a:lnTo>
                <a:lnTo>
                  <a:pt x="1206" y="555"/>
                </a:lnTo>
                <a:lnTo>
                  <a:pt x="1199" y="558"/>
                </a:lnTo>
                <a:lnTo>
                  <a:pt x="1199" y="558"/>
                </a:lnTo>
                <a:lnTo>
                  <a:pt x="1196" y="558"/>
                </a:lnTo>
                <a:lnTo>
                  <a:pt x="1194" y="558"/>
                </a:lnTo>
                <a:lnTo>
                  <a:pt x="1186" y="554"/>
                </a:lnTo>
                <a:lnTo>
                  <a:pt x="1186" y="554"/>
                </a:lnTo>
                <a:lnTo>
                  <a:pt x="1182" y="551"/>
                </a:lnTo>
                <a:lnTo>
                  <a:pt x="1182" y="548"/>
                </a:lnTo>
                <a:lnTo>
                  <a:pt x="1182" y="544"/>
                </a:lnTo>
                <a:lnTo>
                  <a:pt x="1179" y="541"/>
                </a:lnTo>
                <a:lnTo>
                  <a:pt x="1179" y="541"/>
                </a:lnTo>
                <a:lnTo>
                  <a:pt x="1178" y="541"/>
                </a:lnTo>
                <a:lnTo>
                  <a:pt x="1176" y="541"/>
                </a:lnTo>
                <a:lnTo>
                  <a:pt x="1175" y="544"/>
                </a:lnTo>
                <a:lnTo>
                  <a:pt x="1174" y="548"/>
                </a:lnTo>
                <a:lnTo>
                  <a:pt x="731" y="551"/>
                </a:lnTo>
                <a:lnTo>
                  <a:pt x="731" y="551"/>
                </a:lnTo>
                <a:lnTo>
                  <a:pt x="733" y="552"/>
                </a:lnTo>
                <a:lnTo>
                  <a:pt x="733" y="552"/>
                </a:lnTo>
                <a:lnTo>
                  <a:pt x="735" y="556"/>
                </a:lnTo>
                <a:lnTo>
                  <a:pt x="735" y="561"/>
                </a:lnTo>
                <a:lnTo>
                  <a:pt x="735" y="565"/>
                </a:lnTo>
                <a:lnTo>
                  <a:pt x="735" y="569"/>
                </a:lnTo>
                <a:lnTo>
                  <a:pt x="735" y="569"/>
                </a:lnTo>
                <a:lnTo>
                  <a:pt x="737" y="575"/>
                </a:lnTo>
                <a:lnTo>
                  <a:pt x="735" y="581"/>
                </a:lnTo>
                <a:lnTo>
                  <a:pt x="734" y="585"/>
                </a:lnTo>
                <a:lnTo>
                  <a:pt x="733" y="585"/>
                </a:lnTo>
                <a:lnTo>
                  <a:pt x="731" y="586"/>
                </a:lnTo>
                <a:lnTo>
                  <a:pt x="731" y="586"/>
                </a:lnTo>
                <a:lnTo>
                  <a:pt x="728" y="585"/>
                </a:lnTo>
                <a:lnTo>
                  <a:pt x="727" y="582"/>
                </a:lnTo>
                <a:lnTo>
                  <a:pt x="727" y="579"/>
                </a:lnTo>
                <a:lnTo>
                  <a:pt x="728" y="578"/>
                </a:lnTo>
                <a:lnTo>
                  <a:pt x="728" y="578"/>
                </a:lnTo>
                <a:lnTo>
                  <a:pt x="731" y="575"/>
                </a:lnTo>
                <a:lnTo>
                  <a:pt x="731" y="572"/>
                </a:lnTo>
                <a:lnTo>
                  <a:pt x="730" y="569"/>
                </a:lnTo>
                <a:lnTo>
                  <a:pt x="727" y="568"/>
                </a:lnTo>
                <a:lnTo>
                  <a:pt x="727" y="568"/>
                </a:lnTo>
                <a:lnTo>
                  <a:pt x="726" y="568"/>
                </a:lnTo>
                <a:lnTo>
                  <a:pt x="724" y="566"/>
                </a:lnTo>
                <a:lnTo>
                  <a:pt x="724" y="562"/>
                </a:lnTo>
                <a:lnTo>
                  <a:pt x="724" y="562"/>
                </a:lnTo>
                <a:lnTo>
                  <a:pt x="718" y="564"/>
                </a:lnTo>
                <a:lnTo>
                  <a:pt x="711" y="564"/>
                </a:lnTo>
                <a:lnTo>
                  <a:pt x="698" y="562"/>
                </a:lnTo>
                <a:lnTo>
                  <a:pt x="698" y="562"/>
                </a:lnTo>
                <a:lnTo>
                  <a:pt x="698" y="564"/>
                </a:lnTo>
                <a:lnTo>
                  <a:pt x="698" y="564"/>
                </a:lnTo>
                <a:lnTo>
                  <a:pt x="701" y="572"/>
                </a:lnTo>
                <a:lnTo>
                  <a:pt x="703" y="579"/>
                </a:lnTo>
                <a:lnTo>
                  <a:pt x="707" y="585"/>
                </a:lnTo>
                <a:lnTo>
                  <a:pt x="707" y="585"/>
                </a:lnTo>
                <a:lnTo>
                  <a:pt x="710" y="589"/>
                </a:lnTo>
                <a:lnTo>
                  <a:pt x="710" y="593"/>
                </a:lnTo>
                <a:lnTo>
                  <a:pt x="711" y="596"/>
                </a:lnTo>
                <a:lnTo>
                  <a:pt x="714" y="599"/>
                </a:lnTo>
                <a:lnTo>
                  <a:pt x="714" y="599"/>
                </a:lnTo>
                <a:lnTo>
                  <a:pt x="717" y="602"/>
                </a:lnTo>
                <a:lnTo>
                  <a:pt x="718" y="603"/>
                </a:lnTo>
                <a:lnTo>
                  <a:pt x="717" y="605"/>
                </a:lnTo>
                <a:lnTo>
                  <a:pt x="714" y="605"/>
                </a:lnTo>
                <a:lnTo>
                  <a:pt x="714" y="605"/>
                </a:lnTo>
                <a:lnTo>
                  <a:pt x="711" y="605"/>
                </a:lnTo>
                <a:lnTo>
                  <a:pt x="711" y="608"/>
                </a:lnTo>
                <a:lnTo>
                  <a:pt x="711" y="612"/>
                </a:lnTo>
                <a:lnTo>
                  <a:pt x="711" y="619"/>
                </a:lnTo>
                <a:lnTo>
                  <a:pt x="711" y="619"/>
                </a:lnTo>
                <a:lnTo>
                  <a:pt x="710" y="640"/>
                </a:lnTo>
                <a:lnTo>
                  <a:pt x="708" y="659"/>
                </a:lnTo>
                <a:lnTo>
                  <a:pt x="708" y="659"/>
                </a:lnTo>
                <a:lnTo>
                  <a:pt x="707" y="665"/>
                </a:lnTo>
                <a:lnTo>
                  <a:pt x="704" y="672"/>
                </a:lnTo>
                <a:lnTo>
                  <a:pt x="703" y="677"/>
                </a:lnTo>
                <a:lnTo>
                  <a:pt x="703" y="680"/>
                </a:lnTo>
                <a:lnTo>
                  <a:pt x="704" y="683"/>
                </a:lnTo>
                <a:lnTo>
                  <a:pt x="704" y="683"/>
                </a:lnTo>
                <a:lnTo>
                  <a:pt x="707" y="690"/>
                </a:lnTo>
                <a:lnTo>
                  <a:pt x="710" y="696"/>
                </a:lnTo>
                <a:lnTo>
                  <a:pt x="710" y="703"/>
                </a:lnTo>
                <a:lnTo>
                  <a:pt x="710" y="710"/>
                </a:lnTo>
                <a:lnTo>
                  <a:pt x="710" y="710"/>
                </a:lnTo>
                <a:lnTo>
                  <a:pt x="708" y="716"/>
                </a:lnTo>
                <a:lnTo>
                  <a:pt x="708" y="721"/>
                </a:lnTo>
                <a:lnTo>
                  <a:pt x="708" y="726"/>
                </a:lnTo>
                <a:lnTo>
                  <a:pt x="711" y="730"/>
                </a:lnTo>
                <a:lnTo>
                  <a:pt x="711" y="730"/>
                </a:lnTo>
                <a:lnTo>
                  <a:pt x="713" y="736"/>
                </a:lnTo>
                <a:lnTo>
                  <a:pt x="714" y="743"/>
                </a:lnTo>
                <a:lnTo>
                  <a:pt x="714" y="748"/>
                </a:lnTo>
                <a:lnTo>
                  <a:pt x="714" y="750"/>
                </a:lnTo>
                <a:lnTo>
                  <a:pt x="716" y="751"/>
                </a:lnTo>
                <a:lnTo>
                  <a:pt x="716" y="751"/>
                </a:lnTo>
                <a:lnTo>
                  <a:pt x="723" y="757"/>
                </a:lnTo>
                <a:lnTo>
                  <a:pt x="728" y="766"/>
                </a:lnTo>
                <a:lnTo>
                  <a:pt x="728" y="766"/>
                </a:lnTo>
                <a:lnTo>
                  <a:pt x="731" y="768"/>
                </a:lnTo>
                <a:lnTo>
                  <a:pt x="734" y="770"/>
                </a:lnTo>
                <a:lnTo>
                  <a:pt x="735" y="771"/>
                </a:lnTo>
                <a:lnTo>
                  <a:pt x="737" y="774"/>
                </a:lnTo>
                <a:lnTo>
                  <a:pt x="737" y="774"/>
                </a:lnTo>
                <a:lnTo>
                  <a:pt x="738" y="781"/>
                </a:lnTo>
                <a:lnTo>
                  <a:pt x="740" y="783"/>
                </a:lnTo>
                <a:lnTo>
                  <a:pt x="743" y="784"/>
                </a:lnTo>
                <a:lnTo>
                  <a:pt x="743" y="784"/>
                </a:lnTo>
                <a:lnTo>
                  <a:pt x="745" y="787"/>
                </a:lnTo>
                <a:lnTo>
                  <a:pt x="745" y="790"/>
                </a:lnTo>
                <a:lnTo>
                  <a:pt x="745" y="797"/>
                </a:lnTo>
                <a:lnTo>
                  <a:pt x="745" y="797"/>
                </a:lnTo>
                <a:lnTo>
                  <a:pt x="747" y="800"/>
                </a:lnTo>
                <a:lnTo>
                  <a:pt x="750" y="804"/>
                </a:lnTo>
                <a:lnTo>
                  <a:pt x="761" y="815"/>
                </a:lnTo>
                <a:lnTo>
                  <a:pt x="761" y="815"/>
                </a:lnTo>
                <a:lnTo>
                  <a:pt x="764" y="818"/>
                </a:lnTo>
                <a:lnTo>
                  <a:pt x="765" y="821"/>
                </a:lnTo>
                <a:lnTo>
                  <a:pt x="767" y="825"/>
                </a:lnTo>
                <a:lnTo>
                  <a:pt x="767" y="828"/>
                </a:lnTo>
                <a:lnTo>
                  <a:pt x="768" y="830"/>
                </a:lnTo>
                <a:lnTo>
                  <a:pt x="770" y="830"/>
                </a:lnTo>
                <a:lnTo>
                  <a:pt x="770" y="830"/>
                </a:lnTo>
                <a:lnTo>
                  <a:pt x="775" y="831"/>
                </a:lnTo>
                <a:lnTo>
                  <a:pt x="780" y="832"/>
                </a:lnTo>
                <a:lnTo>
                  <a:pt x="790" y="838"/>
                </a:lnTo>
                <a:lnTo>
                  <a:pt x="790" y="838"/>
                </a:lnTo>
                <a:lnTo>
                  <a:pt x="794" y="840"/>
                </a:lnTo>
                <a:lnTo>
                  <a:pt x="797" y="841"/>
                </a:lnTo>
                <a:lnTo>
                  <a:pt x="804" y="841"/>
                </a:lnTo>
                <a:lnTo>
                  <a:pt x="804" y="841"/>
                </a:lnTo>
                <a:lnTo>
                  <a:pt x="807" y="844"/>
                </a:lnTo>
                <a:lnTo>
                  <a:pt x="812" y="848"/>
                </a:lnTo>
                <a:lnTo>
                  <a:pt x="815" y="854"/>
                </a:lnTo>
                <a:lnTo>
                  <a:pt x="818" y="858"/>
                </a:lnTo>
                <a:lnTo>
                  <a:pt x="818" y="858"/>
                </a:lnTo>
                <a:lnTo>
                  <a:pt x="822" y="869"/>
                </a:lnTo>
                <a:lnTo>
                  <a:pt x="859" y="864"/>
                </a:lnTo>
                <a:lnTo>
                  <a:pt x="859" y="864"/>
                </a:lnTo>
                <a:lnTo>
                  <a:pt x="865" y="868"/>
                </a:lnTo>
                <a:lnTo>
                  <a:pt x="871" y="871"/>
                </a:lnTo>
                <a:lnTo>
                  <a:pt x="876" y="874"/>
                </a:lnTo>
                <a:lnTo>
                  <a:pt x="876" y="874"/>
                </a:lnTo>
                <a:lnTo>
                  <a:pt x="899" y="881"/>
                </a:lnTo>
                <a:lnTo>
                  <a:pt x="918" y="888"/>
                </a:lnTo>
                <a:lnTo>
                  <a:pt x="963" y="888"/>
                </a:lnTo>
                <a:lnTo>
                  <a:pt x="969" y="881"/>
                </a:lnTo>
                <a:lnTo>
                  <a:pt x="994" y="881"/>
                </a:lnTo>
                <a:lnTo>
                  <a:pt x="994" y="881"/>
                </a:lnTo>
                <a:lnTo>
                  <a:pt x="1001" y="888"/>
                </a:lnTo>
                <a:lnTo>
                  <a:pt x="1011" y="896"/>
                </a:lnTo>
                <a:lnTo>
                  <a:pt x="1011" y="896"/>
                </a:lnTo>
                <a:lnTo>
                  <a:pt x="1019" y="902"/>
                </a:lnTo>
                <a:lnTo>
                  <a:pt x="1021" y="906"/>
                </a:lnTo>
                <a:lnTo>
                  <a:pt x="1023" y="909"/>
                </a:lnTo>
                <a:lnTo>
                  <a:pt x="1023" y="909"/>
                </a:lnTo>
                <a:lnTo>
                  <a:pt x="1024" y="915"/>
                </a:lnTo>
                <a:lnTo>
                  <a:pt x="1026" y="918"/>
                </a:lnTo>
                <a:lnTo>
                  <a:pt x="1029" y="919"/>
                </a:lnTo>
                <a:lnTo>
                  <a:pt x="1029" y="919"/>
                </a:lnTo>
                <a:lnTo>
                  <a:pt x="1038" y="925"/>
                </a:lnTo>
                <a:lnTo>
                  <a:pt x="1044" y="928"/>
                </a:lnTo>
                <a:lnTo>
                  <a:pt x="1047" y="929"/>
                </a:lnTo>
                <a:lnTo>
                  <a:pt x="1047" y="929"/>
                </a:lnTo>
                <a:lnTo>
                  <a:pt x="1048" y="926"/>
                </a:lnTo>
                <a:lnTo>
                  <a:pt x="1051" y="922"/>
                </a:lnTo>
                <a:lnTo>
                  <a:pt x="1054" y="916"/>
                </a:lnTo>
                <a:lnTo>
                  <a:pt x="1057" y="915"/>
                </a:lnTo>
                <a:lnTo>
                  <a:pt x="1060" y="915"/>
                </a:lnTo>
                <a:lnTo>
                  <a:pt x="1060" y="915"/>
                </a:lnTo>
                <a:lnTo>
                  <a:pt x="1066" y="916"/>
                </a:lnTo>
                <a:lnTo>
                  <a:pt x="1075" y="919"/>
                </a:lnTo>
                <a:lnTo>
                  <a:pt x="1083" y="923"/>
                </a:lnTo>
                <a:lnTo>
                  <a:pt x="1085" y="928"/>
                </a:lnTo>
                <a:lnTo>
                  <a:pt x="1088" y="931"/>
                </a:lnTo>
                <a:lnTo>
                  <a:pt x="1088" y="931"/>
                </a:lnTo>
                <a:lnTo>
                  <a:pt x="1091" y="938"/>
                </a:lnTo>
                <a:lnTo>
                  <a:pt x="1095" y="945"/>
                </a:lnTo>
                <a:lnTo>
                  <a:pt x="1102" y="952"/>
                </a:lnTo>
                <a:lnTo>
                  <a:pt x="1102" y="952"/>
                </a:lnTo>
                <a:lnTo>
                  <a:pt x="1104" y="955"/>
                </a:lnTo>
                <a:lnTo>
                  <a:pt x="1105" y="958"/>
                </a:lnTo>
                <a:lnTo>
                  <a:pt x="1105" y="962"/>
                </a:lnTo>
                <a:lnTo>
                  <a:pt x="1107" y="965"/>
                </a:lnTo>
                <a:lnTo>
                  <a:pt x="1107" y="965"/>
                </a:lnTo>
                <a:lnTo>
                  <a:pt x="1108" y="970"/>
                </a:lnTo>
                <a:lnTo>
                  <a:pt x="1110" y="973"/>
                </a:lnTo>
                <a:lnTo>
                  <a:pt x="1111" y="975"/>
                </a:lnTo>
                <a:lnTo>
                  <a:pt x="1111" y="975"/>
                </a:lnTo>
                <a:lnTo>
                  <a:pt x="1121" y="979"/>
                </a:lnTo>
                <a:lnTo>
                  <a:pt x="1128" y="982"/>
                </a:lnTo>
                <a:lnTo>
                  <a:pt x="1134" y="982"/>
                </a:lnTo>
                <a:lnTo>
                  <a:pt x="1134" y="982"/>
                </a:lnTo>
                <a:lnTo>
                  <a:pt x="1137" y="983"/>
                </a:lnTo>
                <a:lnTo>
                  <a:pt x="1141" y="985"/>
                </a:lnTo>
                <a:lnTo>
                  <a:pt x="1141" y="985"/>
                </a:lnTo>
                <a:lnTo>
                  <a:pt x="1139" y="980"/>
                </a:lnTo>
                <a:lnTo>
                  <a:pt x="1139" y="978"/>
                </a:lnTo>
                <a:lnTo>
                  <a:pt x="1135" y="972"/>
                </a:lnTo>
                <a:lnTo>
                  <a:pt x="1134" y="968"/>
                </a:lnTo>
                <a:lnTo>
                  <a:pt x="1134" y="966"/>
                </a:lnTo>
                <a:lnTo>
                  <a:pt x="1135" y="965"/>
                </a:lnTo>
                <a:lnTo>
                  <a:pt x="1135" y="965"/>
                </a:lnTo>
                <a:lnTo>
                  <a:pt x="1138" y="962"/>
                </a:lnTo>
                <a:lnTo>
                  <a:pt x="1139" y="959"/>
                </a:lnTo>
                <a:lnTo>
                  <a:pt x="1139" y="955"/>
                </a:lnTo>
                <a:lnTo>
                  <a:pt x="1138" y="952"/>
                </a:lnTo>
                <a:lnTo>
                  <a:pt x="1138" y="950"/>
                </a:lnTo>
                <a:lnTo>
                  <a:pt x="1139" y="949"/>
                </a:lnTo>
                <a:lnTo>
                  <a:pt x="1139" y="949"/>
                </a:lnTo>
                <a:lnTo>
                  <a:pt x="1147" y="945"/>
                </a:lnTo>
                <a:lnTo>
                  <a:pt x="1149" y="942"/>
                </a:lnTo>
                <a:lnTo>
                  <a:pt x="1151" y="939"/>
                </a:lnTo>
                <a:lnTo>
                  <a:pt x="1151" y="939"/>
                </a:lnTo>
                <a:lnTo>
                  <a:pt x="1152" y="936"/>
                </a:lnTo>
                <a:lnTo>
                  <a:pt x="1154" y="935"/>
                </a:lnTo>
                <a:lnTo>
                  <a:pt x="1161" y="935"/>
                </a:lnTo>
                <a:lnTo>
                  <a:pt x="1161" y="935"/>
                </a:lnTo>
                <a:lnTo>
                  <a:pt x="1167" y="935"/>
                </a:lnTo>
                <a:lnTo>
                  <a:pt x="1171" y="931"/>
                </a:lnTo>
                <a:lnTo>
                  <a:pt x="1175" y="926"/>
                </a:lnTo>
                <a:lnTo>
                  <a:pt x="1176" y="922"/>
                </a:lnTo>
                <a:lnTo>
                  <a:pt x="1176" y="922"/>
                </a:lnTo>
                <a:lnTo>
                  <a:pt x="1176" y="921"/>
                </a:lnTo>
                <a:lnTo>
                  <a:pt x="1178" y="919"/>
                </a:lnTo>
                <a:lnTo>
                  <a:pt x="1185" y="919"/>
                </a:lnTo>
                <a:lnTo>
                  <a:pt x="1185" y="919"/>
                </a:lnTo>
                <a:lnTo>
                  <a:pt x="1186" y="919"/>
                </a:lnTo>
                <a:lnTo>
                  <a:pt x="1188" y="918"/>
                </a:lnTo>
                <a:lnTo>
                  <a:pt x="1191" y="916"/>
                </a:lnTo>
                <a:lnTo>
                  <a:pt x="1192" y="913"/>
                </a:lnTo>
                <a:lnTo>
                  <a:pt x="1194" y="912"/>
                </a:lnTo>
                <a:lnTo>
                  <a:pt x="1195" y="912"/>
                </a:lnTo>
                <a:lnTo>
                  <a:pt x="1195" y="912"/>
                </a:lnTo>
                <a:lnTo>
                  <a:pt x="1201" y="915"/>
                </a:lnTo>
                <a:lnTo>
                  <a:pt x="1202" y="915"/>
                </a:lnTo>
                <a:lnTo>
                  <a:pt x="1202" y="913"/>
                </a:lnTo>
                <a:lnTo>
                  <a:pt x="1202" y="913"/>
                </a:lnTo>
                <a:lnTo>
                  <a:pt x="1203" y="912"/>
                </a:lnTo>
                <a:lnTo>
                  <a:pt x="1205" y="912"/>
                </a:lnTo>
                <a:lnTo>
                  <a:pt x="1208" y="912"/>
                </a:lnTo>
                <a:lnTo>
                  <a:pt x="1211" y="915"/>
                </a:lnTo>
                <a:lnTo>
                  <a:pt x="1211" y="915"/>
                </a:lnTo>
                <a:lnTo>
                  <a:pt x="1213" y="918"/>
                </a:lnTo>
                <a:lnTo>
                  <a:pt x="1218" y="919"/>
                </a:lnTo>
                <a:lnTo>
                  <a:pt x="1222" y="918"/>
                </a:lnTo>
                <a:lnTo>
                  <a:pt x="1223" y="918"/>
                </a:lnTo>
                <a:lnTo>
                  <a:pt x="1223" y="915"/>
                </a:lnTo>
                <a:lnTo>
                  <a:pt x="1223" y="915"/>
                </a:lnTo>
                <a:lnTo>
                  <a:pt x="1225" y="913"/>
                </a:lnTo>
                <a:lnTo>
                  <a:pt x="1228" y="915"/>
                </a:lnTo>
                <a:lnTo>
                  <a:pt x="1235" y="921"/>
                </a:lnTo>
                <a:lnTo>
                  <a:pt x="1235" y="921"/>
                </a:lnTo>
                <a:lnTo>
                  <a:pt x="1238" y="923"/>
                </a:lnTo>
                <a:lnTo>
                  <a:pt x="1240" y="925"/>
                </a:lnTo>
                <a:lnTo>
                  <a:pt x="1248" y="925"/>
                </a:lnTo>
                <a:lnTo>
                  <a:pt x="1248" y="925"/>
                </a:lnTo>
                <a:lnTo>
                  <a:pt x="1252" y="925"/>
                </a:lnTo>
                <a:lnTo>
                  <a:pt x="1253" y="923"/>
                </a:lnTo>
                <a:lnTo>
                  <a:pt x="1255" y="922"/>
                </a:lnTo>
                <a:lnTo>
                  <a:pt x="1255" y="919"/>
                </a:lnTo>
                <a:lnTo>
                  <a:pt x="1255" y="919"/>
                </a:lnTo>
                <a:lnTo>
                  <a:pt x="1255" y="918"/>
                </a:lnTo>
                <a:lnTo>
                  <a:pt x="1256" y="918"/>
                </a:lnTo>
                <a:lnTo>
                  <a:pt x="1259" y="922"/>
                </a:lnTo>
                <a:lnTo>
                  <a:pt x="1265" y="926"/>
                </a:lnTo>
                <a:lnTo>
                  <a:pt x="1266" y="928"/>
                </a:lnTo>
                <a:lnTo>
                  <a:pt x="1269" y="929"/>
                </a:lnTo>
                <a:lnTo>
                  <a:pt x="1269" y="929"/>
                </a:lnTo>
                <a:lnTo>
                  <a:pt x="1272" y="928"/>
                </a:lnTo>
                <a:lnTo>
                  <a:pt x="1272" y="926"/>
                </a:lnTo>
                <a:lnTo>
                  <a:pt x="1266" y="921"/>
                </a:lnTo>
                <a:lnTo>
                  <a:pt x="1266" y="921"/>
                </a:lnTo>
                <a:lnTo>
                  <a:pt x="1263" y="918"/>
                </a:lnTo>
                <a:lnTo>
                  <a:pt x="1263" y="916"/>
                </a:lnTo>
                <a:lnTo>
                  <a:pt x="1263" y="913"/>
                </a:lnTo>
                <a:lnTo>
                  <a:pt x="1262" y="912"/>
                </a:lnTo>
                <a:lnTo>
                  <a:pt x="1262" y="912"/>
                </a:lnTo>
                <a:lnTo>
                  <a:pt x="1262" y="911"/>
                </a:lnTo>
                <a:lnTo>
                  <a:pt x="1262" y="909"/>
                </a:lnTo>
                <a:lnTo>
                  <a:pt x="1265" y="906"/>
                </a:lnTo>
                <a:lnTo>
                  <a:pt x="1270" y="905"/>
                </a:lnTo>
                <a:lnTo>
                  <a:pt x="1276" y="905"/>
                </a:lnTo>
                <a:lnTo>
                  <a:pt x="1276" y="905"/>
                </a:lnTo>
                <a:lnTo>
                  <a:pt x="1285" y="905"/>
                </a:lnTo>
                <a:lnTo>
                  <a:pt x="1286" y="905"/>
                </a:lnTo>
                <a:lnTo>
                  <a:pt x="1287" y="902"/>
                </a:lnTo>
                <a:lnTo>
                  <a:pt x="1287" y="902"/>
                </a:lnTo>
                <a:lnTo>
                  <a:pt x="1290" y="899"/>
                </a:lnTo>
                <a:lnTo>
                  <a:pt x="1292" y="901"/>
                </a:lnTo>
                <a:lnTo>
                  <a:pt x="1293" y="904"/>
                </a:lnTo>
                <a:lnTo>
                  <a:pt x="1295" y="906"/>
                </a:lnTo>
                <a:lnTo>
                  <a:pt x="1295" y="906"/>
                </a:lnTo>
                <a:lnTo>
                  <a:pt x="1295" y="908"/>
                </a:lnTo>
                <a:lnTo>
                  <a:pt x="1296" y="908"/>
                </a:lnTo>
                <a:lnTo>
                  <a:pt x="1302" y="906"/>
                </a:lnTo>
                <a:lnTo>
                  <a:pt x="1309" y="905"/>
                </a:lnTo>
                <a:lnTo>
                  <a:pt x="1316" y="904"/>
                </a:lnTo>
                <a:lnTo>
                  <a:pt x="1316" y="904"/>
                </a:lnTo>
                <a:lnTo>
                  <a:pt x="1320" y="905"/>
                </a:lnTo>
                <a:lnTo>
                  <a:pt x="1326" y="908"/>
                </a:lnTo>
                <a:lnTo>
                  <a:pt x="1329" y="911"/>
                </a:lnTo>
                <a:lnTo>
                  <a:pt x="1330" y="915"/>
                </a:lnTo>
                <a:lnTo>
                  <a:pt x="1330" y="915"/>
                </a:lnTo>
                <a:lnTo>
                  <a:pt x="1332" y="918"/>
                </a:lnTo>
                <a:lnTo>
                  <a:pt x="1334" y="919"/>
                </a:lnTo>
                <a:lnTo>
                  <a:pt x="1337" y="919"/>
                </a:lnTo>
                <a:lnTo>
                  <a:pt x="1341" y="916"/>
                </a:lnTo>
                <a:lnTo>
                  <a:pt x="1341" y="916"/>
                </a:lnTo>
                <a:lnTo>
                  <a:pt x="1349" y="911"/>
                </a:lnTo>
                <a:lnTo>
                  <a:pt x="1353" y="909"/>
                </a:lnTo>
                <a:lnTo>
                  <a:pt x="1356" y="911"/>
                </a:lnTo>
                <a:lnTo>
                  <a:pt x="1356" y="911"/>
                </a:lnTo>
                <a:lnTo>
                  <a:pt x="1373" y="929"/>
                </a:lnTo>
                <a:lnTo>
                  <a:pt x="1373" y="929"/>
                </a:lnTo>
                <a:lnTo>
                  <a:pt x="1374" y="932"/>
                </a:lnTo>
                <a:lnTo>
                  <a:pt x="1374" y="933"/>
                </a:lnTo>
                <a:lnTo>
                  <a:pt x="1373" y="939"/>
                </a:lnTo>
                <a:lnTo>
                  <a:pt x="1371" y="943"/>
                </a:lnTo>
                <a:lnTo>
                  <a:pt x="1371" y="945"/>
                </a:lnTo>
                <a:lnTo>
                  <a:pt x="1373" y="948"/>
                </a:lnTo>
                <a:lnTo>
                  <a:pt x="1373" y="948"/>
                </a:lnTo>
                <a:lnTo>
                  <a:pt x="1374" y="950"/>
                </a:lnTo>
                <a:lnTo>
                  <a:pt x="1374" y="955"/>
                </a:lnTo>
                <a:lnTo>
                  <a:pt x="1376" y="959"/>
                </a:lnTo>
                <a:lnTo>
                  <a:pt x="1380" y="963"/>
                </a:lnTo>
                <a:lnTo>
                  <a:pt x="1380" y="963"/>
                </a:lnTo>
                <a:lnTo>
                  <a:pt x="1381" y="965"/>
                </a:lnTo>
                <a:lnTo>
                  <a:pt x="1383" y="968"/>
                </a:lnTo>
                <a:lnTo>
                  <a:pt x="1383" y="973"/>
                </a:lnTo>
                <a:lnTo>
                  <a:pt x="1383" y="978"/>
                </a:lnTo>
                <a:lnTo>
                  <a:pt x="1384" y="979"/>
                </a:lnTo>
                <a:lnTo>
                  <a:pt x="1386" y="980"/>
                </a:lnTo>
                <a:lnTo>
                  <a:pt x="1386" y="980"/>
                </a:lnTo>
                <a:lnTo>
                  <a:pt x="1390" y="982"/>
                </a:lnTo>
                <a:lnTo>
                  <a:pt x="1393" y="986"/>
                </a:lnTo>
                <a:lnTo>
                  <a:pt x="1397" y="993"/>
                </a:lnTo>
                <a:lnTo>
                  <a:pt x="1397" y="993"/>
                </a:lnTo>
                <a:lnTo>
                  <a:pt x="1398" y="996"/>
                </a:lnTo>
                <a:lnTo>
                  <a:pt x="1403" y="999"/>
                </a:lnTo>
                <a:lnTo>
                  <a:pt x="1407" y="999"/>
                </a:lnTo>
                <a:lnTo>
                  <a:pt x="1408" y="997"/>
                </a:lnTo>
                <a:lnTo>
                  <a:pt x="1408" y="996"/>
                </a:lnTo>
                <a:lnTo>
                  <a:pt x="1408" y="996"/>
                </a:lnTo>
                <a:lnTo>
                  <a:pt x="1410" y="992"/>
                </a:lnTo>
                <a:lnTo>
                  <a:pt x="1413" y="986"/>
                </a:lnTo>
                <a:lnTo>
                  <a:pt x="1414" y="982"/>
                </a:lnTo>
                <a:lnTo>
                  <a:pt x="1415" y="978"/>
                </a:lnTo>
                <a:lnTo>
                  <a:pt x="1415" y="978"/>
                </a:lnTo>
                <a:lnTo>
                  <a:pt x="1415" y="970"/>
                </a:lnTo>
                <a:lnTo>
                  <a:pt x="1414" y="960"/>
                </a:lnTo>
                <a:lnTo>
                  <a:pt x="1411" y="952"/>
                </a:lnTo>
                <a:lnTo>
                  <a:pt x="1407" y="945"/>
                </a:lnTo>
                <a:lnTo>
                  <a:pt x="1407" y="945"/>
                </a:lnTo>
                <a:lnTo>
                  <a:pt x="1406" y="941"/>
                </a:lnTo>
                <a:lnTo>
                  <a:pt x="1406" y="938"/>
                </a:lnTo>
                <a:lnTo>
                  <a:pt x="1406" y="933"/>
                </a:lnTo>
                <a:lnTo>
                  <a:pt x="1403" y="929"/>
                </a:lnTo>
                <a:lnTo>
                  <a:pt x="1403" y="929"/>
                </a:lnTo>
                <a:lnTo>
                  <a:pt x="1398" y="923"/>
                </a:lnTo>
                <a:lnTo>
                  <a:pt x="1396" y="915"/>
                </a:lnTo>
                <a:lnTo>
                  <a:pt x="1394" y="906"/>
                </a:lnTo>
                <a:lnTo>
                  <a:pt x="1394" y="898"/>
                </a:lnTo>
                <a:lnTo>
                  <a:pt x="1394" y="898"/>
                </a:lnTo>
                <a:lnTo>
                  <a:pt x="1396" y="889"/>
                </a:lnTo>
                <a:lnTo>
                  <a:pt x="1401" y="879"/>
                </a:lnTo>
                <a:lnTo>
                  <a:pt x="1407" y="871"/>
                </a:lnTo>
                <a:lnTo>
                  <a:pt x="1413" y="865"/>
                </a:lnTo>
                <a:lnTo>
                  <a:pt x="1413" y="865"/>
                </a:lnTo>
                <a:lnTo>
                  <a:pt x="1417" y="862"/>
                </a:lnTo>
                <a:lnTo>
                  <a:pt x="1421" y="861"/>
                </a:lnTo>
                <a:lnTo>
                  <a:pt x="1424" y="859"/>
                </a:lnTo>
                <a:lnTo>
                  <a:pt x="1427" y="857"/>
                </a:lnTo>
                <a:lnTo>
                  <a:pt x="1427" y="857"/>
                </a:lnTo>
                <a:lnTo>
                  <a:pt x="1428" y="852"/>
                </a:lnTo>
                <a:lnTo>
                  <a:pt x="1433" y="848"/>
                </a:lnTo>
                <a:lnTo>
                  <a:pt x="1437" y="845"/>
                </a:lnTo>
                <a:lnTo>
                  <a:pt x="1440" y="844"/>
                </a:lnTo>
                <a:lnTo>
                  <a:pt x="1440" y="844"/>
                </a:lnTo>
                <a:lnTo>
                  <a:pt x="1445" y="844"/>
                </a:lnTo>
                <a:lnTo>
                  <a:pt x="1448" y="842"/>
                </a:lnTo>
                <a:lnTo>
                  <a:pt x="1450" y="840"/>
                </a:lnTo>
                <a:lnTo>
                  <a:pt x="1450" y="840"/>
                </a:lnTo>
                <a:lnTo>
                  <a:pt x="1451" y="837"/>
                </a:lnTo>
                <a:lnTo>
                  <a:pt x="1455" y="832"/>
                </a:lnTo>
                <a:lnTo>
                  <a:pt x="1460" y="830"/>
                </a:lnTo>
                <a:lnTo>
                  <a:pt x="1467" y="828"/>
                </a:lnTo>
                <a:lnTo>
                  <a:pt x="1467" y="828"/>
                </a:lnTo>
                <a:lnTo>
                  <a:pt x="1471" y="827"/>
                </a:lnTo>
                <a:lnTo>
                  <a:pt x="1471" y="824"/>
                </a:lnTo>
                <a:lnTo>
                  <a:pt x="1468" y="818"/>
                </a:lnTo>
                <a:lnTo>
                  <a:pt x="1468" y="818"/>
                </a:lnTo>
                <a:lnTo>
                  <a:pt x="1467" y="814"/>
                </a:lnTo>
                <a:lnTo>
                  <a:pt x="1468" y="812"/>
                </a:lnTo>
                <a:lnTo>
                  <a:pt x="1470" y="811"/>
                </a:lnTo>
                <a:lnTo>
                  <a:pt x="1472" y="812"/>
                </a:lnTo>
                <a:lnTo>
                  <a:pt x="1472" y="812"/>
                </a:lnTo>
                <a:lnTo>
                  <a:pt x="1474" y="814"/>
                </a:lnTo>
                <a:lnTo>
                  <a:pt x="1477" y="814"/>
                </a:lnTo>
                <a:lnTo>
                  <a:pt x="1479" y="814"/>
                </a:lnTo>
                <a:lnTo>
                  <a:pt x="1482" y="812"/>
                </a:lnTo>
                <a:lnTo>
                  <a:pt x="1482" y="812"/>
                </a:lnTo>
                <a:lnTo>
                  <a:pt x="1489" y="807"/>
                </a:lnTo>
                <a:lnTo>
                  <a:pt x="1489" y="804"/>
                </a:lnTo>
                <a:lnTo>
                  <a:pt x="1489" y="804"/>
                </a:lnTo>
                <a:lnTo>
                  <a:pt x="1487" y="803"/>
                </a:lnTo>
                <a:lnTo>
                  <a:pt x="1487" y="803"/>
                </a:lnTo>
                <a:lnTo>
                  <a:pt x="1482" y="803"/>
                </a:lnTo>
                <a:lnTo>
                  <a:pt x="1479" y="801"/>
                </a:lnTo>
                <a:lnTo>
                  <a:pt x="1479" y="800"/>
                </a:lnTo>
                <a:lnTo>
                  <a:pt x="1482" y="798"/>
                </a:lnTo>
                <a:lnTo>
                  <a:pt x="1482" y="798"/>
                </a:lnTo>
                <a:lnTo>
                  <a:pt x="1484" y="797"/>
                </a:lnTo>
                <a:lnTo>
                  <a:pt x="1484" y="795"/>
                </a:lnTo>
                <a:lnTo>
                  <a:pt x="1484" y="793"/>
                </a:lnTo>
                <a:lnTo>
                  <a:pt x="1481" y="788"/>
                </a:lnTo>
                <a:lnTo>
                  <a:pt x="1477" y="787"/>
                </a:lnTo>
                <a:lnTo>
                  <a:pt x="1477" y="787"/>
                </a:lnTo>
                <a:lnTo>
                  <a:pt x="1472" y="785"/>
                </a:lnTo>
                <a:lnTo>
                  <a:pt x="1472" y="784"/>
                </a:lnTo>
                <a:lnTo>
                  <a:pt x="1474" y="781"/>
                </a:lnTo>
                <a:lnTo>
                  <a:pt x="1475" y="778"/>
                </a:lnTo>
                <a:lnTo>
                  <a:pt x="1475" y="778"/>
                </a:lnTo>
                <a:lnTo>
                  <a:pt x="1477" y="777"/>
                </a:lnTo>
                <a:lnTo>
                  <a:pt x="1477" y="776"/>
                </a:lnTo>
                <a:lnTo>
                  <a:pt x="1474" y="771"/>
                </a:lnTo>
                <a:lnTo>
                  <a:pt x="1465" y="766"/>
                </a:lnTo>
                <a:lnTo>
                  <a:pt x="1465" y="766"/>
                </a:lnTo>
                <a:lnTo>
                  <a:pt x="1464" y="763"/>
                </a:lnTo>
                <a:lnTo>
                  <a:pt x="1465" y="761"/>
                </a:lnTo>
                <a:lnTo>
                  <a:pt x="1472" y="760"/>
                </a:lnTo>
                <a:lnTo>
                  <a:pt x="1472" y="760"/>
                </a:lnTo>
                <a:lnTo>
                  <a:pt x="1472" y="758"/>
                </a:lnTo>
                <a:lnTo>
                  <a:pt x="1474" y="757"/>
                </a:lnTo>
                <a:lnTo>
                  <a:pt x="1474" y="750"/>
                </a:lnTo>
                <a:lnTo>
                  <a:pt x="1474" y="744"/>
                </a:lnTo>
                <a:lnTo>
                  <a:pt x="1474" y="739"/>
                </a:lnTo>
                <a:lnTo>
                  <a:pt x="1474" y="739"/>
                </a:lnTo>
                <a:lnTo>
                  <a:pt x="1477" y="737"/>
                </a:lnTo>
                <a:lnTo>
                  <a:pt x="1478" y="736"/>
                </a:lnTo>
                <a:lnTo>
                  <a:pt x="1479" y="737"/>
                </a:lnTo>
                <a:lnTo>
                  <a:pt x="1479" y="739"/>
                </a:lnTo>
                <a:lnTo>
                  <a:pt x="1479" y="739"/>
                </a:lnTo>
                <a:lnTo>
                  <a:pt x="1478" y="743"/>
                </a:lnTo>
                <a:lnTo>
                  <a:pt x="1477" y="746"/>
                </a:lnTo>
                <a:lnTo>
                  <a:pt x="1477" y="750"/>
                </a:lnTo>
                <a:lnTo>
                  <a:pt x="1478" y="754"/>
                </a:lnTo>
                <a:lnTo>
                  <a:pt x="1478" y="754"/>
                </a:lnTo>
                <a:lnTo>
                  <a:pt x="1481" y="758"/>
                </a:lnTo>
                <a:lnTo>
                  <a:pt x="1482" y="763"/>
                </a:lnTo>
                <a:lnTo>
                  <a:pt x="1484" y="768"/>
                </a:lnTo>
                <a:lnTo>
                  <a:pt x="1482" y="774"/>
                </a:lnTo>
                <a:lnTo>
                  <a:pt x="1482" y="774"/>
                </a:lnTo>
                <a:lnTo>
                  <a:pt x="1482" y="778"/>
                </a:lnTo>
                <a:lnTo>
                  <a:pt x="1482" y="778"/>
                </a:lnTo>
                <a:lnTo>
                  <a:pt x="1484" y="778"/>
                </a:lnTo>
                <a:lnTo>
                  <a:pt x="1487" y="776"/>
                </a:lnTo>
                <a:lnTo>
                  <a:pt x="1489" y="768"/>
                </a:lnTo>
                <a:lnTo>
                  <a:pt x="1489" y="768"/>
                </a:lnTo>
                <a:lnTo>
                  <a:pt x="1492" y="761"/>
                </a:lnTo>
                <a:lnTo>
                  <a:pt x="1494" y="756"/>
                </a:lnTo>
                <a:lnTo>
                  <a:pt x="1494" y="750"/>
                </a:lnTo>
                <a:lnTo>
                  <a:pt x="1492" y="748"/>
                </a:lnTo>
                <a:lnTo>
                  <a:pt x="1492" y="748"/>
                </a:lnTo>
                <a:lnTo>
                  <a:pt x="1489" y="746"/>
                </a:lnTo>
                <a:lnTo>
                  <a:pt x="1489" y="743"/>
                </a:lnTo>
                <a:lnTo>
                  <a:pt x="1491" y="740"/>
                </a:lnTo>
                <a:lnTo>
                  <a:pt x="1491" y="740"/>
                </a:lnTo>
                <a:lnTo>
                  <a:pt x="1492" y="741"/>
                </a:lnTo>
                <a:lnTo>
                  <a:pt x="1492" y="741"/>
                </a:lnTo>
                <a:lnTo>
                  <a:pt x="1495" y="744"/>
                </a:lnTo>
                <a:lnTo>
                  <a:pt x="1498" y="746"/>
                </a:lnTo>
                <a:lnTo>
                  <a:pt x="1501" y="744"/>
                </a:lnTo>
                <a:lnTo>
                  <a:pt x="1504" y="740"/>
                </a:lnTo>
                <a:lnTo>
                  <a:pt x="1504" y="740"/>
                </a:lnTo>
                <a:lnTo>
                  <a:pt x="1508" y="736"/>
                </a:lnTo>
                <a:lnTo>
                  <a:pt x="1512" y="729"/>
                </a:lnTo>
                <a:lnTo>
                  <a:pt x="1514" y="724"/>
                </a:lnTo>
                <a:lnTo>
                  <a:pt x="1514" y="721"/>
                </a:lnTo>
                <a:lnTo>
                  <a:pt x="1512" y="720"/>
                </a:lnTo>
                <a:lnTo>
                  <a:pt x="1512" y="720"/>
                </a:lnTo>
                <a:lnTo>
                  <a:pt x="1511" y="719"/>
                </a:lnTo>
                <a:lnTo>
                  <a:pt x="1514" y="717"/>
                </a:lnTo>
                <a:lnTo>
                  <a:pt x="1516" y="716"/>
                </a:lnTo>
                <a:lnTo>
                  <a:pt x="1522" y="716"/>
                </a:lnTo>
                <a:lnTo>
                  <a:pt x="1522" y="716"/>
                </a:lnTo>
                <a:lnTo>
                  <a:pt x="1528" y="716"/>
                </a:lnTo>
                <a:lnTo>
                  <a:pt x="1535" y="714"/>
                </a:lnTo>
                <a:lnTo>
                  <a:pt x="1542" y="711"/>
                </a:lnTo>
                <a:lnTo>
                  <a:pt x="1545" y="710"/>
                </a:lnTo>
                <a:lnTo>
                  <a:pt x="1545" y="710"/>
                </a:lnTo>
                <a:lnTo>
                  <a:pt x="1545" y="707"/>
                </a:lnTo>
                <a:lnTo>
                  <a:pt x="1542" y="707"/>
                </a:lnTo>
                <a:lnTo>
                  <a:pt x="1534" y="709"/>
                </a:lnTo>
                <a:lnTo>
                  <a:pt x="1525" y="710"/>
                </a:lnTo>
                <a:lnTo>
                  <a:pt x="1522" y="710"/>
                </a:lnTo>
                <a:lnTo>
                  <a:pt x="1521" y="709"/>
                </a:lnTo>
                <a:lnTo>
                  <a:pt x="1521" y="709"/>
                </a:lnTo>
                <a:lnTo>
                  <a:pt x="1521" y="707"/>
                </a:lnTo>
                <a:lnTo>
                  <a:pt x="1524" y="706"/>
                </a:lnTo>
                <a:lnTo>
                  <a:pt x="1531" y="703"/>
                </a:lnTo>
                <a:lnTo>
                  <a:pt x="1546" y="700"/>
                </a:lnTo>
                <a:lnTo>
                  <a:pt x="1546" y="700"/>
                </a:lnTo>
                <a:lnTo>
                  <a:pt x="1549" y="700"/>
                </a:lnTo>
                <a:lnTo>
                  <a:pt x="1551" y="699"/>
                </a:lnTo>
                <a:lnTo>
                  <a:pt x="1552" y="696"/>
                </a:lnTo>
                <a:lnTo>
                  <a:pt x="1552" y="693"/>
                </a:lnTo>
                <a:lnTo>
                  <a:pt x="1555" y="694"/>
                </a:lnTo>
                <a:lnTo>
                  <a:pt x="1555" y="694"/>
                </a:lnTo>
                <a:lnTo>
                  <a:pt x="1558" y="696"/>
                </a:lnTo>
                <a:lnTo>
                  <a:pt x="1561" y="697"/>
                </a:lnTo>
                <a:lnTo>
                  <a:pt x="1565" y="697"/>
                </a:lnTo>
                <a:lnTo>
                  <a:pt x="1568" y="694"/>
                </a:lnTo>
                <a:lnTo>
                  <a:pt x="1568" y="694"/>
                </a:lnTo>
                <a:lnTo>
                  <a:pt x="1571" y="692"/>
                </a:lnTo>
                <a:lnTo>
                  <a:pt x="1569" y="689"/>
                </a:lnTo>
                <a:lnTo>
                  <a:pt x="1568" y="684"/>
                </a:lnTo>
                <a:lnTo>
                  <a:pt x="1563" y="683"/>
                </a:lnTo>
                <a:lnTo>
                  <a:pt x="1563" y="683"/>
                </a:lnTo>
                <a:lnTo>
                  <a:pt x="1562" y="682"/>
                </a:lnTo>
                <a:lnTo>
                  <a:pt x="1562" y="682"/>
                </a:lnTo>
                <a:lnTo>
                  <a:pt x="1563" y="679"/>
                </a:lnTo>
                <a:lnTo>
                  <a:pt x="1565" y="677"/>
                </a:lnTo>
                <a:lnTo>
                  <a:pt x="1566" y="674"/>
                </a:lnTo>
                <a:lnTo>
                  <a:pt x="1566" y="674"/>
                </a:lnTo>
                <a:lnTo>
                  <a:pt x="1566" y="670"/>
                </a:lnTo>
                <a:lnTo>
                  <a:pt x="1568" y="665"/>
                </a:lnTo>
                <a:lnTo>
                  <a:pt x="1572" y="660"/>
                </a:lnTo>
                <a:lnTo>
                  <a:pt x="1573" y="657"/>
                </a:lnTo>
                <a:lnTo>
                  <a:pt x="1576" y="657"/>
                </a:lnTo>
                <a:lnTo>
                  <a:pt x="1576" y="657"/>
                </a:lnTo>
                <a:lnTo>
                  <a:pt x="1579" y="656"/>
                </a:lnTo>
                <a:lnTo>
                  <a:pt x="1580" y="653"/>
                </a:lnTo>
                <a:lnTo>
                  <a:pt x="1582" y="652"/>
                </a:lnTo>
                <a:lnTo>
                  <a:pt x="1585" y="652"/>
                </a:lnTo>
                <a:lnTo>
                  <a:pt x="1585" y="652"/>
                </a:lnTo>
                <a:lnTo>
                  <a:pt x="1589" y="650"/>
                </a:lnTo>
                <a:lnTo>
                  <a:pt x="1592" y="647"/>
                </a:lnTo>
                <a:lnTo>
                  <a:pt x="1598" y="639"/>
                </a:lnTo>
                <a:lnTo>
                  <a:pt x="1598" y="639"/>
                </a:lnTo>
                <a:lnTo>
                  <a:pt x="1599" y="639"/>
                </a:lnTo>
                <a:lnTo>
                  <a:pt x="1600" y="639"/>
                </a:lnTo>
                <a:lnTo>
                  <a:pt x="1606" y="640"/>
                </a:lnTo>
                <a:lnTo>
                  <a:pt x="1612" y="642"/>
                </a:lnTo>
                <a:lnTo>
                  <a:pt x="1615" y="642"/>
                </a:lnTo>
                <a:lnTo>
                  <a:pt x="1617" y="640"/>
                </a:lnTo>
                <a:lnTo>
                  <a:pt x="1617" y="640"/>
                </a:lnTo>
                <a:lnTo>
                  <a:pt x="1629" y="632"/>
                </a:lnTo>
                <a:lnTo>
                  <a:pt x="1629" y="632"/>
                </a:lnTo>
                <a:lnTo>
                  <a:pt x="1623" y="623"/>
                </a:lnTo>
                <a:lnTo>
                  <a:pt x="1619" y="615"/>
                </a:lnTo>
                <a:lnTo>
                  <a:pt x="1616" y="608"/>
                </a:lnTo>
                <a:lnTo>
                  <a:pt x="1616" y="602"/>
                </a:lnTo>
                <a:lnTo>
                  <a:pt x="1615" y="592"/>
                </a:lnTo>
                <a:lnTo>
                  <a:pt x="1616" y="586"/>
                </a:lnTo>
                <a:lnTo>
                  <a:pt x="1616" y="586"/>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26" name="Freeform 313">
            <a:extLst>
              <a:ext uri="{FF2B5EF4-FFF2-40B4-BE49-F238E27FC236}">
                <a16:creationId xmlns:a16="http://schemas.microsoft.com/office/drawing/2014/main" id="{E35658BE-0D02-51FB-5D2B-C1290EB566D4}"/>
              </a:ext>
            </a:extLst>
          </p:cNvPr>
          <p:cNvSpPr>
            <a:spLocks/>
          </p:cNvSpPr>
          <p:nvPr userDrawn="1"/>
        </p:nvSpPr>
        <p:spPr bwMode="gray">
          <a:xfrm>
            <a:off x="4159738" y="2364066"/>
            <a:ext cx="262703" cy="189874"/>
          </a:xfrm>
          <a:custGeom>
            <a:avLst/>
            <a:gdLst/>
            <a:ahLst/>
            <a:cxnLst>
              <a:cxn ang="0">
                <a:pos x="194" y="27"/>
              </a:cxn>
              <a:cxn ang="0">
                <a:pos x="175" y="24"/>
              </a:cxn>
              <a:cxn ang="0">
                <a:pos x="167" y="21"/>
              </a:cxn>
              <a:cxn ang="0">
                <a:pos x="158" y="19"/>
              </a:cxn>
              <a:cxn ang="0">
                <a:pos x="154" y="22"/>
              </a:cxn>
              <a:cxn ang="0">
                <a:pos x="147" y="19"/>
              </a:cxn>
              <a:cxn ang="0">
                <a:pos x="131" y="12"/>
              </a:cxn>
              <a:cxn ang="0">
                <a:pos x="117" y="8"/>
              </a:cxn>
              <a:cxn ang="0">
                <a:pos x="94" y="5"/>
              </a:cxn>
              <a:cxn ang="0">
                <a:pos x="69" y="5"/>
              </a:cxn>
              <a:cxn ang="0">
                <a:pos x="33" y="4"/>
              </a:cxn>
              <a:cxn ang="0">
                <a:pos x="22" y="0"/>
              </a:cxn>
              <a:cxn ang="0">
                <a:pos x="16" y="4"/>
              </a:cxn>
              <a:cxn ang="0">
                <a:pos x="9" y="8"/>
              </a:cxn>
              <a:cxn ang="0">
                <a:pos x="0" y="15"/>
              </a:cxn>
              <a:cxn ang="0">
                <a:pos x="8" y="22"/>
              </a:cxn>
              <a:cxn ang="0">
                <a:pos x="8" y="35"/>
              </a:cxn>
              <a:cxn ang="0">
                <a:pos x="12" y="34"/>
              </a:cxn>
              <a:cxn ang="0">
                <a:pos x="18" y="32"/>
              </a:cxn>
              <a:cxn ang="0">
                <a:pos x="19" y="37"/>
              </a:cxn>
              <a:cxn ang="0">
                <a:pos x="28" y="37"/>
              </a:cxn>
              <a:cxn ang="0">
                <a:pos x="32" y="38"/>
              </a:cxn>
              <a:cxn ang="0">
                <a:pos x="37" y="35"/>
              </a:cxn>
              <a:cxn ang="0">
                <a:pos x="43" y="38"/>
              </a:cxn>
              <a:cxn ang="0">
                <a:pos x="47" y="41"/>
              </a:cxn>
              <a:cxn ang="0">
                <a:pos x="47" y="45"/>
              </a:cxn>
              <a:cxn ang="0">
                <a:pos x="37" y="54"/>
              </a:cxn>
              <a:cxn ang="0">
                <a:pos x="40" y="65"/>
              </a:cxn>
              <a:cxn ang="0">
                <a:pos x="37" y="72"/>
              </a:cxn>
              <a:cxn ang="0">
                <a:pos x="36" y="79"/>
              </a:cxn>
              <a:cxn ang="0">
                <a:pos x="33" y="81"/>
              </a:cxn>
              <a:cxn ang="0">
                <a:pos x="32" y="86"/>
              </a:cxn>
              <a:cxn ang="0">
                <a:pos x="37" y="93"/>
              </a:cxn>
              <a:cxn ang="0">
                <a:pos x="33" y="96"/>
              </a:cxn>
              <a:cxn ang="0">
                <a:pos x="32" y="103"/>
              </a:cxn>
              <a:cxn ang="0">
                <a:pos x="37" y="111"/>
              </a:cxn>
              <a:cxn ang="0">
                <a:pos x="36" y="112"/>
              </a:cxn>
              <a:cxn ang="0">
                <a:pos x="29" y="121"/>
              </a:cxn>
              <a:cxn ang="0">
                <a:pos x="32" y="126"/>
              </a:cxn>
              <a:cxn ang="0">
                <a:pos x="40" y="128"/>
              </a:cxn>
              <a:cxn ang="0">
                <a:pos x="49" y="138"/>
              </a:cxn>
              <a:cxn ang="0">
                <a:pos x="60" y="146"/>
              </a:cxn>
              <a:cxn ang="0">
                <a:pos x="62" y="143"/>
              </a:cxn>
              <a:cxn ang="0">
                <a:pos x="64" y="139"/>
              </a:cxn>
              <a:cxn ang="0">
                <a:pos x="73" y="140"/>
              </a:cxn>
              <a:cxn ang="0">
                <a:pos x="82" y="135"/>
              </a:cxn>
              <a:cxn ang="0">
                <a:pos x="107" y="133"/>
              </a:cxn>
              <a:cxn ang="0">
                <a:pos x="116" y="132"/>
              </a:cxn>
              <a:cxn ang="0">
                <a:pos x="120" y="128"/>
              </a:cxn>
              <a:cxn ang="0">
                <a:pos x="127" y="121"/>
              </a:cxn>
              <a:cxn ang="0">
                <a:pos x="136" y="118"/>
              </a:cxn>
              <a:cxn ang="0">
                <a:pos x="138" y="108"/>
              </a:cxn>
              <a:cxn ang="0">
                <a:pos x="147" y="98"/>
              </a:cxn>
              <a:cxn ang="0">
                <a:pos x="148" y="92"/>
              </a:cxn>
              <a:cxn ang="0">
                <a:pos x="148" y="76"/>
              </a:cxn>
              <a:cxn ang="0">
                <a:pos x="154" y="66"/>
              </a:cxn>
              <a:cxn ang="0">
                <a:pos x="163" y="56"/>
              </a:cxn>
              <a:cxn ang="0">
                <a:pos x="167" y="51"/>
              </a:cxn>
              <a:cxn ang="0">
                <a:pos x="178" y="48"/>
              </a:cxn>
              <a:cxn ang="0">
                <a:pos x="191" y="42"/>
              </a:cxn>
              <a:cxn ang="0">
                <a:pos x="200" y="37"/>
              </a:cxn>
              <a:cxn ang="0">
                <a:pos x="202" y="25"/>
              </a:cxn>
            </a:cxnLst>
            <a:rect l="0" t="0" r="r" b="b"/>
            <a:pathLst>
              <a:path w="202" h="146">
                <a:moveTo>
                  <a:pt x="202" y="25"/>
                </a:moveTo>
                <a:lnTo>
                  <a:pt x="202" y="25"/>
                </a:lnTo>
                <a:lnTo>
                  <a:pt x="194" y="27"/>
                </a:lnTo>
                <a:lnTo>
                  <a:pt x="185" y="25"/>
                </a:lnTo>
                <a:lnTo>
                  <a:pt x="185" y="25"/>
                </a:lnTo>
                <a:lnTo>
                  <a:pt x="175" y="24"/>
                </a:lnTo>
                <a:lnTo>
                  <a:pt x="170" y="22"/>
                </a:lnTo>
                <a:lnTo>
                  <a:pt x="167" y="21"/>
                </a:lnTo>
                <a:lnTo>
                  <a:pt x="167" y="21"/>
                </a:lnTo>
                <a:lnTo>
                  <a:pt x="161" y="18"/>
                </a:lnTo>
                <a:lnTo>
                  <a:pt x="160" y="18"/>
                </a:lnTo>
                <a:lnTo>
                  <a:pt x="158" y="19"/>
                </a:lnTo>
                <a:lnTo>
                  <a:pt x="158" y="19"/>
                </a:lnTo>
                <a:lnTo>
                  <a:pt x="158" y="21"/>
                </a:lnTo>
                <a:lnTo>
                  <a:pt x="154" y="22"/>
                </a:lnTo>
                <a:lnTo>
                  <a:pt x="150" y="22"/>
                </a:lnTo>
                <a:lnTo>
                  <a:pt x="147" y="19"/>
                </a:lnTo>
                <a:lnTo>
                  <a:pt x="147" y="19"/>
                </a:lnTo>
                <a:lnTo>
                  <a:pt x="138" y="17"/>
                </a:lnTo>
                <a:lnTo>
                  <a:pt x="131" y="12"/>
                </a:lnTo>
                <a:lnTo>
                  <a:pt x="131" y="12"/>
                </a:lnTo>
                <a:lnTo>
                  <a:pt x="121" y="8"/>
                </a:lnTo>
                <a:lnTo>
                  <a:pt x="121" y="8"/>
                </a:lnTo>
                <a:lnTo>
                  <a:pt x="117" y="8"/>
                </a:lnTo>
                <a:lnTo>
                  <a:pt x="110" y="7"/>
                </a:lnTo>
                <a:lnTo>
                  <a:pt x="101" y="5"/>
                </a:lnTo>
                <a:lnTo>
                  <a:pt x="94" y="5"/>
                </a:lnTo>
                <a:lnTo>
                  <a:pt x="94" y="5"/>
                </a:lnTo>
                <a:lnTo>
                  <a:pt x="83" y="5"/>
                </a:lnTo>
                <a:lnTo>
                  <a:pt x="69" y="5"/>
                </a:lnTo>
                <a:lnTo>
                  <a:pt x="42" y="5"/>
                </a:lnTo>
                <a:lnTo>
                  <a:pt x="42" y="5"/>
                </a:lnTo>
                <a:lnTo>
                  <a:pt x="33" y="4"/>
                </a:lnTo>
                <a:lnTo>
                  <a:pt x="29" y="2"/>
                </a:lnTo>
                <a:lnTo>
                  <a:pt x="26" y="1"/>
                </a:lnTo>
                <a:lnTo>
                  <a:pt x="22" y="0"/>
                </a:lnTo>
                <a:lnTo>
                  <a:pt x="22" y="0"/>
                </a:lnTo>
                <a:lnTo>
                  <a:pt x="18" y="1"/>
                </a:lnTo>
                <a:lnTo>
                  <a:pt x="16" y="4"/>
                </a:lnTo>
                <a:lnTo>
                  <a:pt x="13" y="7"/>
                </a:lnTo>
                <a:lnTo>
                  <a:pt x="9" y="8"/>
                </a:lnTo>
                <a:lnTo>
                  <a:pt x="9" y="8"/>
                </a:lnTo>
                <a:lnTo>
                  <a:pt x="3" y="10"/>
                </a:lnTo>
                <a:lnTo>
                  <a:pt x="0" y="12"/>
                </a:lnTo>
                <a:lnTo>
                  <a:pt x="0" y="15"/>
                </a:lnTo>
                <a:lnTo>
                  <a:pt x="5" y="19"/>
                </a:lnTo>
                <a:lnTo>
                  <a:pt x="5" y="19"/>
                </a:lnTo>
                <a:lnTo>
                  <a:pt x="8" y="22"/>
                </a:lnTo>
                <a:lnTo>
                  <a:pt x="8" y="27"/>
                </a:lnTo>
                <a:lnTo>
                  <a:pt x="8" y="35"/>
                </a:lnTo>
                <a:lnTo>
                  <a:pt x="8" y="35"/>
                </a:lnTo>
                <a:lnTo>
                  <a:pt x="10" y="35"/>
                </a:lnTo>
                <a:lnTo>
                  <a:pt x="12" y="34"/>
                </a:lnTo>
                <a:lnTo>
                  <a:pt x="12" y="34"/>
                </a:lnTo>
                <a:lnTo>
                  <a:pt x="15" y="32"/>
                </a:lnTo>
                <a:lnTo>
                  <a:pt x="16" y="31"/>
                </a:lnTo>
                <a:lnTo>
                  <a:pt x="18" y="32"/>
                </a:lnTo>
                <a:lnTo>
                  <a:pt x="18" y="34"/>
                </a:lnTo>
                <a:lnTo>
                  <a:pt x="18" y="34"/>
                </a:lnTo>
                <a:lnTo>
                  <a:pt x="19" y="37"/>
                </a:lnTo>
                <a:lnTo>
                  <a:pt x="22" y="37"/>
                </a:lnTo>
                <a:lnTo>
                  <a:pt x="28" y="37"/>
                </a:lnTo>
                <a:lnTo>
                  <a:pt x="28" y="37"/>
                </a:lnTo>
                <a:lnTo>
                  <a:pt x="29" y="37"/>
                </a:lnTo>
                <a:lnTo>
                  <a:pt x="30" y="38"/>
                </a:lnTo>
                <a:lnTo>
                  <a:pt x="32" y="38"/>
                </a:lnTo>
                <a:lnTo>
                  <a:pt x="33" y="37"/>
                </a:lnTo>
                <a:lnTo>
                  <a:pt x="33" y="37"/>
                </a:lnTo>
                <a:lnTo>
                  <a:pt x="37" y="35"/>
                </a:lnTo>
                <a:lnTo>
                  <a:pt x="40" y="35"/>
                </a:lnTo>
                <a:lnTo>
                  <a:pt x="43" y="37"/>
                </a:lnTo>
                <a:lnTo>
                  <a:pt x="43" y="38"/>
                </a:lnTo>
                <a:lnTo>
                  <a:pt x="43" y="38"/>
                </a:lnTo>
                <a:lnTo>
                  <a:pt x="45" y="39"/>
                </a:lnTo>
                <a:lnTo>
                  <a:pt x="47" y="41"/>
                </a:lnTo>
                <a:lnTo>
                  <a:pt x="49" y="42"/>
                </a:lnTo>
                <a:lnTo>
                  <a:pt x="47" y="45"/>
                </a:lnTo>
                <a:lnTo>
                  <a:pt x="47" y="45"/>
                </a:lnTo>
                <a:lnTo>
                  <a:pt x="40" y="49"/>
                </a:lnTo>
                <a:lnTo>
                  <a:pt x="39" y="51"/>
                </a:lnTo>
                <a:lnTo>
                  <a:pt x="37" y="54"/>
                </a:lnTo>
                <a:lnTo>
                  <a:pt x="37" y="54"/>
                </a:lnTo>
                <a:lnTo>
                  <a:pt x="39" y="61"/>
                </a:lnTo>
                <a:lnTo>
                  <a:pt x="40" y="65"/>
                </a:lnTo>
                <a:lnTo>
                  <a:pt x="39" y="69"/>
                </a:lnTo>
                <a:lnTo>
                  <a:pt x="39" y="69"/>
                </a:lnTo>
                <a:lnTo>
                  <a:pt x="37" y="72"/>
                </a:lnTo>
                <a:lnTo>
                  <a:pt x="37" y="75"/>
                </a:lnTo>
                <a:lnTo>
                  <a:pt x="37" y="78"/>
                </a:lnTo>
                <a:lnTo>
                  <a:pt x="36" y="79"/>
                </a:lnTo>
                <a:lnTo>
                  <a:pt x="36" y="79"/>
                </a:lnTo>
                <a:lnTo>
                  <a:pt x="36" y="79"/>
                </a:lnTo>
                <a:lnTo>
                  <a:pt x="33" y="81"/>
                </a:lnTo>
                <a:lnTo>
                  <a:pt x="30" y="81"/>
                </a:lnTo>
                <a:lnTo>
                  <a:pt x="30" y="84"/>
                </a:lnTo>
                <a:lnTo>
                  <a:pt x="32" y="86"/>
                </a:lnTo>
                <a:lnTo>
                  <a:pt x="32" y="86"/>
                </a:lnTo>
                <a:lnTo>
                  <a:pt x="37" y="92"/>
                </a:lnTo>
                <a:lnTo>
                  <a:pt x="37" y="93"/>
                </a:lnTo>
                <a:lnTo>
                  <a:pt x="36" y="95"/>
                </a:lnTo>
                <a:lnTo>
                  <a:pt x="36" y="95"/>
                </a:lnTo>
                <a:lnTo>
                  <a:pt x="33" y="96"/>
                </a:lnTo>
                <a:lnTo>
                  <a:pt x="32" y="98"/>
                </a:lnTo>
                <a:lnTo>
                  <a:pt x="32" y="101"/>
                </a:lnTo>
                <a:lnTo>
                  <a:pt x="32" y="103"/>
                </a:lnTo>
                <a:lnTo>
                  <a:pt x="32" y="103"/>
                </a:lnTo>
                <a:lnTo>
                  <a:pt x="37" y="108"/>
                </a:lnTo>
                <a:lnTo>
                  <a:pt x="37" y="111"/>
                </a:lnTo>
                <a:lnTo>
                  <a:pt x="37" y="111"/>
                </a:lnTo>
                <a:lnTo>
                  <a:pt x="36" y="112"/>
                </a:lnTo>
                <a:lnTo>
                  <a:pt x="36" y="112"/>
                </a:lnTo>
                <a:lnTo>
                  <a:pt x="32" y="113"/>
                </a:lnTo>
                <a:lnTo>
                  <a:pt x="30" y="115"/>
                </a:lnTo>
                <a:lnTo>
                  <a:pt x="29" y="121"/>
                </a:lnTo>
                <a:lnTo>
                  <a:pt x="29" y="121"/>
                </a:lnTo>
                <a:lnTo>
                  <a:pt x="32" y="126"/>
                </a:lnTo>
                <a:lnTo>
                  <a:pt x="32" y="126"/>
                </a:lnTo>
                <a:lnTo>
                  <a:pt x="36" y="126"/>
                </a:lnTo>
                <a:lnTo>
                  <a:pt x="40" y="128"/>
                </a:lnTo>
                <a:lnTo>
                  <a:pt x="40" y="128"/>
                </a:lnTo>
                <a:lnTo>
                  <a:pt x="43" y="129"/>
                </a:lnTo>
                <a:lnTo>
                  <a:pt x="45" y="132"/>
                </a:lnTo>
                <a:lnTo>
                  <a:pt x="49" y="138"/>
                </a:lnTo>
                <a:lnTo>
                  <a:pt x="53" y="143"/>
                </a:lnTo>
                <a:lnTo>
                  <a:pt x="56" y="145"/>
                </a:lnTo>
                <a:lnTo>
                  <a:pt x="60" y="146"/>
                </a:lnTo>
                <a:lnTo>
                  <a:pt x="60" y="146"/>
                </a:lnTo>
                <a:lnTo>
                  <a:pt x="62" y="145"/>
                </a:lnTo>
                <a:lnTo>
                  <a:pt x="62" y="143"/>
                </a:lnTo>
                <a:lnTo>
                  <a:pt x="63" y="140"/>
                </a:lnTo>
                <a:lnTo>
                  <a:pt x="63" y="140"/>
                </a:lnTo>
                <a:lnTo>
                  <a:pt x="64" y="139"/>
                </a:lnTo>
                <a:lnTo>
                  <a:pt x="67" y="139"/>
                </a:lnTo>
                <a:lnTo>
                  <a:pt x="73" y="140"/>
                </a:lnTo>
                <a:lnTo>
                  <a:pt x="73" y="140"/>
                </a:lnTo>
                <a:lnTo>
                  <a:pt x="76" y="139"/>
                </a:lnTo>
                <a:lnTo>
                  <a:pt x="77" y="138"/>
                </a:lnTo>
                <a:lnTo>
                  <a:pt x="82" y="135"/>
                </a:lnTo>
                <a:lnTo>
                  <a:pt x="87" y="135"/>
                </a:lnTo>
                <a:lnTo>
                  <a:pt x="87" y="135"/>
                </a:lnTo>
                <a:lnTo>
                  <a:pt x="107" y="133"/>
                </a:lnTo>
                <a:lnTo>
                  <a:pt x="107" y="133"/>
                </a:lnTo>
                <a:lnTo>
                  <a:pt x="111" y="133"/>
                </a:lnTo>
                <a:lnTo>
                  <a:pt x="116" y="132"/>
                </a:lnTo>
                <a:lnTo>
                  <a:pt x="117" y="130"/>
                </a:lnTo>
                <a:lnTo>
                  <a:pt x="120" y="128"/>
                </a:lnTo>
                <a:lnTo>
                  <a:pt x="120" y="128"/>
                </a:lnTo>
                <a:lnTo>
                  <a:pt x="121" y="125"/>
                </a:lnTo>
                <a:lnTo>
                  <a:pt x="124" y="122"/>
                </a:lnTo>
                <a:lnTo>
                  <a:pt x="127" y="121"/>
                </a:lnTo>
                <a:lnTo>
                  <a:pt x="131" y="119"/>
                </a:lnTo>
                <a:lnTo>
                  <a:pt x="131" y="119"/>
                </a:lnTo>
                <a:lnTo>
                  <a:pt x="136" y="118"/>
                </a:lnTo>
                <a:lnTo>
                  <a:pt x="137" y="115"/>
                </a:lnTo>
                <a:lnTo>
                  <a:pt x="138" y="108"/>
                </a:lnTo>
                <a:lnTo>
                  <a:pt x="138" y="108"/>
                </a:lnTo>
                <a:lnTo>
                  <a:pt x="140" y="105"/>
                </a:lnTo>
                <a:lnTo>
                  <a:pt x="144" y="102"/>
                </a:lnTo>
                <a:lnTo>
                  <a:pt x="147" y="98"/>
                </a:lnTo>
                <a:lnTo>
                  <a:pt x="150" y="95"/>
                </a:lnTo>
                <a:lnTo>
                  <a:pt x="150" y="95"/>
                </a:lnTo>
                <a:lnTo>
                  <a:pt x="148" y="92"/>
                </a:lnTo>
                <a:lnTo>
                  <a:pt x="147" y="86"/>
                </a:lnTo>
                <a:lnTo>
                  <a:pt x="147" y="79"/>
                </a:lnTo>
                <a:lnTo>
                  <a:pt x="148" y="76"/>
                </a:lnTo>
                <a:lnTo>
                  <a:pt x="150" y="72"/>
                </a:lnTo>
                <a:lnTo>
                  <a:pt x="150" y="72"/>
                </a:lnTo>
                <a:lnTo>
                  <a:pt x="154" y="66"/>
                </a:lnTo>
                <a:lnTo>
                  <a:pt x="158" y="62"/>
                </a:lnTo>
                <a:lnTo>
                  <a:pt x="163" y="59"/>
                </a:lnTo>
                <a:lnTo>
                  <a:pt x="163" y="56"/>
                </a:lnTo>
                <a:lnTo>
                  <a:pt x="163" y="56"/>
                </a:lnTo>
                <a:lnTo>
                  <a:pt x="164" y="54"/>
                </a:lnTo>
                <a:lnTo>
                  <a:pt x="167" y="51"/>
                </a:lnTo>
                <a:lnTo>
                  <a:pt x="173" y="49"/>
                </a:lnTo>
                <a:lnTo>
                  <a:pt x="178" y="48"/>
                </a:lnTo>
                <a:lnTo>
                  <a:pt x="178" y="48"/>
                </a:lnTo>
                <a:lnTo>
                  <a:pt x="183" y="47"/>
                </a:lnTo>
                <a:lnTo>
                  <a:pt x="187" y="45"/>
                </a:lnTo>
                <a:lnTo>
                  <a:pt x="191" y="42"/>
                </a:lnTo>
                <a:lnTo>
                  <a:pt x="195" y="39"/>
                </a:lnTo>
                <a:lnTo>
                  <a:pt x="195" y="39"/>
                </a:lnTo>
                <a:lnTo>
                  <a:pt x="200" y="37"/>
                </a:lnTo>
                <a:lnTo>
                  <a:pt x="201" y="34"/>
                </a:lnTo>
                <a:lnTo>
                  <a:pt x="202" y="31"/>
                </a:lnTo>
                <a:lnTo>
                  <a:pt x="202" y="25"/>
                </a:lnTo>
                <a:lnTo>
                  <a:pt x="202" y="25"/>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27" name="Freeform 314">
            <a:extLst>
              <a:ext uri="{FF2B5EF4-FFF2-40B4-BE49-F238E27FC236}">
                <a16:creationId xmlns:a16="http://schemas.microsoft.com/office/drawing/2014/main" id="{26C2A99F-D4F7-5F68-13E1-AFB4E8E61B22}"/>
              </a:ext>
            </a:extLst>
          </p:cNvPr>
          <p:cNvSpPr>
            <a:spLocks/>
          </p:cNvSpPr>
          <p:nvPr userDrawn="1"/>
        </p:nvSpPr>
        <p:spPr bwMode="gray">
          <a:xfrm>
            <a:off x="4622719" y="2282133"/>
            <a:ext cx="70228" cy="36415"/>
          </a:xfrm>
          <a:custGeom>
            <a:avLst/>
            <a:gdLst/>
            <a:ahLst/>
            <a:cxnLst>
              <a:cxn ang="0">
                <a:pos x="0" y="26"/>
              </a:cxn>
              <a:cxn ang="0">
                <a:pos x="0" y="26"/>
              </a:cxn>
              <a:cxn ang="0">
                <a:pos x="7" y="24"/>
              </a:cxn>
              <a:cxn ang="0">
                <a:pos x="12" y="24"/>
              </a:cxn>
              <a:cxn ang="0">
                <a:pos x="12" y="24"/>
              </a:cxn>
              <a:cxn ang="0">
                <a:pos x="13" y="26"/>
              </a:cxn>
              <a:cxn ang="0">
                <a:pos x="14" y="28"/>
              </a:cxn>
              <a:cxn ang="0">
                <a:pos x="14" y="28"/>
              </a:cxn>
              <a:cxn ang="0">
                <a:pos x="26" y="27"/>
              </a:cxn>
              <a:cxn ang="0">
                <a:pos x="26" y="27"/>
              </a:cxn>
              <a:cxn ang="0">
                <a:pos x="27" y="27"/>
              </a:cxn>
              <a:cxn ang="0">
                <a:pos x="31" y="27"/>
              </a:cxn>
              <a:cxn ang="0">
                <a:pos x="34" y="28"/>
              </a:cxn>
              <a:cxn ang="0">
                <a:pos x="36" y="27"/>
              </a:cxn>
              <a:cxn ang="0">
                <a:pos x="36" y="27"/>
              </a:cxn>
              <a:cxn ang="0">
                <a:pos x="37" y="23"/>
              </a:cxn>
              <a:cxn ang="0">
                <a:pos x="39" y="21"/>
              </a:cxn>
              <a:cxn ang="0">
                <a:pos x="41" y="20"/>
              </a:cxn>
              <a:cxn ang="0">
                <a:pos x="41" y="20"/>
              </a:cxn>
              <a:cxn ang="0">
                <a:pos x="43" y="18"/>
              </a:cxn>
              <a:cxn ang="0">
                <a:pos x="43" y="17"/>
              </a:cxn>
              <a:cxn ang="0">
                <a:pos x="43" y="14"/>
              </a:cxn>
              <a:cxn ang="0">
                <a:pos x="44" y="13"/>
              </a:cxn>
              <a:cxn ang="0">
                <a:pos x="44" y="13"/>
              </a:cxn>
              <a:cxn ang="0">
                <a:pos x="51" y="9"/>
              </a:cxn>
              <a:cxn ang="0">
                <a:pos x="54" y="6"/>
              </a:cxn>
              <a:cxn ang="0">
                <a:pos x="54" y="6"/>
              </a:cxn>
              <a:cxn ang="0">
                <a:pos x="53" y="3"/>
              </a:cxn>
              <a:cxn ang="0">
                <a:pos x="51" y="0"/>
              </a:cxn>
              <a:cxn ang="0">
                <a:pos x="51" y="0"/>
              </a:cxn>
              <a:cxn ang="0">
                <a:pos x="47" y="1"/>
              </a:cxn>
              <a:cxn ang="0">
                <a:pos x="44" y="3"/>
              </a:cxn>
              <a:cxn ang="0">
                <a:pos x="40" y="3"/>
              </a:cxn>
              <a:cxn ang="0">
                <a:pos x="40" y="3"/>
              </a:cxn>
              <a:cxn ang="0">
                <a:pos x="36" y="4"/>
              </a:cxn>
              <a:cxn ang="0">
                <a:pos x="31" y="6"/>
              </a:cxn>
              <a:cxn ang="0">
                <a:pos x="29" y="7"/>
              </a:cxn>
              <a:cxn ang="0">
                <a:pos x="26" y="9"/>
              </a:cxn>
              <a:cxn ang="0">
                <a:pos x="26" y="9"/>
              </a:cxn>
              <a:cxn ang="0">
                <a:pos x="19" y="7"/>
              </a:cxn>
              <a:cxn ang="0">
                <a:pos x="9" y="4"/>
              </a:cxn>
              <a:cxn ang="0">
                <a:pos x="9" y="4"/>
              </a:cxn>
              <a:cxn ang="0">
                <a:pos x="2" y="4"/>
              </a:cxn>
              <a:cxn ang="0">
                <a:pos x="2" y="4"/>
              </a:cxn>
              <a:cxn ang="0">
                <a:pos x="2" y="14"/>
              </a:cxn>
              <a:cxn ang="0">
                <a:pos x="0" y="26"/>
              </a:cxn>
              <a:cxn ang="0">
                <a:pos x="0" y="26"/>
              </a:cxn>
            </a:cxnLst>
            <a:rect l="0" t="0" r="r" b="b"/>
            <a:pathLst>
              <a:path w="54" h="28">
                <a:moveTo>
                  <a:pt x="0" y="26"/>
                </a:moveTo>
                <a:lnTo>
                  <a:pt x="0" y="26"/>
                </a:lnTo>
                <a:lnTo>
                  <a:pt x="7" y="24"/>
                </a:lnTo>
                <a:lnTo>
                  <a:pt x="12" y="24"/>
                </a:lnTo>
                <a:lnTo>
                  <a:pt x="12" y="24"/>
                </a:lnTo>
                <a:lnTo>
                  <a:pt x="13" y="26"/>
                </a:lnTo>
                <a:lnTo>
                  <a:pt x="14" y="28"/>
                </a:lnTo>
                <a:lnTo>
                  <a:pt x="14" y="28"/>
                </a:lnTo>
                <a:lnTo>
                  <a:pt x="26" y="27"/>
                </a:lnTo>
                <a:lnTo>
                  <a:pt x="26" y="27"/>
                </a:lnTo>
                <a:lnTo>
                  <a:pt x="27" y="27"/>
                </a:lnTo>
                <a:lnTo>
                  <a:pt x="31" y="27"/>
                </a:lnTo>
                <a:lnTo>
                  <a:pt x="34" y="28"/>
                </a:lnTo>
                <a:lnTo>
                  <a:pt x="36" y="27"/>
                </a:lnTo>
                <a:lnTo>
                  <a:pt x="36" y="27"/>
                </a:lnTo>
                <a:lnTo>
                  <a:pt x="37" y="23"/>
                </a:lnTo>
                <a:lnTo>
                  <a:pt x="39" y="21"/>
                </a:lnTo>
                <a:lnTo>
                  <a:pt x="41" y="20"/>
                </a:lnTo>
                <a:lnTo>
                  <a:pt x="41" y="20"/>
                </a:lnTo>
                <a:lnTo>
                  <a:pt x="43" y="18"/>
                </a:lnTo>
                <a:lnTo>
                  <a:pt x="43" y="17"/>
                </a:lnTo>
                <a:lnTo>
                  <a:pt x="43" y="14"/>
                </a:lnTo>
                <a:lnTo>
                  <a:pt x="44" y="13"/>
                </a:lnTo>
                <a:lnTo>
                  <a:pt x="44" y="13"/>
                </a:lnTo>
                <a:lnTo>
                  <a:pt x="51" y="9"/>
                </a:lnTo>
                <a:lnTo>
                  <a:pt x="54" y="6"/>
                </a:lnTo>
                <a:lnTo>
                  <a:pt x="54" y="6"/>
                </a:lnTo>
                <a:lnTo>
                  <a:pt x="53" y="3"/>
                </a:lnTo>
                <a:lnTo>
                  <a:pt x="51" y="0"/>
                </a:lnTo>
                <a:lnTo>
                  <a:pt x="51" y="0"/>
                </a:lnTo>
                <a:lnTo>
                  <a:pt x="47" y="1"/>
                </a:lnTo>
                <a:lnTo>
                  <a:pt x="44" y="3"/>
                </a:lnTo>
                <a:lnTo>
                  <a:pt x="40" y="3"/>
                </a:lnTo>
                <a:lnTo>
                  <a:pt x="40" y="3"/>
                </a:lnTo>
                <a:lnTo>
                  <a:pt x="36" y="4"/>
                </a:lnTo>
                <a:lnTo>
                  <a:pt x="31" y="6"/>
                </a:lnTo>
                <a:lnTo>
                  <a:pt x="29" y="7"/>
                </a:lnTo>
                <a:lnTo>
                  <a:pt x="26" y="9"/>
                </a:lnTo>
                <a:lnTo>
                  <a:pt x="26" y="9"/>
                </a:lnTo>
                <a:lnTo>
                  <a:pt x="19" y="7"/>
                </a:lnTo>
                <a:lnTo>
                  <a:pt x="9" y="4"/>
                </a:lnTo>
                <a:lnTo>
                  <a:pt x="9" y="4"/>
                </a:lnTo>
                <a:lnTo>
                  <a:pt x="2" y="4"/>
                </a:lnTo>
                <a:lnTo>
                  <a:pt x="2" y="4"/>
                </a:lnTo>
                <a:lnTo>
                  <a:pt x="2" y="14"/>
                </a:lnTo>
                <a:lnTo>
                  <a:pt x="0" y="26"/>
                </a:lnTo>
                <a:lnTo>
                  <a:pt x="0" y="26"/>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28" name="Freeform 315">
            <a:extLst>
              <a:ext uri="{FF2B5EF4-FFF2-40B4-BE49-F238E27FC236}">
                <a16:creationId xmlns:a16="http://schemas.microsoft.com/office/drawing/2014/main" id="{4BFB3835-8455-C2F6-7DD4-C28050F09112}"/>
              </a:ext>
            </a:extLst>
          </p:cNvPr>
          <p:cNvSpPr>
            <a:spLocks noEditPoints="1"/>
          </p:cNvSpPr>
          <p:nvPr userDrawn="1"/>
        </p:nvSpPr>
        <p:spPr bwMode="gray">
          <a:xfrm>
            <a:off x="4767075" y="2413484"/>
            <a:ext cx="133953" cy="165165"/>
          </a:xfrm>
          <a:custGeom>
            <a:avLst/>
            <a:gdLst/>
            <a:ahLst/>
            <a:cxnLst>
              <a:cxn ang="0">
                <a:pos x="94" y="3"/>
              </a:cxn>
              <a:cxn ang="0">
                <a:pos x="93" y="7"/>
              </a:cxn>
              <a:cxn ang="0">
                <a:pos x="70" y="4"/>
              </a:cxn>
              <a:cxn ang="0">
                <a:pos x="48" y="4"/>
              </a:cxn>
              <a:cxn ang="0">
                <a:pos x="41" y="10"/>
              </a:cxn>
              <a:cxn ang="0">
                <a:pos x="31" y="11"/>
              </a:cxn>
              <a:cxn ang="0">
                <a:pos x="26" y="17"/>
              </a:cxn>
              <a:cxn ang="0">
                <a:pos x="14" y="18"/>
              </a:cxn>
              <a:cxn ang="0">
                <a:pos x="9" y="28"/>
              </a:cxn>
              <a:cxn ang="0">
                <a:pos x="6" y="33"/>
              </a:cxn>
              <a:cxn ang="0">
                <a:pos x="0" y="41"/>
              </a:cxn>
              <a:cxn ang="0">
                <a:pos x="7" y="47"/>
              </a:cxn>
              <a:cxn ang="0">
                <a:pos x="11" y="60"/>
              </a:cxn>
              <a:cxn ang="0">
                <a:pos x="21" y="60"/>
              </a:cxn>
              <a:cxn ang="0">
                <a:pos x="34" y="63"/>
              </a:cxn>
              <a:cxn ang="0">
                <a:pos x="34" y="65"/>
              </a:cxn>
              <a:cxn ang="0">
                <a:pos x="19" y="67"/>
              </a:cxn>
              <a:cxn ang="0">
                <a:pos x="19" y="73"/>
              </a:cxn>
              <a:cxn ang="0">
                <a:pos x="21" y="80"/>
              </a:cxn>
              <a:cxn ang="0">
                <a:pos x="30" y="91"/>
              </a:cxn>
              <a:cxn ang="0">
                <a:pos x="43" y="98"/>
              </a:cxn>
              <a:cxn ang="0">
                <a:pos x="46" y="95"/>
              </a:cxn>
              <a:cxn ang="0">
                <a:pos x="43" y="83"/>
              </a:cxn>
              <a:cxn ang="0">
                <a:pos x="54" y="81"/>
              </a:cxn>
              <a:cxn ang="0">
                <a:pos x="50" y="75"/>
              </a:cxn>
              <a:cxn ang="0">
                <a:pos x="44" y="73"/>
              </a:cxn>
              <a:cxn ang="0">
                <a:pos x="56" y="74"/>
              </a:cxn>
              <a:cxn ang="0">
                <a:pos x="66" y="68"/>
              </a:cxn>
              <a:cxn ang="0">
                <a:pos x="58" y="58"/>
              </a:cxn>
              <a:cxn ang="0">
                <a:pos x="48" y="60"/>
              </a:cxn>
              <a:cxn ang="0">
                <a:pos x="43" y="55"/>
              </a:cxn>
              <a:cxn ang="0">
                <a:pos x="50" y="50"/>
              </a:cxn>
              <a:cxn ang="0">
                <a:pos x="37" y="31"/>
              </a:cxn>
              <a:cxn ang="0">
                <a:pos x="38" y="26"/>
              </a:cxn>
              <a:cxn ang="0">
                <a:pos x="48" y="30"/>
              </a:cxn>
              <a:cxn ang="0">
                <a:pos x="58" y="28"/>
              </a:cxn>
              <a:cxn ang="0">
                <a:pos x="58" y="20"/>
              </a:cxn>
              <a:cxn ang="0">
                <a:pos x="66" y="16"/>
              </a:cxn>
              <a:cxn ang="0">
                <a:pos x="73" y="20"/>
              </a:cxn>
              <a:cxn ang="0">
                <a:pos x="83" y="14"/>
              </a:cxn>
              <a:cxn ang="0">
                <a:pos x="97" y="17"/>
              </a:cxn>
              <a:cxn ang="0">
                <a:pos x="100" y="10"/>
              </a:cxn>
              <a:cxn ang="0">
                <a:pos x="101" y="0"/>
              </a:cxn>
              <a:cxn ang="0">
                <a:pos x="83" y="119"/>
              </a:cxn>
              <a:cxn ang="0">
                <a:pos x="63" y="117"/>
              </a:cxn>
              <a:cxn ang="0">
                <a:pos x="54" y="117"/>
              </a:cxn>
              <a:cxn ang="0">
                <a:pos x="53" y="121"/>
              </a:cxn>
              <a:cxn ang="0">
                <a:pos x="75" y="127"/>
              </a:cxn>
              <a:cxn ang="0">
                <a:pos x="98" y="121"/>
              </a:cxn>
              <a:cxn ang="0">
                <a:pos x="91" y="121"/>
              </a:cxn>
            </a:cxnLst>
            <a:rect l="0" t="0" r="r" b="b"/>
            <a:pathLst>
              <a:path w="103" h="127">
                <a:moveTo>
                  <a:pt x="101" y="0"/>
                </a:moveTo>
                <a:lnTo>
                  <a:pt x="101" y="0"/>
                </a:lnTo>
                <a:lnTo>
                  <a:pt x="95" y="1"/>
                </a:lnTo>
                <a:lnTo>
                  <a:pt x="94" y="3"/>
                </a:lnTo>
                <a:lnTo>
                  <a:pt x="94" y="4"/>
                </a:lnTo>
                <a:lnTo>
                  <a:pt x="94" y="4"/>
                </a:lnTo>
                <a:lnTo>
                  <a:pt x="93" y="6"/>
                </a:lnTo>
                <a:lnTo>
                  <a:pt x="93" y="7"/>
                </a:lnTo>
                <a:lnTo>
                  <a:pt x="87" y="7"/>
                </a:lnTo>
                <a:lnTo>
                  <a:pt x="87" y="7"/>
                </a:lnTo>
                <a:lnTo>
                  <a:pt x="80" y="7"/>
                </a:lnTo>
                <a:lnTo>
                  <a:pt x="70" y="4"/>
                </a:lnTo>
                <a:lnTo>
                  <a:pt x="70" y="4"/>
                </a:lnTo>
                <a:lnTo>
                  <a:pt x="67" y="4"/>
                </a:lnTo>
                <a:lnTo>
                  <a:pt x="60" y="4"/>
                </a:lnTo>
                <a:lnTo>
                  <a:pt x="48" y="4"/>
                </a:lnTo>
                <a:lnTo>
                  <a:pt x="48" y="4"/>
                </a:lnTo>
                <a:lnTo>
                  <a:pt x="48" y="6"/>
                </a:lnTo>
                <a:lnTo>
                  <a:pt x="48" y="6"/>
                </a:lnTo>
                <a:lnTo>
                  <a:pt x="41" y="10"/>
                </a:lnTo>
                <a:lnTo>
                  <a:pt x="36" y="11"/>
                </a:lnTo>
                <a:lnTo>
                  <a:pt x="33" y="11"/>
                </a:lnTo>
                <a:lnTo>
                  <a:pt x="33" y="11"/>
                </a:lnTo>
                <a:lnTo>
                  <a:pt x="31" y="11"/>
                </a:lnTo>
                <a:lnTo>
                  <a:pt x="30" y="13"/>
                </a:lnTo>
                <a:lnTo>
                  <a:pt x="29" y="16"/>
                </a:lnTo>
                <a:lnTo>
                  <a:pt x="26" y="17"/>
                </a:lnTo>
                <a:lnTo>
                  <a:pt x="26" y="17"/>
                </a:lnTo>
                <a:lnTo>
                  <a:pt x="19" y="17"/>
                </a:lnTo>
                <a:lnTo>
                  <a:pt x="16" y="17"/>
                </a:lnTo>
                <a:lnTo>
                  <a:pt x="14" y="18"/>
                </a:lnTo>
                <a:lnTo>
                  <a:pt x="14" y="18"/>
                </a:lnTo>
                <a:lnTo>
                  <a:pt x="13" y="23"/>
                </a:lnTo>
                <a:lnTo>
                  <a:pt x="9" y="27"/>
                </a:lnTo>
                <a:lnTo>
                  <a:pt x="9" y="27"/>
                </a:lnTo>
                <a:lnTo>
                  <a:pt x="9" y="28"/>
                </a:lnTo>
                <a:lnTo>
                  <a:pt x="7" y="31"/>
                </a:lnTo>
                <a:lnTo>
                  <a:pt x="7" y="33"/>
                </a:lnTo>
                <a:lnTo>
                  <a:pt x="6" y="33"/>
                </a:lnTo>
                <a:lnTo>
                  <a:pt x="6" y="33"/>
                </a:lnTo>
                <a:lnTo>
                  <a:pt x="4" y="34"/>
                </a:lnTo>
                <a:lnTo>
                  <a:pt x="3" y="37"/>
                </a:lnTo>
                <a:lnTo>
                  <a:pt x="0" y="41"/>
                </a:lnTo>
                <a:lnTo>
                  <a:pt x="0" y="41"/>
                </a:lnTo>
                <a:lnTo>
                  <a:pt x="2" y="43"/>
                </a:lnTo>
                <a:lnTo>
                  <a:pt x="2" y="43"/>
                </a:lnTo>
                <a:lnTo>
                  <a:pt x="4" y="44"/>
                </a:lnTo>
                <a:lnTo>
                  <a:pt x="7" y="47"/>
                </a:lnTo>
                <a:lnTo>
                  <a:pt x="10" y="51"/>
                </a:lnTo>
                <a:lnTo>
                  <a:pt x="10" y="55"/>
                </a:lnTo>
                <a:lnTo>
                  <a:pt x="10" y="55"/>
                </a:lnTo>
                <a:lnTo>
                  <a:pt x="11" y="60"/>
                </a:lnTo>
                <a:lnTo>
                  <a:pt x="14" y="61"/>
                </a:lnTo>
                <a:lnTo>
                  <a:pt x="17" y="63"/>
                </a:lnTo>
                <a:lnTo>
                  <a:pt x="21" y="60"/>
                </a:lnTo>
                <a:lnTo>
                  <a:pt x="21" y="60"/>
                </a:lnTo>
                <a:lnTo>
                  <a:pt x="23" y="58"/>
                </a:lnTo>
                <a:lnTo>
                  <a:pt x="26" y="58"/>
                </a:lnTo>
                <a:lnTo>
                  <a:pt x="30" y="60"/>
                </a:lnTo>
                <a:lnTo>
                  <a:pt x="34" y="63"/>
                </a:lnTo>
                <a:lnTo>
                  <a:pt x="36" y="65"/>
                </a:lnTo>
                <a:lnTo>
                  <a:pt x="36" y="65"/>
                </a:lnTo>
                <a:lnTo>
                  <a:pt x="36" y="65"/>
                </a:lnTo>
                <a:lnTo>
                  <a:pt x="34" y="65"/>
                </a:lnTo>
                <a:lnTo>
                  <a:pt x="30" y="65"/>
                </a:lnTo>
                <a:lnTo>
                  <a:pt x="24" y="65"/>
                </a:lnTo>
                <a:lnTo>
                  <a:pt x="21" y="65"/>
                </a:lnTo>
                <a:lnTo>
                  <a:pt x="19" y="67"/>
                </a:lnTo>
                <a:lnTo>
                  <a:pt x="19" y="67"/>
                </a:lnTo>
                <a:lnTo>
                  <a:pt x="17" y="68"/>
                </a:lnTo>
                <a:lnTo>
                  <a:pt x="17" y="70"/>
                </a:lnTo>
                <a:lnTo>
                  <a:pt x="19" y="73"/>
                </a:lnTo>
                <a:lnTo>
                  <a:pt x="21" y="77"/>
                </a:lnTo>
                <a:lnTo>
                  <a:pt x="21" y="78"/>
                </a:lnTo>
                <a:lnTo>
                  <a:pt x="21" y="80"/>
                </a:lnTo>
                <a:lnTo>
                  <a:pt x="21" y="80"/>
                </a:lnTo>
                <a:lnTo>
                  <a:pt x="21" y="84"/>
                </a:lnTo>
                <a:lnTo>
                  <a:pt x="23" y="87"/>
                </a:lnTo>
                <a:lnTo>
                  <a:pt x="27" y="90"/>
                </a:lnTo>
                <a:lnTo>
                  <a:pt x="30" y="91"/>
                </a:lnTo>
                <a:lnTo>
                  <a:pt x="30" y="91"/>
                </a:lnTo>
                <a:lnTo>
                  <a:pt x="34" y="92"/>
                </a:lnTo>
                <a:lnTo>
                  <a:pt x="38" y="95"/>
                </a:lnTo>
                <a:lnTo>
                  <a:pt x="43" y="98"/>
                </a:lnTo>
                <a:lnTo>
                  <a:pt x="46" y="98"/>
                </a:lnTo>
                <a:lnTo>
                  <a:pt x="46" y="98"/>
                </a:lnTo>
                <a:lnTo>
                  <a:pt x="46" y="97"/>
                </a:lnTo>
                <a:lnTo>
                  <a:pt x="46" y="95"/>
                </a:lnTo>
                <a:lnTo>
                  <a:pt x="44" y="90"/>
                </a:lnTo>
                <a:lnTo>
                  <a:pt x="43" y="85"/>
                </a:lnTo>
                <a:lnTo>
                  <a:pt x="43" y="83"/>
                </a:lnTo>
                <a:lnTo>
                  <a:pt x="43" y="83"/>
                </a:lnTo>
                <a:lnTo>
                  <a:pt x="44" y="83"/>
                </a:lnTo>
                <a:lnTo>
                  <a:pt x="47" y="83"/>
                </a:lnTo>
                <a:lnTo>
                  <a:pt x="50" y="83"/>
                </a:lnTo>
                <a:lnTo>
                  <a:pt x="54" y="81"/>
                </a:lnTo>
                <a:lnTo>
                  <a:pt x="54" y="81"/>
                </a:lnTo>
                <a:lnTo>
                  <a:pt x="54" y="80"/>
                </a:lnTo>
                <a:lnTo>
                  <a:pt x="53" y="77"/>
                </a:lnTo>
                <a:lnTo>
                  <a:pt x="50" y="75"/>
                </a:lnTo>
                <a:lnTo>
                  <a:pt x="46" y="75"/>
                </a:lnTo>
                <a:lnTo>
                  <a:pt x="46" y="75"/>
                </a:lnTo>
                <a:lnTo>
                  <a:pt x="44" y="74"/>
                </a:lnTo>
                <a:lnTo>
                  <a:pt x="44" y="73"/>
                </a:lnTo>
                <a:lnTo>
                  <a:pt x="47" y="71"/>
                </a:lnTo>
                <a:lnTo>
                  <a:pt x="51" y="73"/>
                </a:lnTo>
                <a:lnTo>
                  <a:pt x="51" y="73"/>
                </a:lnTo>
                <a:lnTo>
                  <a:pt x="56" y="74"/>
                </a:lnTo>
                <a:lnTo>
                  <a:pt x="58" y="73"/>
                </a:lnTo>
                <a:lnTo>
                  <a:pt x="64" y="71"/>
                </a:lnTo>
                <a:lnTo>
                  <a:pt x="64" y="71"/>
                </a:lnTo>
                <a:lnTo>
                  <a:pt x="66" y="68"/>
                </a:lnTo>
                <a:lnTo>
                  <a:pt x="66" y="65"/>
                </a:lnTo>
                <a:lnTo>
                  <a:pt x="63" y="61"/>
                </a:lnTo>
                <a:lnTo>
                  <a:pt x="61" y="58"/>
                </a:lnTo>
                <a:lnTo>
                  <a:pt x="58" y="58"/>
                </a:lnTo>
                <a:lnTo>
                  <a:pt x="58" y="58"/>
                </a:lnTo>
                <a:lnTo>
                  <a:pt x="53" y="58"/>
                </a:lnTo>
                <a:lnTo>
                  <a:pt x="50" y="60"/>
                </a:lnTo>
                <a:lnTo>
                  <a:pt x="48" y="60"/>
                </a:lnTo>
                <a:lnTo>
                  <a:pt x="46" y="58"/>
                </a:lnTo>
                <a:lnTo>
                  <a:pt x="46" y="58"/>
                </a:lnTo>
                <a:lnTo>
                  <a:pt x="44" y="57"/>
                </a:lnTo>
                <a:lnTo>
                  <a:pt x="43" y="55"/>
                </a:lnTo>
                <a:lnTo>
                  <a:pt x="46" y="54"/>
                </a:lnTo>
                <a:lnTo>
                  <a:pt x="48" y="53"/>
                </a:lnTo>
                <a:lnTo>
                  <a:pt x="50" y="51"/>
                </a:lnTo>
                <a:lnTo>
                  <a:pt x="50" y="50"/>
                </a:lnTo>
                <a:lnTo>
                  <a:pt x="50" y="50"/>
                </a:lnTo>
                <a:lnTo>
                  <a:pt x="48" y="46"/>
                </a:lnTo>
                <a:lnTo>
                  <a:pt x="46" y="41"/>
                </a:lnTo>
                <a:lnTo>
                  <a:pt x="37" y="31"/>
                </a:lnTo>
                <a:lnTo>
                  <a:pt x="37" y="31"/>
                </a:lnTo>
                <a:lnTo>
                  <a:pt x="36" y="30"/>
                </a:lnTo>
                <a:lnTo>
                  <a:pt x="36" y="28"/>
                </a:lnTo>
                <a:lnTo>
                  <a:pt x="38" y="26"/>
                </a:lnTo>
                <a:lnTo>
                  <a:pt x="43" y="26"/>
                </a:lnTo>
                <a:lnTo>
                  <a:pt x="46" y="27"/>
                </a:lnTo>
                <a:lnTo>
                  <a:pt x="46" y="27"/>
                </a:lnTo>
                <a:lnTo>
                  <a:pt x="48" y="30"/>
                </a:lnTo>
                <a:lnTo>
                  <a:pt x="51" y="30"/>
                </a:lnTo>
                <a:lnTo>
                  <a:pt x="54" y="30"/>
                </a:lnTo>
                <a:lnTo>
                  <a:pt x="58" y="28"/>
                </a:lnTo>
                <a:lnTo>
                  <a:pt x="58" y="28"/>
                </a:lnTo>
                <a:lnTo>
                  <a:pt x="60" y="28"/>
                </a:lnTo>
                <a:lnTo>
                  <a:pt x="60" y="27"/>
                </a:lnTo>
                <a:lnTo>
                  <a:pt x="58" y="23"/>
                </a:lnTo>
                <a:lnTo>
                  <a:pt x="58" y="20"/>
                </a:lnTo>
                <a:lnTo>
                  <a:pt x="60" y="18"/>
                </a:lnTo>
                <a:lnTo>
                  <a:pt x="61" y="17"/>
                </a:lnTo>
                <a:lnTo>
                  <a:pt x="61" y="17"/>
                </a:lnTo>
                <a:lnTo>
                  <a:pt x="66" y="16"/>
                </a:lnTo>
                <a:lnTo>
                  <a:pt x="68" y="17"/>
                </a:lnTo>
                <a:lnTo>
                  <a:pt x="71" y="20"/>
                </a:lnTo>
                <a:lnTo>
                  <a:pt x="71" y="20"/>
                </a:lnTo>
                <a:lnTo>
                  <a:pt x="73" y="20"/>
                </a:lnTo>
                <a:lnTo>
                  <a:pt x="75" y="17"/>
                </a:lnTo>
                <a:lnTo>
                  <a:pt x="78" y="16"/>
                </a:lnTo>
                <a:lnTo>
                  <a:pt x="83" y="14"/>
                </a:lnTo>
                <a:lnTo>
                  <a:pt x="83" y="14"/>
                </a:lnTo>
                <a:lnTo>
                  <a:pt x="88" y="16"/>
                </a:lnTo>
                <a:lnTo>
                  <a:pt x="94" y="20"/>
                </a:lnTo>
                <a:lnTo>
                  <a:pt x="94" y="20"/>
                </a:lnTo>
                <a:lnTo>
                  <a:pt x="97" y="17"/>
                </a:lnTo>
                <a:lnTo>
                  <a:pt x="98" y="14"/>
                </a:lnTo>
                <a:lnTo>
                  <a:pt x="98" y="14"/>
                </a:lnTo>
                <a:lnTo>
                  <a:pt x="98" y="11"/>
                </a:lnTo>
                <a:lnTo>
                  <a:pt x="100" y="10"/>
                </a:lnTo>
                <a:lnTo>
                  <a:pt x="101" y="9"/>
                </a:lnTo>
                <a:lnTo>
                  <a:pt x="103" y="6"/>
                </a:lnTo>
                <a:lnTo>
                  <a:pt x="103" y="6"/>
                </a:lnTo>
                <a:lnTo>
                  <a:pt x="101" y="0"/>
                </a:lnTo>
                <a:lnTo>
                  <a:pt x="101" y="0"/>
                </a:lnTo>
                <a:close/>
                <a:moveTo>
                  <a:pt x="88" y="119"/>
                </a:moveTo>
                <a:lnTo>
                  <a:pt x="88" y="119"/>
                </a:lnTo>
                <a:lnTo>
                  <a:pt x="83" y="119"/>
                </a:lnTo>
                <a:lnTo>
                  <a:pt x="75" y="119"/>
                </a:lnTo>
                <a:lnTo>
                  <a:pt x="67" y="118"/>
                </a:lnTo>
                <a:lnTo>
                  <a:pt x="64" y="118"/>
                </a:lnTo>
                <a:lnTo>
                  <a:pt x="63" y="117"/>
                </a:lnTo>
                <a:lnTo>
                  <a:pt x="63" y="117"/>
                </a:lnTo>
                <a:lnTo>
                  <a:pt x="60" y="115"/>
                </a:lnTo>
                <a:lnTo>
                  <a:pt x="58" y="115"/>
                </a:lnTo>
                <a:lnTo>
                  <a:pt x="54" y="117"/>
                </a:lnTo>
                <a:lnTo>
                  <a:pt x="51" y="119"/>
                </a:lnTo>
                <a:lnTo>
                  <a:pt x="51" y="121"/>
                </a:lnTo>
                <a:lnTo>
                  <a:pt x="53" y="121"/>
                </a:lnTo>
                <a:lnTo>
                  <a:pt x="53" y="121"/>
                </a:lnTo>
                <a:lnTo>
                  <a:pt x="63" y="124"/>
                </a:lnTo>
                <a:lnTo>
                  <a:pt x="70" y="127"/>
                </a:lnTo>
                <a:lnTo>
                  <a:pt x="75" y="127"/>
                </a:lnTo>
                <a:lnTo>
                  <a:pt x="75" y="127"/>
                </a:lnTo>
                <a:lnTo>
                  <a:pt x="83" y="127"/>
                </a:lnTo>
                <a:lnTo>
                  <a:pt x="90" y="125"/>
                </a:lnTo>
                <a:lnTo>
                  <a:pt x="95" y="122"/>
                </a:lnTo>
                <a:lnTo>
                  <a:pt x="98" y="121"/>
                </a:lnTo>
                <a:lnTo>
                  <a:pt x="98" y="121"/>
                </a:lnTo>
                <a:lnTo>
                  <a:pt x="97" y="119"/>
                </a:lnTo>
                <a:lnTo>
                  <a:pt x="94" y="119"/>
                </a:lnTo>
                <a:lnTo>
                  <a:pt x="91" y="121"/>
                </a:lnTo>
                <a:lnTo>
                  <a:pt x="88" y="119"/>
                </a:lnTo>
                <a:lnTo>
                  <a:pt x="88" y="119"/>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29" name="Freeform 316">
            <a:extLst>
              <a:ext uri="{FF2B5EF4-FFF2-40B4-BE49-F238E27FC236}">
                <a16:creationId xmlns:a16="http://schemas.microsoft.com/office/drawing/2014/main" id="{7A34ED13-3817-9A97-DC1F-22980CE5183B}"/>
              </a:ext>
            </a:extLst>
          </p:cNvPr>
          <p:cNvSpPr>
            <a:spLocks/>
          </p:cNvSpPr>
          <p:nvPr userDrawn="1"/>
        </p:nvSpPr>
        <p:spPr bwMode="gray">
          <a:xfrm>
            <a:off x="5016773" y="2559142"/>
            <a:ext cx="48119" cy="26011"/>
          </a:xfrm>
          <a:custGeom>
            <a:avLst/>
            <a:gdLst/>
            <a:ahLst/>
            <a:cxnLst>
              <a:cxn ang="0">
                <a:pos x="26" y="15"/>
              </a:cxn>
              <a:cxn ang="0">
                <a:pos x="26" y="15"/>
              </a:cxn>
              <a:cxn ang="0">
                <a:pos x="26" y="12"/>
              </a:cxn>
              <a:cxn ang="0">
                <a:pos x="27" y="9"/>
              </a:cxn>
              <a:cxn ang="0">
                <a:pos x="30" y="6"/>
              </a:cxn>
              <a:cxn ang="0">
                <a:pos x="34" y="5"/>
              </a:cxn>
              <a:cxn ang="0">
                <a:pos x="34" y="5"/>
              </a:cxn>
              <a:cxn ang="0">
                <a:pos x="37" y="2"/>
              </a:cxn>
              <a:cxn ang="0">
                <a:pos x="37" y="0"/>
              </a:cxn>
              <a:cxn ang="0">
                <a:pos x="36" y="0"/>
              </a:cxn>
              <a:cxn ang="0">
                <a:pos x="34" y="0"/>
              </a:cxn>
              <a:cxn ang="0">
                <a:pos x="34" y="0"/>
              </a:cxn>
              <a:cxn ang="0">
                <a:pos x="30" y="3"/>
              </a:cxn>
              <a:cxn ang="0">
                <a:pos x="26" y="6"/>
              </a:cxn>
              <a:cxn ang="0">
                <a:pos x="19" y="7"/>
              </a:cxn>
              <a:cxn ang="0">
                <a:pos x="12" y="7"/>
              </a:cxn>
              <a:cxn ang="0">
                <a:pos x="12" y="7"/>
              </a:cxn>
              <a:cxn ang="0">
                <a:pos x="4" y="9"/>
              </a:cxn>
              <a:cxn ang="0">
                <a:pos x="2" y="12"/>
              </a:cxn>
              <a:cxn ang="0">
                <a:pos x="0" y="16"/>
              </a:cxn>
              <a:cxn ang="0">
                <a:pos x="4" y="19"/>
              </a:cxn>
              <a:cxn ang="0">
                <a:pos x="4" y="19"/>
              </a:cxn>
              <a:cxn ang="0">
                <a:pos x="7" y="20"/>
              </a:cxn>
              <a:cxn ang="0">
                <a:pos x="12" y="20"/>
              </a:cxn>
              <a:cxn ang="0">
                <a:pos x="19" y="20"/>
              </a:cxn>
              <a:cxn ang="0">
                <a:pos x="24" y="17"/>
              </a:cxn>
              <a:cxn ang="0">
                <a:pos x="26" y="15"/>
              </a:cxn>
              <a:cxn ang="0">
                <a:pos x="26" y="15"/>
              </a:cxn>
            </a:cxnLst>
            <a:rect l="0" t="0" r="r" b="b"/>
            <a:pathLst>
              <a:path w="37" h="20">
                <a:moveTo>
                  <a:pt x="26" y="15"/>
                </a:moveTo>
                <a:lnTo>
                  <a:pt x="26" y="15"/>
                </a:lnTo>
                <a:lnTo>
                  <a:pt x="26" y="12"/>
                </a:lnTo>
                <a:lnTo>
                  <a:pt x="27" y="9"/>
                </a:lnTo>
                <a:lnTo>
                  <a:pt x="30" y="6"/>
                </a:lnTo>
                <a:lnTo>
                  <a:pt x="34" y="5"/>
                </a:lnTo>
                <a:lnTo>
                  <a:pt x="34" y="5"/>
                </a:lnTo>
                <a:lnTo>
                  <a:pt x="37" y="2"/>
                </a:lnTo>
                <a:lnTo>
                  <a:pt x="37" y="0"/>
                </a:lnTo>
                <a:lnTo>
                  <a:pt x="36" y="0"/>
                </a:lnTo>
                <a:lnTo>
                  <a:pt x="34" y="0"/>
                </a:lnTo>
                <a:lnTo>
                  <a:pt x="34" y="0"/>
                </a:lnTo>
                <a:lnTo>
                  <a:pt x="30" y="3"/>
                </a:lnTo>
                <a:lnTo>
                  <a:pt x="26" y="6"/>
                </a:lnTo>
                <a:lnTo>
                  <a:pt x="19" y="7"/>
                </a:lnTo>
                <a:lnTo>
                  <a:pt x="12" y="7"/>
                </a:lnTo>
                <a:lnTo>
                  <a:pt x="12" y="7"/>
                </a:lnTo>
                <a:lnTo>
                  <a:pt x="4" y="9"/>
                </a:lnTo>
                <a:lnTo>
                  <a:pt x="2" y="12"/>
                </a:lnTo>
                <a:lnTo>
                  <a:pt x="0" y="16"/>
                </a:lnTo>
                <a:lnTo>
                  <a:pt x="4" y="19"/>
                </a:lnTo>
                <a:lnTo>
                  <a:pt x="4" y="19"/>
                </a:lnTo>
                <a:lnTo>
                  <a:pt x="7" y="20"/>
                </a:lnTo>
                <a:lnTo>
                  <a:pt x="12" y="20"/>
                </a:lnTo>
                <a:lnTo>
                  <a:pt x="19" y="20"/>
                </a:lnTo>
                <a:lnTo>
                  <a:pt x="24" y="17"/>
                </a:lnTo>
                <a:lnTo>
                  <a:pt x="26" y="15"/>
                </a:lnTo>
                <a:lnTo>
                  <a:pt x="26" y="15"/>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30" name="Freeform 317">
            <a:extLst>
              <a:ext uri="{FF2B5EF4-FFF2-40B4-BE49-F238E27FC236}">
                <a16:creationId xmlns:a16="http://schemas.microsoft.com/office/drawing/2014/main" id="{C255520A-098B-FFFB-BE6C-78AACDE4727B}"/>
              </a:ext>
            </a:extLst>
          </p:cNvPr>
          <p:cNvSpPr>
            <a:spLocks/>
          </p:cNvSpPr>
          <p:nvPr userDrawn="1"/>
        </p:nvSpPr>
        <p:spPr bwMode="gray">
          <a:xfrm>
            <a:off x="3847616" y="1687801"/>
            <a:ext cx="222387" cy="107943"/>
          </a:xfrm>
          <a:custGeom>
            <a:avLst/>
            <a:gdLst/>
            <a:ahLst/>
            <a:cxnLst>
              <a:cxn ang="0">
                <a:pos x="149" y="59"/>
              </a:cxn>
              <a:cxn ang="0">
                <a:pos x="158" y="50"/>
              </a:cxn>
              <a:cxn ang="0">
                <a:pos x="169" y="37"/>
              </a:cxn>
              <a:cxn ang="0">
                <a:pos x="165" y="26"/>
              </a:cxn>
              <a:cxn ang="0">
                <a:pos x="154" y="22"/>
              </a:cxn>
              <a:cxn ang="0">
                <a:pos x="152" y="15"/>
              </a:cxn>
              <a:cxn ang="0">
                <a:pos x="148" y="6"/>
              </a:cxn>
              <a:cxn ang="0">
                <a:pos x="135" y="6"/>
              </a:cxn>
              <a:cxn ang="0">
                <a:pos x="124" y="0"/>
              </a:cxn>
              <a:cxn ang="0">
                <a:pos x="121" y="10"/>
              </a:cxn>
              <a:cxn ang="0">
                <a:pos x="114" y="9"/>
              </a:cxn>
              <a:cxn ang="0">
                <a:pos x="111" y="13"/>
              </a:cxn>
              <a:cxn ang="0">
                <a:pos x="105" y="10"/>
              </a:cxn>
              <a:cxn ang="0">
                <a:pos x="97" y="12"/>
              </a:cxn>
              <a:cxn ang="0">
                <a:pos x="88" y="9"/>
              </a:cxn>
              <a:cxn ang="0">
                <a:pos x="78" y="13"/>
              </a:cxn>
              <a:cxn ang="0">
                <a:pos x="75" y="19"/>
              </a:cxn>
              <a:cxn ang="0">
                <a:pos x="70" y="12"/>
              </a:cxn>
              <a:cxn ang="0">
                <a:pos x="63" y="15"/>
              </a:cxn>
              <a:cxn ang="0">
                <a:pos x="64" y="25"/>
              </a:cxn>
              <a:cxn ang="0">
                <a:pos x="58" y="25"/>
              </a:cxn>
              <a:cxn ang="0">
                <a:pos x="50" y="32"/>
              </a:cxn>
              <a:cxn ang="0">
                <a:pos x="46" y="19"/>
              </a:cxn>
              <a:cxn ang="0">
                <a:pos x="46" y="15"/>
              </a:cxn>
              <a:cxn ang="0">
                <a:pos x="23" y="2"/>
              </a:cxn>
              <a:cxn ang="0">
                <a:pos x="24" y="10"/>
              </a:cxn>
              <a:cxn ang="0">
                <a:pos x="21" y="12"/>
              </a:cxn>
              <a:cxn ang="0">
                <a:pos x="14" y="9"/>
              </a:cxn>
              <a:cxn ang="0">
                <a:pos x="3" y="20"/>
              </a:cxn>
              <a:cxn ang="0">
                <a:pos x="1" y="27"/>
              </a:cxn>
              <a:cxn ang="0">
                <a:pos x="16" y="29"/>
              </a:cxn>
              <a:cxn ang="0">
                <a:pos x="36" y="29"/>
              </a:cxn>
              <a:cxn ang="0">
                <a:pos x="34" y="33"/>
              </a:cxn>
              <a:cxn ang="0">
                <a:pos x="33" y="36"/>
              </a:cxn>
              <a:cxn ang="0">
                <a:pos x="24" y="42"/>
              </a:cxn>
              <a:cxn ang="0">
                <a:pos x="6" y="44"/>
              </a:cxn>
              <a:cxn ang="0">
                <a:pos x="7" y="47"/>
              </a:cxn>
              <a:cxn ang="0">
                <a:pos x="27" y="46"/>
              </a:cxn>
              <a:cxn ang="0">
                <a:pos x="31" y="53"/>
              </a:cxn>
              <a:cxn ang="0">
                <a:pos x="38" y="54"/>
              </a:cxn>
              <a:cxn ang="0">
                <a:pos x="41" y="60"/>
              </a:cxn>
              <a:cxn ang="0">
                <a:pos x="34" y="66"/>
              </a:cxn>
              <a:cxn ang="0">
                <a:pos x="26" y="70"/>
              </a:cxn>
              <a:cxn ang="0">
                <a:pos x="46" y="70"/>
              </a:cxn>
              <a:cxn ang="0">
                <a:pos x="75" y="81"/>
              </a:cxn>
              <a:cxn ang="0">
                <a:pos x="100" y="79"/>
              </a:cxn>
              <a:cxn ang="0">
                <a:pos x="104" y="73"/>
              </a:cxn>
              <a:cxn ang="0">
                <a:pos x="122" y="69"/>
              </a:cxn>
              <a:cxn ang="0">
                <a:pos x="145" y="60"/>
              </a:cxn>
            </a:cxnLst>
            <a:rect l="0" t="0" r="r" b="b"/>
            <a:pathLst>
              <a:path w="171" h="83">
                <a:moveTo>
                  <a:pt x="145" y="60"/>
                </a:moveTo>
                <a:lnTo>
                  <a:pt x="145" y="60"/>
                </a:lnTo>
                <a:lnTo>
                  <a:pt x="148" y="59"/>
                </a:lnTo>
                <a:lnTo>
                  <a:pt x="149" y="59"/>
                </a:lnTo>
                <a:lnTo>
                  <a:pt x="152" y="54"/>
                </a:lnTo>
                <a:lnTo>
                  <a:pt x="155" y="52"/>
                </a:lnTo>
                <a:lnTo>
                  <a:pt x="157" y="50"/>
                </a:lnTo>
                <a:lnTo>
                  <a:pt x="158" y="50"/>
                </a:lnTo>
                <a:lnTo>
                  <a:pt x="158" y="50"/>
                </a:lnTo>
                <a:lnTo>
                  <a:pt x="161" y="49"/>
                </a:lnTo>
                <a:lnTo>
                  <a:pt x="164" y="46"/>
                </a:lnTo>
                <a:lnTo>
                  <a:pt x="169" y="37"/>
                </a:lnTo>
                <a:lnTo>
                  <a:pt x="169" y="37"/>
                </a:lnTo>
                <a:lnTo>
                  <a:pt x="171" y="34"/>
                </a:lnTo>
                <a:lnTo>
                  <a:pt x="168" y="30"/>
                </a:lnTo>
                <a:lnTo>
                  <a:pt x="165" y="26"/>
                </a:lnTo>
                <a:lnTo>
                  <a:pt x="161" y="25"/>
                </a:lnTo>
                <a:lnTo>
                  <a:pt x="161" y="25"/>
                </a:lnTo>
                <a:lnTo>
                  <a:pt x="158" y="25"/>
                </a:lnTo>
                <a:lnTo>
                  <a:pt x="154" y="22"/>
                </a:lnTo>
                <a:lnTo>
                  <a:pt x="152" y="19"/>
                </a:lnTo>
                <a:lnTo>
                  <a:pt x="152" y="17"/>
                </a:lnTo>
                <a:lnTo>
                  <a:pt x="152" y="17"/>
                </a:lnTo>
                <a:lnTo>
                  <a:pt x="152" y="15"/>
                </a:lnTo>
                <a:lnTo>
                  <a:pt x="151" y="12"/>
                </a:lnTo>
                <a:lnTo>
                  <a:pt x="149" y="7"/>
                </a:lnTo>
                <a:lnTo>
                  <a:pt x="149" y="7"/>
                </a:lnTo>
                <a:lnTo>
                  <a:pt x="148" y="6"/>
                </a:lnTo>
                <a:lnTo>
                  <a:pt x="145" y="6"/>
                </a:lnTo>
                <a:lnTo>
                  <a:pt x="139" y="7"/>
                </a:lnTo>
                <a:lnTo>
                  <a:pt x="139" y="7"/>
                </a:lnTo>
                <a:lnTo>
                  <a:pt x="135" y="6"/>
                </a:lnTo>
                <a:lnTo>
                  <a:pt x="131" y="3"/>
                </a:lnTo>
                <a:lnTo>
                  <a:pt x="127" y="0"/>
                </a:lnTo>
                <a:lnTo>
                  <a:pt x="125" y="0"/>
                </a:lnTo>
                <a:lnTo>
                  <a:pt x="124" y="0"/>
                </a:lnTo>
                <a:lnTo>
                  <a:pt x="124" y="0"/>
                </a:lnTo>
                <a:lnTo>
                  <a:pt x="122" y="2"/>
                </a:lnTo>
                <a:lnTo>
                  <a:pt x="121" y="5"/>
                </a:lnTo>
                <a:lnTo>
                  <a:pt x="121" y="10"/>
                </a:lnTo>
                <a:lnTo>
                  <a:pt x="121" y="10"/>
                </a:lnTo>
                <a:lnTo>
                  <a:pt x="120" y="10"/>
                </a:lnTo>
                <a:lnTo>
                  <a:pt x="117" y="10"/>
                </a:lnTo>
                <a:lnTo>
                  <a:pt x="114" y="9"/>
                </a:lnTo>
                <a:lnTo>
                  <a:pt x="112" y="10"/>
                </a:lnTo>
                <a:lnTo>
                  <a:pt x="112" y="10"/>
                </a:lnTo>
                <a:lnTo>
                  <a:pt x="112" y="10"/>
                </a:lnTo>
                <a:lnTo>
                  <a:pt x="111" y="13"/>
                </a:lnTo>
                <a:lnTo>
                  <a:pt x="110" y="13"/>
                </a:lnTo>
                <a:lnTo>
                  <a:pt x="108" y="13"/>
                </a:lnTo>
                <a:lnTo>
                  <a:pt x="105" y="10"/>
                </a:lnTo>
                <a:lnTo>
                  <a:pt x="105" y="10"/>
                </a:lnTo>
                <a:lnTo>
                  <a:pt x="102" y="9"/>
                </a:lnTo>
                <a:lnTo>
                  <a:pt x="100" y="9"/>
                </a:lnTo>
                <a:lnTo>
                  <a:pt x="97" y="10"/>
                </a:lnTo>
                <a:lnTo>
                  <a:pt x="97" y="12"/>
                </a:lnTo>
                <a:lnTo>
                  <a:pt x="97" y="12"/>
                </a:lnTo>
                <a:lnTo>
                  <a:pt x="95" y="13"/>
                </a:lnTo>
                <a:lnTo>
                  <a:pt x="94" y="13"/>
                </a:lnTo>
                <a:lnTo>
                  <a:pt x="88" y="9"/>
                </a:lnTo>
                <a:lnTo>
                  <a:pt x="88" y="9"/>
                </a:lnTo>
                <a:lnTo>
                  <a:pt x="84" y="9"/>
                </a:lnTo>
                <a:lnTo>
                  <a:pt x="81" y="10"/>
                </a:lnTo>
                <a:lnTo>
                  <a:pt x="78" y="13"/>
                </a:lnTo>
                <a:lnTo>
                  <a:pt x="77" y="17"/>
                </a:lnTo>
                <a:lnTo>
                  <a:pt x="77" y="17"/>
                </a:lnTo>
                <a:lnTo>
                  <a:pt x="77" y="19"/>
                </a:lnTo>
                <a:lnTo>
                  <a:pt x="75" y="19"/>
                </a:lnTo>
                <a:lnTo>
                  <a:pt x="74" y="17"/>
                </a:lnTo>
                <a:lnTo>
                  <a:pt x="71" y="13"/>
                </a:lnTo>
                <a:lnTo>
                  <a:pt x="71" y="13"/>
                </a:lnTo>
                <a:lnTo>
                  <a:pt x="70" y="12"/>
                </a:lnTo>
                <a:lnTo>
                  <a:pt x="67" y="10"/>
                </a:lnTo>
                <a:lnTo>
                  <a:pt x="66" y="10"/>
                </a:lnTo>
                <a:lnTo>
                  <a:pt x="64" y="12"/>
                </a:lnTo>
                <a:lnTo>
                  <a:pt x="63" y="15"/>
                </a:lnTo>
                <a:lnTo>
                  <a:pt x="64" y="19"/>
                </a:lnTo>
                <a:lnTo>
                  <a:pt x="64" y="19"/>
                </a:lnTo>
                <a:lnTo>
                  <a:pt x="66" y="22"/>
                </a:lnTo>
                <a:lnTo>
                  <a:pt x="64" y="25"/>
                </a:lnTo>
                <a:lnTo>
                  <a:pt x="64" y="26"/>
                </a:lnTo>
                <a:lnTo>
                  <a:pt x="61" y="26"/>
                </a:lnTo>
                <a:lnTo>
                  <a:pt x="61" y="26"/>
                </a:lnTo>
                <a:lnTo>
                  <a:pt x="58" y="25"/>
                </a:lnTo>
                <a:lnTo>
                  <a:pt x="56" y="26"/>
                </a:lnTo>
                <a:lnTo>
                  <a:pt x="51" y="30"/>
                </a:lnTo>
                <a:lnTo>
                  <a:pt x="51" y="30"/>
                </a:lnTo>
                <a:lnTo>
                  <a:pt x="50" y="32"/>
                </a:lnTo>
                <a:lnTo>
                  <a:pt x="48" y="30"/>
                </a:lnTo>
                <a:lnTo>
                  <a:pt x="46" y="26"/>
                </a:lnTo>
                <a:lnTo>
                  <a:pt x="44" y="22"/>
                </a:lnTo>
                <a:lnTo>
                  <a:pt x="46" y="19"/>
                </a:lnTo>
                <a:lnTo>
                  <a:pt x="47" y="17"/>
                </a:lnTo>
                <a:lnTo>
                  <a:pt x="47" y="17"/>
                </a:lnTo>
                <a:lnTo>
                  <a:pt x="47" y="16"/>
                </a:lnTo>
                <a:lnTo>
                  <a:pt x="46" y="15"/>
                </a:lnTo>
                <a:lnTo>
                  <a:pt x="40" y="9"/>
                </a:lnTo>
                <a:lnTo>
                  <a:pt x="30" y="3"/>
                </a:lnTo>
                <a:lnTo>
                  <a:pt x="23" y="2"/>
                </a:lnTo>
                <a:lnTo>
                  <a:pt x="23" y="2"/>
                </a:lnTo>
                <a:lnTo>
                  <a:pt x="19" y="3"/>
                </a:lnTo>
                <a:lnTo>
                  <a:pt x="19" y="5"/>
                </a:lnTo>
                <a:lnTo>
                  <a:pt x="21" y="7"/>
                </a:lnTo>
                <a:lnTo>
                  <a:pt x="24" y="10"/>
                </a:lnTo>
                <a:lnTo>
                  <a:pt x="24" y="10"/>
                </a:lnTo>
                <a:lnTo>
                  <a:pt x="26" y="13"/>
                </a:lnTo>
                <a:lnTo>
                  <a:pt x="24" y="13"/>
                </a:lnTo>
                <a:lnTo>
                  <a:pt x="21" y="12"/>
                </a:lnTo>
                <a:lnTo>
                  <a:pt x="19" y="10"/>
                </a:lnTo>
                <a:lnTo>
                  <a:pt x="19" y="10"/>
                </a:lnTo>
                <a:lnTo>
                  <a:pt x="17" y="9"/>
                </a:lnTo>
                <a:lnTo>
                  <a:pt x="14" y="9"/>
                </a:lnTo>
                <a:lnTo>
                  <a:pt x="11" y="12"/>
                </a:lnTo>
                <a:lnTo>
                  <a:pt x="9" y="15"/>
                </a:lnTo>
                <a:lnTo>
                  <a:pt x="9" y="15"/>
                </a:lnTo>
                <a:lnTo>
                  <a:pt x="3" y="20"/>
                </a:lnTo>
                <a:lnTo>
                  <a:pt x="1" y="23"/>
                </a:lnTo>
                <a:lnTo>
                  <a:pt x="0" y="25"/>
                </a:lnTo>
                <a:lnTo>
                  <a:pt x="0" y="25"/>
                </a:lnTo>
                <a:lnTo>
                  <a:pt x="1" y="27"/>
                </a:lnTo>
                <a:lnTo>
                  <a:pt x="6" y="29"/>
                </a:lnTo>
                <a:lnTo>
                  <a:pt x="10" y="30"/>
                </a:lnTo>
                <a:lnTo>
                  <a:pt x="16" y="29"/>
                </a:lnTo>
                <a:lnTo>
                  <a:pt x="16" y="29"/>
                </a:lnTo>
                <a:lnTo>
                  <a:pt x="21" y="27"/>
                </a:lnTo>
                <a:lnTo>
                  <a:pt x="27" y="26"/>
                </a:lnTo>
                <a:lnTo>
                  <a:pt x="31" y="27"/>
                </a:lnTo>
                <a:lnTo>
                  <a:pt x="36" y="29"/>
                </a:lnTo>
                <a:lnTo>
                  <a:pt x="36" y="29"/>
                </a:lnTo>
                <a:lnTo>
                  <a:pt x="36" y="30"/>
                </a:lnTo>
                <a:lnTo>
                  <a:pt x="36" y="32"/>
                </a:lnTo>
                <a:lnTo>
                  <a:pt x="34" y="33"/>
                </a:lnTo>
                <a:lnTo>
                  <a:pt x="31" y="34"/>
                </a:lnTo>
                <a:lnTo>
                  <a:pt x="31" y="36"/>
                </a:lnTo>
                <a:lnTo>
                  <a:pt x="33" y="36"/>
                </a:lnTo>
                <a:lnTo>
                  <a:pt x="33" y="36"/>
                </a:lnTo>
                <a:lnTo>
                  <a:pt x="34" y="39"/>
                </a:lnTo>
                <a:lnTo>
                  <a:pt x="33" y="40"/>
                </a:lnTo>
                <a:lnTo>
                  <a:pt x="30" y="42"/>
                </a:lnTo>
                <a:lnTo>
                  <a:pt x="24" y="42"/>
                </a:lnTo>
                <a:lnTo>
                  <a:pt x="24" y="42"/>
                </a:lnTo>
                <a:lnTo>
                  <a:pt x="17" y="42"/>
                </a:lnTo>
                <a:lnTo>
                  <a:pt x="10" y="42"/>
                </a:lnTo>
                <a:lnTo>
                  <a:pt x="6" y="44"/>
                </a:lnTo>
                <a:lnTo>
                  <a:pt x="6" y="44"/>
                </a:lnTo>
                <a:lnTo>
                  <a:pt x="6" y="46"/>
                </a:lnTo>
                <a:lnTo>
                  <a:pt x="6" y="46"/>
                </a:lnTo>
                <a:lnTo>
                  <a:pt x="7" y="47"/>
                </a:lnTo>
                <a:lnTo>
                  <a:pt x="10" y="47"/>
                </a:lnTo>
                <a:lnTo>
                  <a:pt x="17" y="46"/>
                </a:lnTo>
                <a:lnTo>
                  <a:pt x="26" y="46"/>
                </a:lnTo>
                <a:lnTo>
                  <a:pt x="27" y="46"/>
                </a:lnTo>
                <a:lnTo>
                  <a:pt x="29" y="46"/>
                </a:lnTo>
                <a:lnTo>
                  <a:pt x="29" y="46"/>
                </a:lnTo>
                <a:lnTo>
                  <a:pt x="30" y="52"/>
                </a:lnTo>
                <a:lnTo>
                  <a:pt x="31" y="53"/>
                </a:lnTo>
                <a:lnTo>
                  <a:pt x="34" y="53"/>
                </a:lnTo>
                <a:lnTo>
                  <a:pt x="34" y="53"/>
                </a:lnTo>
                <a:lnTo>
                  <a:pt x="37" y="52"/>
                </a:lnTo>
                <a:lnTo>
                  <a:pt x="38" y="54"/>
                </a:lnTo>
                <a:lnTo>
                  <a:pt x="38" y="56"/>
                </a:lnTo>
                <a:lnTo>
                  <a:pt x="40" y="57"/>
                </a:lnTo>
                <a:lnTo>
                  <a:pt x="40" y="57"/>
                </a:lnTo>
                <a:lnTo>
                  <a:pt x="41" y="60"/>
                </a:lnTo>
                <a:lnTo>
                  <a:pt x="40" y="62"/>
                </a:lnTo>
                <a:lnTo>
                  <a:pt x="38" y="64"/>
                </a:lnTo>
                <a:lnTo>
                  <a:pt x="34" y="66"/>
                </a:lnTo>
                <a:lnTo>
                  <a:pt x="34" y="66"/>
                </a:lnTo>
                <a:lnTo>
                  <a:pt x="26" y="67"/>
                </a:lnTo>
                <a:lnTo>
                  <a:pt x="24" y="69"/>
                </a:lnTo>
                <a:lnTo>
                  <a:pt x="26" y="70"/>
                </a:lnTo>
                <a:lnTo>
                  <a:pt x="26" y="70"/>
                </a:lnTo>
                <a:lnTo>
                  <a:pt x="30" y="73"/>
                </a:lnTo>
                <a:lnTo>
                  <a:pt x="34" y="73"/>
                </a:lnTo>
                <a:lnTo>
                  <a:pt x="46" y="70"/>
                </a:lnTo>
                <a:lnTo>
                  <a:pt x="46" y="70"/>
                </a:lnTo>
                <a:lnTo>
                  <a:pt x="50" y="70"/>
                </a:lnTo>
                <a:lnTo>
                  <a:pt x="53" y="70"/>
                </a:lnTo>
                <a:lnTo>
                  <a:pt x="60" y="73"/>
                </a:lnTo>
                <a:lnTo>
                  <a:pt x="75" y="81"/>
                </a:lnTo>
                <a:lnTo>
                  <a:pt x="75" y="81"/>
                </a:lnTo>
                <a:lnTo>
                  <a:pt x="84" y="83"/>
                </a:lnTo>
                <a:lnTo>
                  <a:pt x="93" y="81"/>
                </a:lnTo>
                <a:lnTo>
                  <a:pt x="100" y="79"/>
                </a:lnTo>
                <a:lnTo>
                  <a:pt x="101" y="77"/>
                </a:lnTo>
                <a:lnTo>
                  <a:pt x="102" y="74"/>
                </a:lnTo>
                <a:lnTo>
                  <a:pt x="102" y="74"/>
                </a:lnTo>
                <a:lnTo>
                  <a:pt x="104" y="73"/>
                </a:lnTo>
                <a:lnTo>
                  <a:pt x="107" y="73"/>
                </a:lnTo>
                <a:lnTo>
                  <a:pt x="111" y="71"/>
                </a:lnTo>
                <a:lnTo>
                  <a:pt x="118" y="70"/>
                </a:lnTo>
                <a:lnTo>
                  <a:pt x="122" y="69"/>
                </a:lnTo>
                <a:lnTo>
                  <a:pt x="122" y="69"/>
                </a:lnTo>
                <a:lnTo>
                  <a:pt x="132" y="63"/>
                </a:lnTo>
                <a:lnTo>
                  <a:pt x="138" y="62"/>
                </a:lnTo>
                <a:lnTo>
                  <a:pt x="145" y="60"/>
                </a:lnTo>
                <a:lnTo>
                  <a:pt x="145" y="6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31" name="Freeform 318">
            <a:extLst>
              <a:ext uri="{FF2B5EF4-FFF2-40B4-BE49-F238E27FC236}">
                <a16:creationId xmlns:a16="http://schemas.microsoft.com/office/drawing/2014/main" id="{D4094F98-9FF6-62A3-29C5-953977CA6576}"/>
              </a:ext>
            </a:extLst>
          </p:cNvPr>
          <p:cNvSpPr>
            <a:spLocks/>
          </p:cNvSpPr>
          <p:nvPr userDrawn="1"/>
        </p:nvSpPr>
        <p:spPr bwMode="gray">
          <a:xfrm>
            <a:off x="4136329" y="2053244"/>
            <a:ext cx="88435" cy="102740"/>
          </a:xfrm>
          <a:custGeom>
            <a:avLst/>
            <a:gdLst/>
            <a:ahLst/>
            <a:cxnLst>
              <a:cxn ang="0">
                <a:pos x="64" y="24"/>
              </a:cxn>
              <a:cxn ang="0">
                <a:pos x="58" y="18"/>
              </a:cxn>
              <a:cxn ang="0">
                <a:pos x="51" y="15"/>
              </a:cxn>
              <a:cxn ang="0">
                <a:pos x="50" y="21"/>
              </a:cxn>
              <a:cxn ang="0">
                <a:pos x="48" y="24"/>
              </a:cxn>
              <a:cxn ang="0">
                <a:pos x="38" y="20"/>
              </a:cxn>
              <a:cxn ang="0">
                <a:pos x="38" y="18"/>
              </a:cxn>
              <a:cxn ang="0">
                <a:pos x="43" y="10"/>
              </a:cxn>
              <a:cxn ang="0">
                <a:pos x="46" y="7"/>
              </a:cxn>
              <a:cxn ang="0">
                <a:pos x="47" y="1"/>
              </a:cxn>
              <a:cxn ang="0">
                <a:pos x="46" y="1"/>
              </a:cxn>
              <a:cxn ang="0">
                <a:pos x="34" y="0"/>
              </a:cxn>
              <a:cxn ang="0">
                <a:pos x="30" y="2"/>
              </a:cxn>
              <a:cxn ang="0">
                <a:pos x="28" y="4"/>
              </a:cxn>
              <a:cxn ang="0">
                <a:pos x="33" y="8"/>
              </a:cxn>
              <a:cxn ang="0">
                <a:pos x="37" y="11"/>
              </a:cxn>
              <a:cxn ang="0">
                <a:pos x="36" y="14"/>
              </a:cxn>
              <a:cxn ang="0">
                <a:pos x="28" y="17"/>
              </a:cxn>
              <a:cxn ang="0">
                <a:pos x="24" y="18"/>
              </a:cxn>
              <a:cxn ang="0">
                <a:pos x="16" y="18"/>
              </a:cxn>
              <a:cxn ang="0">
                <a:pos x="7" y="18"/>
              </a:cxn>
              <a:cxn ang="0">
                <a:pos x="6" y="20"/>
              </a:cxn>
              <a:cxn ang="0">
                <a:pos x="7" y="24"/>
              </a:cxn>
              <a:cxn ang="0">
                <a:pos x="9" y="28"/>
              </a:cxn>
              <a:cxn ang="0">
                <a:pos x="9" y="31"/>
              </a:cxn>
              <a:cxn ang="0">
                <a:pos x="7" y="37"/>
              </a:cxn>
              <a:cxn ang="0">
                <a:pos x="16" y="42"/>
              </a:cxn>
              <a:cxn ang="0">
                <a:pos x="18" y="45"/>
              </a:cxn>
              <a:cxn ang="0">
                <a:pos x="13" y="51"/>
              </a:cxn>
              <a:cxn ang="0">
                <a:pos x="11" y="55"/>
              </a:cxn>
              <a:cxn ang="0">
                <a:pos x="10" y="59"/>
              </a:cxn>
              <a:cxn ang="0">
                <a:pos x="3" y="64"/>
              </a:cxn>
              <a:cxn ang="0">
                <a:pos x="1" y="66"/>
              </a:cxn>
              <a:cxn ang="0">
                <a:pos x="1" y="69"/>
              </a:cxn>
              <a:cxn ang="0">
                <a:pos x="10" y="78"/>
              </a:cxn>
              <a:cxn ang="0">
                <a:pos x="17" y="79"/>
              </a:cxn>
              <a:cxn ang="0">
                <a:pos x="30" y="76"/>
              </a:cxn>
              <a:cxn ang="0">
                <a:pos x="44" y="68"/>
              </a:cxn>
              <a:cxn ang="0">
                <a:pos x="47" y="65"/>
              </a:cxn>
              <a:cxn ang="0">
                <a:pos x="54" y="64"/>
              </a:cxn>
              <a:cxn ang="0">
                <a:pos x="64" y="64"/>
              </a:cxn>
              <a:cxn ang="0">
                <a:pos x="67" y="61"/>
              </a:cxn>
              <a:cxn ang="0">
                <a:pos x="68" y="45"/>
              </a:cxn>
              <a:cxn ang="0">
                <a:pos x="64" y="27"/>
              </a:cxn>
              <a:cxn ang="0">
                <a:pos x="64" y="24"/>
              </a:cxn>
            </a:cxnLst>
            <a:rect l="0" t="0" r="r" b="b"/>
            <a:pathLst>
              <a:path w="68" h="79">
                <a:moveTo>
                  <a:pt x="64" y="24"/>
                </a:moveTo>
                <a:lnTo>
                  <a:pt x="64" y="24"/>
                </a:lnTo>
                <a:lnTo>
                  <a:pt x="58" y="18"/>
                </a:lnTo>
                <a:lnTo>
                  <a:pt x="58" y="18"/>
                </a:lnTo>
                <a:lnTo>
                  <a:pt x="54" y="15"/>
                </a:lnTo>
                <a:lnTo>
                  <a:pt x="51" y="15"/>
                </a:lnTo>
                <a:lnTo>
                  <a:pt x="50" y="18"/>
                </a:lnTo>
                <a:lnTo>
                  <a:pt x="50" y="21"/>
                </a:lnTo>
                <a:lnTo>
                  <a:pt x="50" y="21"/>
                </a:lnTo>
                <a:lnTo>
                  <a:pt x="48" y="24"/>
                </a:lnTo>
                <a:lnTo>
                  <a:pt x="46" y="22"/>
                </a:lnTo>
                <a:lnTo>
                  <a:pt x="38" y="20"/>
                </a:lnTo>
                <a:lnTo>
                  <a:pt x="38" y="20"/>
                </a:lnTo>
                <a:lnTo>
                  <a:pt x="38" y="18"/>
                </a:lnTo>
                <a:lnTo>
                  <a:pt x="38" y="15"/>
                </a:lnTo>
                <a:lnTo>
                  <a:pt x="43" y="10"/>
                </a:lnTo>
                <a:lnTo>
                  <a:pt x="43" y="10"/>
                </a:lnTo>
                <a:lnTo>
                  <a:pt x="46" y="7"/>
                </a:lnTo>
                <a:lnTo>
                  <a:pt x="47" y="1"/>
                </a:lnTo>
                <a:lnTo>
                  <a:pt x="47" y="1"/>
                </a:lnTo>
                <a:lnTo>
                  <a:pt x="46" y="1"/>
                </a:lnTo>
                <a:lnTo>
                  <a:pt x="46" y="1"/>
                </a:lnTo>
                <a:lnTo>
                  <a:pt x="40" y="0"/>
                </a:lnTo>
                <a:lnTo>
                  <a:pt x="34" y="0"/>
                </a:lnTo>
                <a:lnTo>
                  <a:pt x="31" y="1"/>
                </a:lnTo>
                <a:lnTo>
                  <a:pt x="30" y="2"/>
                </a:lnTo>
                <a:lnTo>
                  <a:pt x="28" y="4"/>
                </a:lnTo>
                <a:lnTo>
                  <a:pt x="28" y="4"/>
                </a:lnTo>
                <a:lnTo>
                  <a:pt x="30" y="7"/>
                </a:lnTo>
                <a:lnTo>
                  <a:pt x="33" y="8"/>
                </a:lnTo>
                <a:lnTo>
                  <a:pt x="36" y="10"/>
                </a:lnTo>
                <a:lnTo>
                  <a:pt x="37" y="11"/>
                </a:lnTo>
                <a:lnTo>
                  <a:pt x="37" y="11"/>
                </a:lnTo>
                <a:lnTo>
                  <a:pt x="36" y="14"/>
                </a:lnTo>
                <a:lnTo>
                  <a:pt x="33" y="15"/>
                </a:lnTo>
                <a:lnTo>
                  <a:pt x="28" y="17"/>
                </a:lnTo>
                <a:lnTo>
                  <a:pt x="24" y="18"/>
                </a:lnTo>
                <a:lnTo>
                  <a:pt x="24" y="18"/>
                </a:lnTo>
                <a:lnTo>
                  <a:pt x="20" y="20"/>
                </a:lnTo>
                <a:lnTo>
                  <a:pt x="16" y="18"/>
                </a:lnTo>
                <a:lnTo>
                  <a:pt x="11" y="18"/>
                </a:lnTo>
                <a:lnTo>
                  <a:pt x="7" y="18"/>
                </a:lnTo>
                <a:lnTo>
                  <a:pt x="7" y="18"/>
                </a:lnTo>
                <a:lnTo>
                  <a:pt x="6" y="20"/>
                </a:lnTo>
                <a:lnTo>
                  <a:pt x="4" y="21"/>
                </a:lnTo>
                <a:lnTo>
                  <a:pt x="7" y="24"/>
                </a:lnTo>
                <a:lnTo>
                  <a:pt x="9" y="27"/>
                </a:lnTo>
                <a:lnTo>
                  <a:pt x="9" y="28"/>
                </a:lnTo>
                <a:lnTo>
                  <a:pt x="9" y="31"/>
                </a:lnTo>
                <a:lnTo>
                  <a:pt x="9" y="31"/>
                </a:lnTo>
                <a:lnTo>
                  <a:pt x="7" y="34"/>
                </a:lnTo>
                <a:lnTo>
                  <a:pt x="7" y="37"/>
                </a:lnTo>
                <a:lnTo>
                  <a:pt x="16" y="42"/>
                </a:lnTo>
                <a:lnTo>
                  <a:pt x="16" y="42"/>
                </a:lnTo>
                <a:lnTo>
                  <a:pt x="17" y="44"/>
                </a:lnTo>
                <a:lnTo>
                  <a:pt x="18" y="45"/>
                </a:lnTo>
                <a:lnTo>
                  <a:pt x="16" y="48"/>
                </a:lnTo>
                <a:lnTo>
                  <a:pt x="13" y="51"/>
                </a:lnTo>
                <a:lnTo>
                  <a:pt x="11" y="54"/>
                </a:lnTo>
                <a:lnTo>
                  <a:pt x="11" y="55"/>
                </a:lnTo>
                <a:lnTo>
                  <a:pt x="11" y="55"/>
                </a:lnTo>
                <a:lnTo>
                  <a:pt x="10" y="59"/>
                </a:lnTo>
                <a:lnTo>
                  <a:pt x="7" y="61"/>
                </a:lnTo>
                <a:lnTo>
                  <a:pt x="3" y="64"/>
                </a:lnTo>
                <a:lnTo>
                  <a:pt x="1" y="66"/>
                </a:lnTo>
                <a:lnTo>
                  <a:pt x="1" y="66"/>
                </a:lnTo>
                <a:lnTo>
                  <a:pt x="0" y="68"/>
                </a:lnTo>
                <a:lnTo>
                  <a:pt x="1" y="69"/>
                </a:lnTo>
                <a:lnTo>
                  <a:pt x="4" y="74"/>
                </a:lnTo>
                <a:lnTo>
                  <a:pt x="10" y="78"/>
                </a:lnTo>
                <a:lnTo>
                  <a:pt x="17" y="79"/>
                </a:lnTo>
                <a:lnTo>
                  <a:pt x="17" y="79"/>
                </a:lnTo>
                <a:lnTo>
                  <a:pt x="23" y="78"/>
                </a:lnTo>
                <a:lnTo>
                  <a:pt x="30" y="76"/>
                </a:lnTo>
                <a:lnTo>
                  <a:pt x="37" y="72"/>
                </a:lnTo>
                <a:lnTo>
                  <a:pt x="44" y="68"/>
                </a:lnTo>
                <a:lnTo>
                  <a:pt x="44" y="68"/>
                </a:lnTo>
                <a:lnTo>
                  <a:pt x="47" y="65"/>
                </a:lnTo>
                <a:lnTo>
                  <a:pt x="50" y="64"/>
                </a:lnTo>
                <a:lnTo>
                  <a:pt x="54" y="64"/>
                </a:lnTo>
                <a:lnTo>
                  <a:pt x="58" y="65"/>
                </a:lnTo>
                <a:lnTo>
                  <a:pt x="64" y="64"/>
                </a:lnTo>
                <a:lnTo>
                  <a:pt x="64" y="64"/>
                </a:lnTo>
                <a:lnTo>
                  <a:pt x="67" y="61"/>
                </a:lnTo>
                <a:lnTo>
                  <a:pt x="67" y="56"/>
                </a:lnTo>
                <a:lnTo>
                  <a:pt x="68" y="45"/>
                </a:lnTo>
                <a:lnTo>
                  <a:pt x="67" y="34"/>
                </a:lnTo>
                <a:lnTo>
                  <a:pt x="64" y="27"/>
                </a:lnTo>
                <a:lnTo>
                  <a:pt x="64" y="27"/>
                </a:lnTo>
                <a:lnTo>
                  <a:pt x="64" y="24"/>
                </a:lnTo>
                <a:lnTo>
                  <a:pt x="64" y="2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32" name="Freeform 319">
            <a:extLst>
              <a:ext uri="{FF2B5EF4-FFF2-40B4-BE49-F238E27FC236}">
                <a16:creationId xmlns:a16="http://schemas.microsoft.com/office/drawing/2014/main" id="{1C6A2942-E2D9-6D2D-8EF1-9A3F74C48361}"/>
              </a:ext>
            </a:extLst>
          </p:cNvPr>
          <p:cNvSpPr>
            <a:spLocks noEditPoints="1"/>
          </p:cNvSpPr>
          <p:nvPr userDrawn="1"/>
        </p:nvSpPr>
        <p:spPr bwMode="gray">
          <a:xfrm>
            <a:off x="4185749" y="1937498"/>
            <a:ext cx="205480" cy="261403"/>
          </a:xfrm>
          <a:custGeom>
            <a:avLst/>
            <a:gdLst/>
            <a:ahLst/>
            <a:cxnLst>
              <a:cxn ang="0">
                <a:pos x="15" y="89"/>
              </a:cxn>
              <a:cxn ang="0">
                <a:pos x="0" y="104"/>
              </a:cxn>
              <a:cxn ang="0">
                <a:pos x="12" y="110"/>
              </a:cxn>
              <a:cxn ang="0">
                <a:pos x="20" y="107"/>
              </a:cxn>
              <a:cxn ang="0">
                <a:pos x="39" y="104"/>
              </a:cxn>
              <a:cxn ang="0">
                <a:pos x="29" y="87"/>
              </a:cxn>
              <a:cxn ang="0">
                <a:pos x="151" y="137"/>
              </a:cxn>
              <a:cxn ang="0">
                <a:pos x="138" y="140"/>
              </a:cxn>
              <a:cxn ang="0">
                <a:pos x="134" y="128"/>
              </a:cxn>
              <a:cxn ang="0">
                <a:pos x="128" y="118"/>
              </a:cxn>
              <a:cxn ang="0">
                <a:pos x="117" y="100"/>
              </a:cxn>
              <a:cxn ang="0">
                <a:pos x="106" y="80"/>
              </a:cxn>
              <a:cxn ang="0">
                <a:pos x="91" y="69"/>
              </a:cxn>
              <a:cxn ang="0">
                <a:pos x="83" y="63"/>
              </a:cxn>
              <a:cxn ang="0">
                <a:pos x="99" y="32"/>
              </a:cxn>
              <a:cxn ang="0">
                <a:pos x="69" y="30"/>
              </a:cxn>
              <a:cxn ang="0">
                <a:pos x="64" y="25"/>
              </a:cxn>
              <a:cxn ang="0">
                <a:pos x="76" y="9"/>
              </a:cxn>
              <a:cxn ang="0">
                <a:pos x="74" y="3"/>
              </a:cxn>
              <a:cxn ang="0">
                <a:pos x="54" y="9"/>
              </a:cxn>
              <a:cxn ang="0">
                <a:pos x="44" y="22"/>
              </a:cxn>
              <a:cxn ang="0">
                <a:pos x="37" y="33"/>
              </a:cxn>
              <a:cxn ang="0">
                <a:pos x="29" y="33"/>
              </a:cxn>
              <a:cxn ang="0">
                <a:pos x="25" y="40"/>
              </a:cxn>
              <a:cxn ang="0">
                <a:pos x="35" y="47"/>
              </a:cxn>
              <a:cxn ang="0">
                <a:pos x="32" y="60"/>
              </a:cxn>
              <a:cxn ang="0">
                <a:pos x="36" y="66"/>
              </a:cxn>
              <a:cxn ang="0">
                <a:pos x="25" y="74"/>
              </a:cxn>
              <a:cxn ang="0">
                <a:pos x="36" y="70"/>
              </a:cxn>
              <a:cxn ang="0">
                <a:pos x="44" y="79"/>
              </a:cxn>
              <a:cxn ang="0">
                <a:pos x="52" y="67"/>
              </a:cxn>
              <a:cxn ang="0">
                <a:pos x="53" y="80"/>
              </a:cxn>
              <a:cxn ang="0">
                <a:pos x="47" y="96"/>
              </a:cxn>
              <a:cxn ang="0">
                <a:pos x="70" y="91"/>
              </a:cxn>
              <a:cxn ang="0">
                <a:pos x="72" y="100"/>
              </a:cxn>
              <a:cxn ang="0">
                <a:pos x="81" y="110"/>
              </a:cxn>
              <a:cxn ang="0">
                <a:pos x="80" y="127"/>
              </a:cxn>
              <a:cxn ang="0">
                <a:pos x="63" y="127"/>
              </a:cxn>
              <a:cxn ang="0">
                <a:pos x="57" y="133"/>
              </a:cxn>
              <a:cxn ang="0">
                <a:pos x="59" y="143"/>
              </a:cxn>
              <a:cxn ang="0">
                <a:pos x="53" y="155"/>
              </a:cxn>
              <a:cxn ang="0">
                <a:pos x="46" y="163"/>
              </a:cxn>
              <a:cxn ang="0">
                <a:pos x="57" y="164"/>
              </a:cxn>
              <a:cxn ang="0">
                <a:pos x="76" y="170"/>
              </a:cxn>
              <a:cxn ang="0">
                <a:pos x="81" y="173"/>
              </a:cxn>
              <a:cxn ang="0">
                <a:pos x="63" y="175"/>
              </a:cxn>
              <a:cxn ang="0">
                <a:pos x="43" y="200"/>
              </a:cxn>
              <a:cxn ang="0">
                <a:pos x="59" y="192"/>
              </a:cxn>
              <a:cxn ang="0">
                <a:pos x="70" y="192"/>
              </a:cxn>
              <a:cxn ang="0">
                <a:pos x="81" y="187"/>
              </a:cxn>
              <a:cxn ang="0">
                <a:pos x="99" y="184"/>
              </a:cxn>
              <a:cxn ang="0">
                <a:pos x="118" y="184"/>
              </a:cxn>
              <a:cxn ang="0">
                <a:pos x="151" y="174"/>
              </a:cxn>
              <a:cxn ang="0">
                <a:pos x="141" y="168"/>
              </a:cxn>
              <a:cxn ang="0">
                <a:pos x="158" y="145"/>
              </a:cxn>
            </a:cxnLst>
            <a:rect l="0" t="0" r="r" b="b"/>
            <a:pathLst>
              <a:path w="158" h="201">
                <a:moveTo>
                  <a:pt x="29" y="87"/>
                </a:moveTo>
                <a:lnTo>
                  <a:pt x="29" y="87"/>
                </a:lnTo>
                <a:lnTo>
                  <a:pt x="27" y="86"/>
                </a:lnTo>
                <a:lnTo>
                  <a:pt x="25" y="84"/>
                </a:lnTo>
                <a:lnTo>
                  <a:pt x="19" y="86"/>
                </a:lnTo>
                <a:lnTo>
                  <a:pt x="15" y="89"/>
                </a:lnTo>
                <a:lnTo>
                  <a:pt x="9" y="90"/>
                </a:lnTo>
                <a:lnTo>
                  <a:pt x="9" y="90"/>
                </a:lnTo>
                <a:lnTo>
                  <a:pt x="8" y="96"/>
                </a:lnTo>
                <a:lnTo>
                  <a:pt x="5" y="99"/>
                </a:lnTo>
                <a:lnTo>
                  <a:pt x="5" y="99"/>
                </a:lnTo>
                <a:lnTo>
                  <a:pt x="0" y="104"/>
                </a:lnTo>
                <a:lnTo>
                  <a:pt x="0" y="107"/>
                </a:lnTo>
                <a:lnTo>
                  <a:pt x="0" y="109"/>
                </a:lnTo>
                <a:lnTo>
                  <a:pt x="0" y="109"/>
                </a:lnTo>
                <a:lnTo>
                  <a:pt x="8" y="111"/>
                </a:lnTo>
                <a:lnTo>
                  <a:pt x="10" y="113"/>
                </a:lnTo>
                <a:lnTo>
                  <a:pt x="12" y="110"/>
                </a:lnTo>
                <a:lnTo>
                  <a:pt x="12" y="110"/>
                </a:lnTo>
                <a:lnTo>
                  <a:pt x="12" y="107"/>
                </a:lnTo>
                <a:lnTo>
                  <a:pt x="13" y="104"/>
                </a:lnTo>
                <a:lnTo>
                  <a:pt x="16" y="104"/>
                </a:lnTo>
                <a:lnTo>
                  <a:pt x="20" y="107"/>
                </a:lnTo>
                <a:lnTo>
                  <a:pt x="20" y="107"/>
                </a:lnTo>
                <a:lnTo>
                  <a:pt x="26" y="113"/>
                </a:lnTo>
                <a:lnTo>
                  <a:pt x="26" y="113"/>
                </a:lnTo>
                <a:lnTo>
                  <a:pt x="27" y="110"/>
                </a:lnTo>
                <a:lnTo>
                  <a:pt x="30" y="109"/>
                </a:lnTo>
                <a:lnTo>
                  <a:pt x="35" y="107"/>
                </a:lnTo>
                <a:lnTo>
                  <a:pt x="39" y="104"/>
                </a:lnTo>
                <a:lnTo>
                  <a:pt x="39" y="104"/>
                </a:lnTo>
                <a:lnTo>
                  <a:pt x="39" y="103"/>
                </a:lnTo>
                <a:lnTo>
                  <a:pt x="40" y="101"/>
                </a:lnTo>
                <a:lnTo>
                  <a:pt x="37" y="97"/>
                </a:lnTo>
                <a:lnTo>
                  <a:pt x="35" y="91"/>
                </a:lnTo>
                <a:lnTo>
                  <a:pt x="29" y="87"/>
                </a:lnTo>
                <a:lnTo>
                  <a:pt x="29" y="87"/>
                </a:lnTo>
                <a:close/>
                <a:moveTo>
                  <a:pt x="158" y="145"/>
                </a:moveTo>
                <a:lnTo>
                  <a:pt x="158" y="145"/>
                </a:lnTo>
                <a:lnTo>
                  <a:pt x="158" y="143"/>
                </a:lnTo>
                <a:lnTo>
                  <a:pt x="157" y="141"/>
                </a:lnTo>
                <a:lnTo>
                  <a:pt x="151" y="137"/>
                </a:lnTo>
                <a:lnTo>
                  <a:pt x="145" y="136"/>
                </a:lnTo>
                <a:lnTo>
                  <a:pt x="143" y="137"/>
                </a:lnTo>
                <a:lnTo>
                  <a:pt x="143" y="137"/>
                </a:lnTo>
                <a:lnTo>
                  <a:pt x="143" y="137"/>
                </a:lnTo>
                <a:lnTo>
                  <a:pt x="140" y="140"/>
                </a:lnTo>
                <a:lnTo>
                  <a:pt x="138" y="140"/>
                </a:lnTo>
                <a:lnTo>
                  <a:pt x="136" y="138"/>
                </a:lnTo>
                <a:lnTo>
                  <a:pt x="134" y="137"/>
                </a:lnTo>
                <a:lnTo>
                  <a:pt x="134" y="137"/>
                </a:lnTo>
                <a:lnTo>
                  <a:pt x="133" y="133"/>
                </a:lnTo>
                <a:lnTo>
                  <a:pt x="134" y="131"/>
                </a:lnTo>
                <a:lnTo>
                  <a:pt x="134" y="128"/>
                </a:lnTo>
                <a:lnTo>
                  <a:pt x="134" y="127"/>
                </a:lnTo>
                <a:lnTo>
                  <a:pt x="134" y="127"/>
                </a:lnTo>
                <a:lnTo>
                  <a:pt x="131" y="127"/>
                </a:lnTo>
                <a:lnTo>
                  <a:pt x="130" y="124"/>
                </a:lnTo>
                <a:lnTo>
                  <a:pt x="128" y="121"/>
                </a:lnTo>
                <a:lnTo>
                  <a:pt x="128" y="118"/>
                </a:lnTo>
                <a:lnTo>
                  <a:pt x="128" y="118"/>
                </a:lnTo>
                <a:lnTo>
                  <a:pt x="128" y="116"/>
                </a:lnTo>
                <a:lnTo>
                  <a:pt x="126" y="109"/>
                </a:lnTo>
                <a:lnTo>
                  <a:pt x="121" y="103"/>
                </a:lnTo>
                <a:lnTo>
                  <a:pt x="120" y="100"/>
                </a:lnTo>
                <a:lnTo>
                  <a:pt x="117" y="100"/>
                </a:lnTo>
                <a:lnTo>
                  <a:pt x="117" y="100"/>
                </a:lnTo>
                <a:lnTo>
                  <a:pt x="114" y="99"/>
                </a:lnTo>
                <a:lnTo>
                  <a:pt x="111" y="96"/>
                </a:lnTo>
                <a:lnTo>
                  <a:pt x="109" y="91"/>
                </a:lnTo>
                <a:lnTo>
                  <a:pt x="106" y="80"/>
                </a:lnTo>
                <a:lnTo>
                  <a:pt x="106" y="80"/>
                </a:lnTo>
                <a:lnTo>
                  <a:pt x="104" y="77"/>
                </a:lnTo>
                <a:lnTo>
                  <a:pt x="101" y="76"/>
                </a:lnTo>
                <a:lnTo>
                  <a:pt x="99" y="74"/>
                </a:lnTo>
                <a:lnTo>
                  <a:pt x="96" y="72"/>
                </a:lnTo>
                <a:lnTo>
                  <a:pt x="96" y="72"/>
                </a:lnTo>
                <a:lnTo>
                  <a:pt x="91" y="69"/>
                </a:lnTo>
                <a:lnTo>
                  <a:pt x="87" y="69"/>
                </a:lnTo>
                <a:lnTo>
                  <a:pt x="81" y="70"/>
                </a:lnTo>
                <a:lnTo>
                  <a:pt x="81" y="70"/>
                </a:lnTo>
                <a:lnTo>
                  <a:pt x="80" y="69"/>
                </a:lnTo>
                <a:lnTo>
                  <a:pt x="80" y="66"/>
                </a:lnTo>
                <a:lnTo>
                  <a:pt x="83" y="63"/>
                </a:lnTo>
                <a:lnTo>
                  <a:pt x="87" y="59"/>
                </a:lnTo>
                <a:lnTo>
                  <a:pt x="87" y="59"/>
                </a:lnTo>
                <a:lnTo>
                  <a:pt x="91" y="53"/>
                </a:lnTo>
                <a:lnTo>
                  <a:pt x="94" y="44"/>
                </a:lnTo>
                <a:lnTo>
                  <a:pt x="97" y="36"/>
                </a:lnTo>
                <a:lnTo>
                  <a:pt x="99" y="32"/>
                </a:lnTo>
                <a:lnTo>
                  <a:pt x="99" y="32"/>
                </a:lnTo>
                <a:lnTo>
                  <a:pt x="97" y="30"/>
                </a:lnTo>
                <a:lnTo>
                  <a:pt x="94" y="29"/>
                </a:lnTo>
                <a:lnTo>
                  <a:pt x="86" y="27"/>
                </a:lnTo>
                <a:lnTo>
                  <a:pt x="76" y="29"/>
                </a:lnTo>
                <a:lnTo>
                  <a:pt x="69" y="30"/>
                </a:lnTo>
                <a:lnTo>
                  <a:pt x="69" y="30"/>
                </a:lnTo>
                <a:lnTo>
                  <a:pt x="66" y="30"/>
                </a:lnTo>
                <a:lnTo>
                  <a:pt x="63" y="29"/>
                </a:lnTo>
                <a:lnTo>
                  <a:pt x="62" y="26"/>
                </a:lnTo>
                <a:lnTo>
                  <a:pt x="64" y="25"/>
                </a:lnTo>
                <a:lnTo>
                  <a:pt x="64" y="25"/>
                </a:lnTo>
                <a:lnTo>
                  <a:pt x="67" y="22"/>
                </a:lnTo>
                <a:lnTo>
                  <a:pt x="72" y="19"/>
                </a:lnTo>
                <a:lnTo>
                  <a:pt x="74" y="15"/>
                </a:lnTo>
                <a:lnTo>
                  <a:pt x="76" y="12"/>
                </a:lnTo>
                <a:lnTo>
                  <a:pt x="76" y="12"/>
                </a:lnTo>
                <a:lnTo>
                  <a:pt x="76" y="9"/>
                </a:lnTo>
                <a:lnTo>
                  <a:pt x="79" y="6"/>
                </a:lnTo>
                <a:lnTo>
                  <a:pt x="79" y="5"/>
                </a:lnTo>
                <a:lnTo>
                  <a:pt x="79" y="2"/>
                </a:lnTo>
                <a:lnTo>
                  <a:pt x="79" y="2"/>
                </a:lnTo>
                <a:lnTo>
                  <a:pt x="76" y="0"/>
                </a:lnTo>
                <a:lnTo>
                  <a:pt x="74" y="3"/>
                </a:lnTo>
                <a:lnTo>
                  <a:pt x="73" y="6"/>
                </a:lnTo>
                <a:lnTo>
                  <a:pt x="72" y="8"/>
                </a:lnTo>
                <a:lnTo>
                  <a:pt x="72" y="8"/>
                </a:lnTo>
                <a:lnTo>
                  <a:pt x="69" y="9"/>
                </a:lnTo>
                <a:lnTo>
                  <a:pt x="64" y="10"/>
                </a:lnTo>
                <a:lnTo>
                  <a:pt x="54" y="9"/>
                </a:lnTo>
                <a:lnTo>
                  <a:pt x="54" y="9"/>
                </a:lnTo>
                <a:lnTo>
                  <a:pt x="52" y="9"/>
                </a:lnTo>
                <a:lnTo>
                  <a:pt x="49" y="9"/>
                </a:lnTo>
                <a:lnTo>
                  <a:pt x="46" y="13"/>
                </a:lnTo>
                <a:lnTo>
                  <a:pt x="44" y="17"/>
                </a:lnTo>
                <a:lnTo>
                  <a:pt x="44" y="22"/>
                </a:lnTo>
                <a:lnTo>
                  <a:pt x="44" y="22"/>
                </a:lnTo>
                <a:lnTo>
                  <a:pt x="43" y="25"/>
                </a:lnTo>
                <a:lnTo>
                  <a:pt x="40" y="27"/>
                </a:lnTo>
                <a:lnTo>
                  <a:pt x="37" y="30"/>
                </a:lnTo>
                <a:lnTo>
                  <a:pt x="37" y="33"/>
                </a:lnTo>
                <a:lnTo>
                  <a:pt x="37" y="33"/>
                </a:lnTo>
                <a:lnTo>
                  <a:pt x="37" y="36"/>
                </a:lnTo>
                <a:lnTo>
                  <a:pt x="36" y="37"/>
                </a:lnTo>
                <a:lnTo>
                  <a:pt x="35" y="37"/>
                </a:lnTo>
                <a:lnTo>
                  <a:pt x="33" y="37"/>
                </a:lnTo>
                <a:lnTo>
                  <a:pt x="33" y="37"/>
                </a:lnTo>
                <a:lnTo>
                  <a:pt x="29" y="33"/>
                </a:lnTo>
                <a:lnTo>
                  <a:pt x="26" y="32"/>
                </a:lnTo>
                <a:lnTo>
                  <a:pt x="23" y="33"/>
                </a:lnTo>
                <a:lnTo>
                  <a:pt x="23" y="33"/>
                </a:lnTo>
                <a:lnTo>
                  <a:pt x="22" y="35"/>
                </a:lnTo>
                <a:lnTo>
                  <a:pt x="22" y="37"/>
                </a:lnTo>
                <a:lnTo>
                  <a:pt x="25" y="40"/>
                </a:lnTo>
                <a:lnTo>
                  <a:pt x="29" y="42"/>
                </a:lnTo>
                <a:lnTo>
                  <a:pt x="35" y="43"/>
                </a:lnTo>
                <a:lnTo>
                  <a:pt x="35" y="43"/>
                </a:lnTo>
                <a:lnTo>
                  <a:pt x="36" y="43"/>
                </a:lnTo>
                <a:lnTo>
                  <a:pt x="36" y="44"/>
                </a:lnTo>
                <a:lnTo>
                  <a:pt x="35" y="47"/>
                </a:lnTo>
                <a:lnTo>
                  <a:pt x="30" y="50"/>
                </a:lnTo>
                <a:lnTo>
                  <a:pt x="29" y="54"/>
                </a:lnTo>
                <a:lnTo>
                  <a:pt x="29" y="54"/>
                </a:lnTo>
                <a:lnTo>
                  <a:pt x="29" y="57"/>
                </a:lnTo>
                <a:lnTo>
                  <a:pt x="29" y="59"/>
                </a:lnTo>
                <a:lnTo>
                  <a:pt x="32" y="60"/>
                </a:lnTo>
                <a:lnTo>
                  <a:pt x="36" y="62"/>
                </a:lnTo>
                <a:lnTo>
                  <a:pt x="36" y="62"/>
                </a:lnTo>
                <a:lnTo>
                  <a:pt x="37" y="63"/>
                </a:lnTo>
                <a:lnTo>
                  <a:pt x="37" y="63"/>
                </a:lnTo>
                <a:lnTo>
                  <a:pt x="37" y="66"/>
                </a:lnTo>
                <a:lnTo>
                  <a:pt x="36" y="66"/>
                </a:lnTo>
                <a:lnTo>
                  <a:pt x="30" y="69"/>
                </a:lnTo>
                <a:lnTo>
                  <a:pt x="26" y="70"/>
                </a:lnTo>
                <a:lnTo>
                  <a:pt x="25" y="72"/>
                </a:lnTo>
                <a:lnTo>
                  <a:pt x="25" y="73"/>
                </a:lnTo>
                <a:lnTo>
                  <a:pt x="25" y="73"/>
                </a:lnTo>
                <a:lnTo>
                  <a:pt x="25" y="74"/>
                </a:lnTo>
                <a:lnTo>
                  <a:pt x="25" y="74"/>
                </a:lnTo>
                <a:lnTo>
                  <a:pt x="29" y="74"/>
                </a:lnTo>
                <a:lnTo>
                  <a:pt x="36" y="70"/>
                </a:lnTo>
                <a:lnTo>
                  <a:pt x="36" y="70"/>
                </a:lnTo>
                <a:lnTo>
                  <a:pt x="36" y="70"/>
                </a:lnTo>
                <a:lnTo>
                  <a:pt x="36" y="70"/>
                </a:lnTo>
                <a:lnTo>
                  <a:pt x="37" y="74"/>
                </a:lnTo>
                <a:lnTo>
                  <a:pt x="37" y="79"/>
                </a:lnTo>
                <a:lnTo>
                  <a:pt x="39" y="79"/>
                </a:lnTo>
                <a:lnTo>
                  <a:pt x="42" y="79"/>
                </a:lnTo>
                <a:lnTo>
                  <a:pt x="42" y="79"/>
                </a:lnTo>
                <a:lnTo>
                  <a:pt x="44" y="79"/>
                </a:lnTo>
                <a:lnTo>
                  <a:pt x="46" y="77"/>
                </a:lnTo>
                <a:lnTo>
                  <a:pt x="49" y="72"/>
                </a:lnTo>
                <a:lnTo>
                  <a:pt x="50" y="69"/>
                </a:lnTo>
                <a:lnTo>
                  <a:pt x="50" y="67"/>
                </a:lnTo>
                <a:lnTo>
                  <a:pt x="52" y="67"/>
                </a:lnTo>
                <a:lnTo>
                  <a:pt x="52" y="67"/>
                </a:lnTo>
                <a:lnTo>
                  <a:pt x="52" y="67"/>
                </a:lnTo>
                <a:lnTo>
                  <a:pt x="52" y="70"/>
                </a:lnTo>
                <a:lnTo>
                  <a:pt x="52" y="74"/>
                </a:lnTo>
                <a:lnTo>
                  <a:pt x="53" y="77"/>
                </a:lnTo>
                <a:lnTo>
                  <a:pt x="53" y="77"/>
                </a:lnTo>
                <a:lnTo>
                  <a:pt x="53" y="80"/>
                </a:lnTo>
                <a:lnTo>
                  <a:pt x="53" y="81"/>
                </a:lnTo>
                <a:lnTo>
                  <a:pt x="50" y="86"/>
                </a:lnTo>
                <a:lnTo>
                  <a:pt x="47" y="90"/>
                </a:lnTo>
                <a:lnTo>
                  <a:pt x="47" y="94"/>
                </a:lnTo>
                <a:lnTo>
                  <a:pt x="47" y="94"/>
                </a:lnTo>
                <a:lnTo>
                  <a:pt x="47" y="96"/>
                </a:lnTo>
                <a:lnTo>
                  <a:pt x="50" y="96"/>
                </a:lnTo>
                <a:lnTo>
                  <a:pt x="56" y="96"/>
                </a:lnTo>
                <a:lnTo>
                  <a:pt x="64" y="96"/>
                </a:lnTo>
                <a:lnTo>
                  <a:pt x="67" y="94"/>
                </a:lnTo>
                <a:lnTo>
                  <a:pt x="70" y="91"/>
                </a:lnTo>
                <a:lnTo>
                  <a:pt x="70" y="91"/>
                </a:lnTo>
                <a:lnTo>
                  <a:pt x="73" y="90"/>
                </a:lnTo>
                <a:lnTo>
                  <a:pt x="76" y="90"/>
                </a:lnTo>
                <a:lnTo>
                  <a:pt x="76" y="93"/>
                </a:lnTo>
                <a:lnTo>
                  <a:pt x="74" y="97"/>
                </a:lnTo>
                <a:lnTo>
                  <a:pt x="74" y="97"/>
                </a:lnTo>
                <a:lnTo>
                  <a:pt x="72" y="100"/>
                </a:lnTo>
                <a:lnTo>
                  <a:pt x="72" y="103"/>
                </a:lnTo>
                <a:lnTo>
                  <a:pt x="73" y="104"/>
                </a:lnTo>
                <a:lnTo>
                  <a:pt x="77" y="107"/>
                </a:lnTo>
                <a:lnTo>
                  <a:pt x="77" y="107"/>
                </a:lnTo>
                <a:lnTo>
                  <a:pt x="81" y="109"/>
                </a:lnTo>
                <a:lnTo>
                  <a:pt x="81" y="110"/>
                </a:lnTo>
                <a:lnTo>
                  <a:pt x="81" y="113"/>
                </a:lnTo>
                <a:lnTo>
                  <a:pt x="81" y="113"/>
                </a:lnTo>
                <a:lnTo>
                  <a:pt x="80" y="116"/>
                </a:lnTo>
                <a:lnTo>
                  <a:pt x="80" y="120"/>
                </a:lnTo>
                <a:lnTo>
                  <a:pt x="80" y="127"/>
                </a:lnTo>
                <a:lnTo>
                  <a:pt x="80" y="127"/>
                </a:lnTo>
                <a:lnTo>
                  <a:pt x="79" y="128"/>
                </a:lnTo>
                <a:lnTo>
                  <a:pt x="76" y="128"/>
                </a:lnTo>
                <a:lnTo>
                  <a:pt x="72" y="130"/>
                </a:lnTo>
                <a:lnTo>
                  <a:pt x="66" y="128"/>
                </a:lnTo>
                <a:lnTo>
                  <a:pt x="63" y="127"/>
                </a:lnTo>
                <a:lnTo>
                  <a:pt x="63" y="127"/>
                </a:lnTo>
                <a:lnTo>
                  <a:pt x="62" y="127"/>
                </a:lnTo>
                <a:lnTo>
                  <a:pt x="60" y="127"/>
                </a:lnTo>
                <a:lnTo>
                  <a:pt x="59" y="128"/>
                </a:lnTo>
                <a:lnTo>
                  <a:pt x="59" y="130"/>
                </a:lnTo>
                <a:lnTo>
                  <a:pt x="59" y="130"/>
                </a:lnTo>
                <a:lnTo>
                  <a:pt x="57" y="133"/>
                </a:lnTo>
                <a:lnTo>
                  <a:pt x="56" y="136"/>
                </a:lnTo>
                <a:lnTo>
                  <a:pt x="54" y="138"/>
                </a:lnTo>
                <a:lnTo>
                  <a:pt x="53" y="140"/>
                </a:lnTo>
                <a:lnTo>
                  <a:pt x="53" y="140"/>
                </a:lnTo>
                <a:lnTo>
                  <a:pt x="54" y="141"/>
                </a:lnTo>
                <a:lnTo>
                  <a:pt x="59" y="143"/>
                </a:lnTo>
                <a:lnTo>
                  <a:pt x="62" y="144"/>
                </a:lnTo>
                <a:lnTo>
                  <a:pt x="63" y="147"/>
                </a:lnTo>
                <a:lnTo>
                  <a:pt x="63" y="147"/>
                </a:lnTo>
                <a:lnTo>
                  <a:pt x="62" y="150"/>
                </a:lnTo>
                <a:lnTo>
                  <a:pt x="59" y="153"/>
                </a:lnTo>
                <a:lnTo>
                  <a:pt x="53" y="155"/>
                </a:lnTo>
                <a:lnTo>
                  <a:pt x="47" y="157"/>
                </a:lnTo>
                <a:lnTo>
                  <a:pt x="47" y="157"/>
                </a:lnTo>
                <a:lnTo>
                  <a:pt x="44" y="158"/>
                </a:lnTo>
                <a:lnTo>
                  <a:pt x="44" y="160"/>
                </a:lnTo>
                <a:lnTo>
                  <a:pt x="44" y="161"/>
                </a:lnTo>
                <a:lnTo>
                  <a:pt x="46" y="163"/>
                </a:lnTo>
                <a:lnTo>
                  <a:pt x="50" y="164"/>
                </a:lnTo>
                <a:lnTo>
                  <a:pt x="52" y="164"/>
                </a:lnTo>
                <a:lnTo>
                  <a:pt x="53" y="164"/>
                </a:lnTo>
                <a:lnTo>
                  <a:pt x="53" y="164"/>
                </a:lnTo>
                <a:lnTo>
                  <a:pt x="56" y="163"/>
                </a:lnTo>
                <a:lnTo>
                  <a:pt x="57" y="164"/>
                </a:lnTo>
                <a:lnTo>
                  <a:pt x="60" y="165"/>
                </a:lnTo>
                <a:lnTo>
                  <a:pt x="63" y="165"/>
                </a:lnTo>
                <a:lnTo>
                  <a:pt x="63" y="165"/>
                </a:lnTo>
                <a:lnTo>
                  <a:pt x="67" y="167"/>
                </a:lnTo>
                <a:lnTo>
                  <a:pt x="72" y="168"/>
                </a:lnTo>
                <a:lnTo>
                  <a:pt x="76" y="170"/>
                </a:lnTo>
                <a:lnTo>
                  <a:pt x="80" y="168"/>
                </a:lnTo>
                <a:lnTo>
                  <a:pt x="80" y="168"/>
                </a:lnTo>
                <a:lnTo>
                  <a:pt x="84" y="167"/>
                </a:lnTo>
                <a:lnTo>
                  <a:pt x="86" y="168"/>
                </a:lnTo>
                <a:lnTo>
                  <a:pt x="84" y="170"/>
                </a:lnTo>
                <a:lnTo>
                  <a:pt x="81" y="173"/>
                </a:lnTo>
                <a:lnTo>
                  <a:pt x="81" y="173"/>
                </a:lnTo>
                <a:lnTo>
                  <a:pt x="77" y="174"/>
                </a:lnTo>
                <a:lnTo>
                  <a:pt x="72" y="174"/>
                </a:lnTo>
                <a:lnTo>
                  <a:pt x="67" y="174"/>
                </a:lnTo>
                <a:lnTo>
                  <a:pt x="63" y="175"/>
                </a:lnTo>
                <a:lnTo>
                  <a:pt x="63" y="175"/>
                </a:lnTo>
                <a:lnTo>
                  <a:pt x="57" y="180"/>
                </a:lnTo>
                <a:lnTo>
                  <a:pt x="50" y="187"/>
                </a:lnTo>
                <a:lnTo>
                  <a:pt x="44" y="194"/>
                </a:lnTo>
                <a:lnTo>
                  <a:pt x="43" y="198"/>
                </a:lnTo>
                <a:lnTo>
                  <a:pt x="43" y="200"/>
                </a:lnTo>
                <a:lnTo>
                  <a:pt x="43" y="200"/>
                </a:lnTo>
                <a:lnTo>
                  <a:pt x="44" y="201"/>
                </a:lnTo>
                <a:lnTo>
                  <a:pt x="47" y="198"/>
                </a:lnTo>
                <a:lnTo>
                  <a:pt x="50" y="195"/>
                </a:lnTo>
                <a:lnTo>
                  <a:pt x="54" y="194"/>
                </a:lnTo>
                <a:lnTo>
                  <a:pt x="54" y="194"/>
                </a:lnTo>
                <a:lnTo>
                  <a:pt x="59" y="192"/>
                </a:lnTo>
                <a:lnTo>
                  <a:pt x="62" y="194"/>
                </a:lnTo>
                <a:lnTo>
                  <a:pt x="64" y="195"/>
                </a:lnTo>
                <a:lnTo>
                  <a:pt x="67" y="195"/>
                </a:lnTo>
                <a:lnTo>
                  <a:pt x="67" y="195"/>
                </a:lnTo>
                <a:lnTo>
                  <a:pt x="69" y="195"/>
                </a:lnTo>
                <a:lnTo>
                  <a:pt x="70" y="192"/>
                </a:lnTo>
                <a:lnTo>
                  <a:pt x="72" y="190"/>
                </a:lnTo>
                <a:lnTo>
                  <a:pt x="74" y="188"/>
                </a:lnTo>
                <a:lnTo>
                  <a:pt x="74" y="188"/>
                </a:lnTo>
                <a:lnTo>
                  <a:pt x="76" y="188"/>
                </a:lnTo>
                <a:lnTo>
                  <a:pt x="79" y="188"/>
                </a:lnTo>
                <a:lnTo>
                  <a:pt x="81" y="187"/>
                </a:lnTo>
                <a:lnTo>
                  <a:pt x="86" y="187"/>
                </a:lnTo>
                <a:lnTo>
                  <a:pt x="86" y="187"/>
                </a:lnTo>
                <a:lnTo>
                  <a:pt x="90" y="187"/>
                </a:lnTo>
                <a:lnTo>
                  <a:pt x="93" y="187"/>
                </a:lnTo>
                <a:lnTo>
                  <a:pt x="99" y="184"/>
                </a:lnTo>
                <a:lnTo>
                  <a:pt x="99" y="184"/>
                </a:lnTo>
                <a:lnTo>
                  <a:pt x="101" y="182"/>
                </a:lnTo>
                <a:lnTo>
                  <a:pt x="104" y="184"/>
                </a:lnTo>
                <a:lnTo>
                  <a:pt x="109" y="187"/>
                </a:lnTo>
                <a:lnTo>
                  <a:pt x="111" y="187"/>
                </a:lnTo>
                <a:lnTo>
                  <a:pt x="111" y="187"/>
                </a:lnTo>
                <a:lnTo>
                  <a:pt x="118" y="184"/>
                </a:lnTo>
                <a:lnTo>
                  <a:pt x="128" y="182"/>
                </a:lnTo>
                <a:lnTo>
                  <a:pt x="128" y="182"/>
                </a:lnTo>
                <a:lnTo>
                  <a:pt x="134" y="182"/>
                </a:lnTo>
                <a:lnTo>
                  <a:pt x="141" y="180"/>
                </a:lnTo>
                <a:lnTo>
                  <a:pt x="151" y="174"/>
                </a:lnTo>
                <a:lnTo>
                  <a:pt x="151" y="174"/>
                </a:lnTo>
                <a:lnTo>
                  <a:pt x="153" y="171"/>
                </a:lnTo>
                <a:lnTo>
                  <a:pt x="151" y="171"/>
                </a:lnTo>
                <a:lnTo>
                  <a:pt x="144" y="171"/>
                </a:lnTo>
                <a:lnTo>
                  <a:pt x="144" y="171"/>
                </a:lnTo>
                <a:lnTo>
                  <a:pt x="141" y="170"/>
                </a:lnTo>
                <a:lnTo>
                  <a:pt x="141" y="168"/>
                </a:lnTo>
                <a:lnTo>
                  <a:pt x="143" y="164"/>
                </a:lnTo>
                <a:lnTo>
                  <a:pt x="145" y="161"/>
                </a:lnTo>
                <a:lnTo>
                  <a:pt x="145" y="161"/>
                </a:lnTo>
                <a:lnTo>
                  <a:pt x="154" y="154"/>
                </a:lnTo>
                <a:lnTo>
                  <a:pt x="157" y="150"/>
                </a:lnTo>
                <a:lnTo>
                  <a:pt x="158" y="145"/>
                </a:lnTo>
                <a:lnTo>
                  <a:pt x="158" y="145"/>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33" name="Freeform 321">
            <a:extLst>
              <a:ext uri="{FF2B5EF4-FFF2-40B4-BE49-F238E27FC236}">
                <a16:creationId xmlns:a16="http://schemas.microsoft.com/office/drawing/2014/main" id="{EB5F7500-28C4-2417-FA88-4A9AD639D46E}"/>
              </a:ext>
            </a:extLst>
          </p:cNvPr>
          <p:cNvSpPr>
            <a:spLocks noEditPoints="1"/>
          </p:cNvSpPr>
          <p:nvPr userDrawn="1"/>
        </p:nvSpPr>
        <p:spPr bwMode="gray">
          <a:xfrm>
            <a:off x="4522580" y="1975213"/>
            <a:ext cx="96238" cy="92336"/>
          </a:xfrm>
          <a:custGeom>
            <a:avLst/>
            <a:gdLst/>
            <a:ahLst/>
            <a:cxnLst>
              <a:cxn ang="0">
                <a:pos x="37" y="24"/>
              </a:cxn>
              <a:cxn ang="0">
                <a:pos x="39" y="14"/>
              </a:cxn>
              <a:cxn ang="0">
                <a:pos x="40" y="7"/>
              </a:cxn>
              <a:cxn ang="0">
                <a:pos x="40" y="0"/>
              </a:cxn>
              <a:cxn ang="0">
                <a:pos x="30" y="3"/>
              </a:cxn>
              <a:cxn ang="0">
                <a:pos x="26" y="10"/>
              </a:cxn>
              <a:cxn ang="0">
                <a:pos x="19" y="11"/>
              </a:cxn>
              <a:cxn ang="0">
                <a:pos x="19" y="15"/>
              </a:cxn>
              <a:cxn ang="0">
                <a:pos x="19" y="18"/>
              </a:cxn>
              <a:cxn ang="0">
                <a:pos x="13" y="15"/>
              </a:cxn>
              <a:cxn ang="0">
                <a:pos x="7" y="15"/>
              </a:cxn>
              <a:cxn ang="0">
                <a:pos x="2" y="25"/>
              </a:cxn>
              <a:cxn ang="0">
                <a:pos x="2" y="44"/>
              </a:cxn>
              <a:cxn ang="0">
                <a:pos x="6" y="51"/>
              </a:cxn>
              <a:cxn ang="0">
                <a:pos x="9" y="58"/>
              </a:cxn>
              <a:cxn ang="0">
                <a:pos x="10" y="65"/>
              </a:cxn>
              <a:cxn ang="0">
                <a:pos x="26" y="67"/>
              </a:cxn>
              <a:cxn ang="0">
                <a:pos x="27" y="62"/>
              </a:cxn>
              <a:cxn ang="0">
                <a:pos x="24" y="58"/>
              </a:cxn>
              <a:cxn ang="0">
                <a:pos x="33" y="60"/>
              </a:cxn>
              <a:cxn ang="0">
                <a:pos x="40" y="62"/>
              </a:cxn>
              <a:cxn ang="0">
                <a:pos x="44" y="60"/>
              </a:cxn>
              <a:cxn ang="0">
                <a:pos x="40" y="50"/>
              </a:cxn>
              <a:cxn ang="0">
                <a:pos x="34" y="51"/>
              </a:cxn>
              <a:cxn ang="0">
                <a:pos x="32" y="47"/>
              </a:cxn>
              <a:cxn ang="0">
                <a:pos x="36" y="38"/>
              </a:cxn>
              <a:cxn ang="0">
                <a:pos x="44" y="34"/>
              </a:cxn>
              <a:cxn ang="0">
                <a:pos x="46" y="31"/>
              </a:cxn>
              <a:cxn ang="0">
                <a:pos x="39" y="25"/>
              </a:cxn>
              <a:cxn ang="0">
                <a:pos x="73" y="40"/>
              </a:cxn>
              <a:cxn ang="0">
                <a:pos x="69" y="44"/>
              </a:cxn>
              <a:cxn ang="0">
                <a:pos x="64" y="38"/>
              </a:cxn>
              <a:cxn ang="0">
                <a:pos x="61" y="41"/>
              </a:cxn>
              <a:cxn ang="0">
                <a:pos x="53" y="44"/>
              </a:cxn>
              <a:cxn ang="0">
                <a:pos x="52" y="50"/>
              </a:cxn>
              <a:cxn ang="0">
                <a:pos x="59" y="60"/>
              </a:cxn>
              <a:cxn ang="0">
                <a:pos x="60" y="62"/>
              </a:cxn>
              <a:cxn ang="0">
                <a:pos x="54" y="64"/>
              </a:cxn>
              <a:cxn ang="0">
                <a:pos x="56" y="68"/>
              </a:cxn>
              <a:cxn ang="0">
                <a:pos x="61" y="70"/>
              </a:cxn>
              <a:cxn ang="0">
                <a:pos x="70" y="61"/>
              </a:cxn>
              <a:cxn ang="0">
                <a:pos x="71" y="54"/>
              </a:cxn>
              <a:cxn ang="0">
                <a:pos x="74" y="40"/>
              </a:cxn>
            </a:cxnLst>
            <a:rect l="0" t="0" r="r" b="b"/>
            <a:pathLst>
              <a:path w="74" h="71">
                <a:moveTo>
                  <a:pt x="39" y="25"/>
                </a:moveTo>
                <a:lnTo>
                  <a:pt x="39" y="25"/>
                </a:lnTo>
                <a:lnTo>
                  <a:pt x="37" y="24"/>
                </a:lnTo>
                <a:lnTo>
                  <a:pt x="36" y="20"/>
                </a:lnTo>
                <a:lnTo>
                  <a:pt x="36" y="17"/>
                </a:lnTo>
                <a:lnTo>
                  <a:pt x="39" y="14"/>
                </a:lnTo>
                <a:lnTo>
                  <a:pt x="39" y="14"/>
                </a:lnTo>
                <a:lnTo>
                  <a:pt x="40" y="11"/>
                </a:lnTo>
                <a:lnTo>
                  <a:pt x="40" y="7"/>
                </a:lnTo>
                <a:lnTo>
                  <a:pt x="40" y="3"/>
                </a:lnTo>
                <a:lnTo>
                  <a:pt x="40" y="0"/>
                </a:lnTo>
                <a:lnTo>
                  <a:pt x="40" y="0"/>
                </a:lnTo>
                <a:lnTo>
                  <a:pt x="37" y="0"/>
                </a:lnTo>
                <a:lnTo>
                  <a:pt x="33" y="0"/>
                </a:lnTo>
                <a:lnTo>
                  <a:pt x="30" y="3"/>
                </a:lnTo>
                <a:lnTo>
                  <a:pt x="29" y="7"/>
                </a:lnTo>
                <a:lnTo>
                  <a:pt x="29" y="7"/>
                </a:lnTo>
                <a:lnTo>
                  <a:pt x="26" y="10"/>
                </a:lnTo>
                <a:lnTo>
                  <a:pt x="23" y="11"/>
                </a:lnTo>
                <a:lnTo>
                  <a:pt x="20" y="11"/>
                </a:lnTo>
                <a:lnTo>
                  <a:pt x="19" y="11"/>
                </a:lnTo>
                <a:lnTo>
                  <a:pt x="19" y="11"/>
                </a:lnTo>
                <a:lnTo>
                  <a:pt x="19" y="13"/>
                </a:lnTo>
                <a:lnTo>
                  <a:pt x="19" y="15"/>
                </a:lnTo>
                <a:lnTo>
                  <a:pt x="20" y="17"/>
                </a:lnTo>
                <a:lnTo>
                  <a:pt x="19" y="18"/>
                </a:lnTo>
                <a:lnTo>
                  <a:pt x="19" y="18"/>
                </a:lnTo>
                <a:lnTo>
                  <a:pt x="17" y="20"/>
                </a:lnTo>
                <a:lnTo>
                  <a:pt x="16" y="18"/>
                </a:lnTo>
                <a:lnTo>
                  <a:pt x="13" y="15"/>
                </a:lnTo>
                <a:lnTo>
                  <a:pt x="10" y="14"/>
                </a:lnTo>
                <a:lnTo>
                  <a:pt x="10" y="14"/>
                </a:lnTo>
                <a:lnTo>
                  <a:pt x="7" y="15"/>
                </a:lnTo>
                <a:lnTo>
                  <a:pt x="5" y="18"/>
                </a:lnTo>
                <a:lnTo>
                  <a:pt x="2" y="25"/>
                </a:lnTo>
                <a:lnTo>
                  <a:pt x="2" y="25"/>
                </a:lnTo>
                <a:lnTo>
                  <a:pt x="0" y="30"/>
                </a:lnTo>
                <a:lnTo>
                  <a:pt x="0" y="34"/>
                </a:lnTo>
                <a:lnTo>
                  <a:pt x="2" y="44"/>
                </a:lnTo>
                <a:lnTo>
                  <a:pt x="2" y="44"/>
                </a:lnTo>
                <a:lnTo>
                  <a:pt x="3" y="48"/>
                </a:lnTo>
                <a:lnTo>
                  <a:pt x="6" y="51"/>
                </a:lnTo>
                <a:lnTo>
                  <a:pt x="7" y="55"/>
                </a:lnTo>
                <a:lnTo>
                  <a:pt x="9" y="58"/>
                </a:lnTo>
                <a:lnTo>
                  <a:pt x="9" y="58"/>
                </a:lnTo>
                <a:lnTo>
                  <a:pt x="9" y="61"/>
                </a:lnTo>
                <a:lnTo>
                  <a:pt x="10" y="65"/>
                </a:lnTo>
                <a:lnTo>
                  <a:pt x="10" y="65"/>
                </a:lnTo>
                <a:lnTo>
                  <a:pt x="19" y="65"/>
                </a:lnTo>
                <a:lnTo>
                  <a:pt x="26" y="67"/>
                </a:lnTo>
                <a:lnTo>
                  <a:pt x="26" y="67"/>
                </a:lnTo>
                <a:lnTo>
                  <a:pt x="32" y="67"/>
                </a:lnTo>
                <a:lnTo>
                  <a:pt x="32" y="67"/>
                </a:lnTo>
                <a:lnTo>
                  <a:pt x="27" y="62"/>
                </a:lnTo>
                <a:lnTo>
                  <a:pt x="26" y="60"/>
                </a:lnTo>
                <a:lnTo>
                  <a:pt x="24" y="58"/>
                </a:lnTo>
                <a:lnTo>
                  <a:pt x="24" y="58"/>
                </a:lnTo>
                <a:lnTo>
                  <a:pt x="26" y="57"/>
                </a:lnTo>
                <a:lnTo>
                  <a:pt x="27" y="57"/>
                </a:lnTo>
                <a:lnTo>
                  <a:pt x="33" y="60"/>
                </a:lnTo>
                <a:lnTo>
                  <a:pt x="33" y="60"/>
                </a:lnTo>
                <a:lnTo>
                  <a:pt x="36" y="61"/>
                </a:lnTo>
                <a:lnTo>
                  <a:pt x="40" y="62"/>
                </a:lnTo>
                <a:lnTo>
                  <a:pt x="43" y="61"/>
                </a:lnTo>
                <a:lnTo>
                  <a:pt x="44" y="60"/>
                </a:lnTo>
                <a:lnTo>
                  <a:pt x="44" y="60"/>
                </a:lnTo>
                <a:lnTo>
                  <a:pt x="43" y="52"/>
                </a:lnTo>
                <a:lnTo>
                  <a:pt x="42" y="50"/>
                </a:lnTo>
                <a:lnTo>
                  <a:pt x="40" y="50"/>
                </a:lnTo>
                <a:lnTo>
                  <a:pt x="39" y="50"/>
                </a:lnTo>
                <a:lnTo>
                  <a:pt x="39" y="50"/>
                </a:lnTo>
                <a:lnTo>
                  <a:pt x="34" y="51"/>
                </a:lnTo>
                <a:lnTo>
                  <a:pt x="32" y="48"/>
                </a:lnTo>
                <a:lnTo>
                  <a:pt x="32" y="48"/>
                </a:lnTo>
                <a:lnTo>
                  <a:pt x="32" y="47"/>
                </a:lnTo>
                <a:lnTo>
                  <a:pt x="33" y="44"/>
                </a:lnTo>
                <a:lnTo>
                  <a:pt x="36" y="38"/>
                </a:lnTo>
                <a:lnTo>
                  <a:pt x="36" y="38"/>
                </a:lnTo>
                <a:lnTo>
                  <a:pt x="37" y="37"/>
                </a:lnTo>
                <a:lnTo>
                  <a:pt x="42" y="35"/>
                </a:lnTo>
                <a:lnTo>
                  <a:pt x="44" y="34"/>
                </a:lnTo>
                <a:lnTo>
                  <a:pt x="46" y="33"/>
                </a:lnTo>
                <a:lnTo>
                  <a:pt x="46" y="33"/>
                </a:lnTo>
                <a:lnTo>
                  <a:pt x="46" y="31"/>
                </a:lnTo>
                <a:lnTo>
                  <a:pt x="43" y="28"/>
                </a:lnTo>
                <a:lnTo>
                  <a:pt x="39" y="25"/>
                </a:lnTo>
                <a:lnTo>
                  <a:pt x="39" y="25"/>
                </a:lnTo>
                <a:close/>
                <a:moveTo>
                  <a:pt x="74" y="40"/>
                </a:moveTo>
                <a:lnTo>
                  <a:pt x="74" y="40"/>
                </a:lnTo>
                <a:lnTo>
                  <a:pt x="73" y="40"/>
                </a:lnTo>
                <a:lnTo>
                  <a:pt x="71" y="41"/>
                </a:lnTo>
                <a:lnTo>
                  <a:pt x="69" y="44"/>
                </a:lnTo>
                <a:lnTo>
                  <a:pt x="69" y="44"/>
                </a:lnTo>
                <a:lnTo>
                  <a:pt x="67" y="43"/>
                </a:lnTo>
                <a:lnTo>
                  <a:pt x="66" y="40"/>
                </a:lnTo>
                <a:lnTo>
                  <a:pt x="64" y="38"/>
                </a:lnTo>
                <a:lnTo>
                  <a:pt x="63" y="40"/>
                </a:lnTo>
                <a:lnTo>
                  <a:pt x="63" y="40"/>
                </a:lnTo>
                <a:lnTo>
                  <a:pt x="61" y="41"/>
                </a:lnTo>
                <a:lnTo>
                  <a:pt x="60" y="41"/>
                </a:lnTo>
                <a:lnTo>
                  <a:pt x="56" y="41"/>
                </a:lnTo>
                <a:lnTo>
                  <a:pt x="53" y="44"/>
                </a:lnTo>
                <a:lnTo>
                  <a:pt x="53" y="44"/>
                </a:lnTo>
                <a:lnTo>
                  <a:pt x="52" y="47"/>
                </a:lnTo>
                <a:lnTo>
                  <a:pt x="52" y="50"/>
                </a:lnTo>
                <a:lnTo>
                  <a:pt x="53" y="54"/>
                </a:lnTo>
                <a:lnTo>
                  <a:pt x="56" y="57"/>
                </a:lnTo>
                <a:lnTo>
                  <a:pt x="59" y="60"/>
                </a:lnTo>
                <a:lnTo>
                  <a:pt x="59" y="60"/>
                </a:lnTo>
                <a:lnTo>
                  <a:pt x="60" y="61"/>
                </a:lnTo>
                <a:lnTo>
                  <a:pt x="60" y="62"/>
                </a:lnTo>
                <a:lnTo>
                  <a:pt x="57" y="64"/>
                </a:lnTo>
                <a:lnTo>
                  <a:pt x="54" y="64"/>
                </a:lnTo>
                <a:lnTo>
                  <a:pt x="54" y="64"/>
                </a:lnTo>
                <a:lnTo>
                  <a:pt x="53" y="64"/>
                </a:lnTo>
                <a:lnTo>
                  <a:pt x="53" y="67"/>
                </a:lnTo>
                <a:lnTo>
                  <a:pt x="56" y="68"/>
                </a:lnTo>
                <a:lnTo>
                  <a:pt x="59" y="71"/>
                </a:lnTo>
                <a:lnTo>
                  <a:pt x="59" y="71"/>
                </a:lnTo>
                <a:lnTo>
                  <a:pt x="61" y="70"/>
                </a:lnTo>
                <a:lnTo>
                  <a:pt x="63" y="70"/>
                </a:lnTo>
                <a:lnTo>
                  <a:pt x="67" y="65"/>
                </a:lnTo>
                <a:lnTo>
                  <a:pt x="70" y="61"/>
                </a:lnTo>
                <a:lnTo>
                  <a:pt x="70" y="57"/>
                </a:lnTo>
                <a:lnTo>
                  <a:pt x="70" y="57"/>
                </a:lnTo>
                <a:lnTo>
                  <a:pt x="71" y="54"/>
                </a:lnTo>
                <a:lnTo>
                  <a:pt x="73" y="48"/>
                </a:lnTo>
                <a:lnTo>
                  <a:pt x="74" y="43"/>
                </a:lnTo>
                <a:lnTo>
                  <a:pt x="74" y="40"/>
                </a:lnTo>
                <a:lnTo>
                  <a:pt x="74" y="4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34" name="Freeform 322">
            <a:extLst>
              <a:ext uri="{FF2B5EF4-FFF2-40B4-BE49-F238E27FC236}">
                <a16:creationId xmlns:a16="http://schemas.microsoft.com/office/drawing/2014/main" id="{8EB24E4A-08AC-28B5-BE4E-636FFFE6F915}"/>
              </a:ext>
            </a:extLst>
          </p:cNvPr>
          <p:cNvSpPr>
            <a:spLocks noEditPoints="1"/>
          </p:cNvSpPr>
          <p:nvPr userDrawn="1"/>
        </p:nvSpPr>
        <p:spPr bwMode="gray">
          <a:xfrm>
            <a:off x="4590206" y="1595464"/>
            <a:ext cx="260102" cy="449976"/>
          </a:xfrm>
          <a:custGeom>
            <a:avLst/>
            <a:gdLst/>
            <a:ahLst/>
            <a:cxnLst>
              <a:cxn ang="0">
                <a:pos x="194" y="71"/>
              </a:cxn>
              <a:cxn ang="0">
                <a:pos x="196" y="57"/>
              </a:cxn>
              <a:cxn ang="0">
                <a:pos x="192" y="43"/>
              </a:cxn>
              <a:cxn ang="0">
                <a:pos x="190" y="26"/>
              </a:cxn>
              <a:cxn ang="0">
                <a:pos x="157" y="7"/>
              </a:cxn>
              <a:cxn ang="0">
                <a:pos x="142" y="3"/>
              </a:cxn>
              <a:cxn ang="0">
                <a:pos x="133" y="17"/>
              </a:cxn>
              <a:cxn ang="0">
                <a:pos x="112" y="13"/>
              </a:cxn>
              <a:cxn ang="0">
                <a:pos x="109" y="24"/>
              </a:cxn>
              <a:cxn ang="0">
                <a:pos x="89" y="32"/>
              </a:cxn>
              <a:cxn ang="0">
                <a:pos x="79" y="47"/>
              </a:cxn>
              <a:cxn ang="0">
                <a:pos x="76" y="57"/>
              </a:cxn>
              <a:cxn ang="0">
                <a:pos x="66" y="77"/>
              </a:cxn>
              <a:cxn ang="0">
                <a:pos x="52" y="81"/>
              </a:cxn>
              <a:cxn ang="0">
                <a:pos x="51" y="101"/>
              </a:cxn>
              <a:cxn ang="0">
                <a:pos x="42" y="124"/>
              </a:cxn>
              <a:cxn ang="0">
                <a:pos x="45" y="134"/>
              </a:cxn>
              <a:cxn ang="0">
                <a:pos x="27" y="137"/>
              </a:cxn>
              <a:cxn ang="0">
                <a:pos x="15" y="160"/>
              </a:cxn>
              <a:cxn ang="0">
                <a:pos x="17" y="178"/>
              </a:cxn>
              <a:cxn ang="0">
                <a:pos x="15" y="194"/>
              </a:cxn>
              <a:cxn ang="0">
                <a:pos x="27" y="208"/>
              </a:cxn>
              <a:cxn ang="0">
                <a:pos x="18" y="216"/>
              </a:cxn>
              <a:cxn ang="0">
                <a:pos x="22" y="236"/>
              </a:cxn>
              <a:cxn ang="0">
                <a:pos x="11" y="239"/>
              </a:cxn>
              <a:cxn ang="0">
                <a:pos x="8" y="261"/>
              </a:cxn>
              <a:cxn ang="0">
                <a:pos x="0" y="262"/>
              </a:cxn>
              <a:cxn ang="0">
                <a:pos x="4" y="276"/>
              </a:cxn>
              <a:cxn ang="0">
                <a:pos x="12" y="296"/>
              </a:cxn>
              <a:cxn ang="0">
                <a:pos x="21" y="312"/>
              </a:cxn>
              <a:cxn ang="0">
                <a:pos x="24" y="326"/>
              </a:cxn>
              <a:cxn ang="0">
                <a:pos x="28" y="342"/>
              </a:cxn>
              <a:cxn ang="0">
                <a:pos x="42" y="344"/>
              </a:cxn>
              <a:cxn ang="0">
                <a:pos x="49" y="332"/>
              </a:cxn>
              <a:cxn ang="0">
                <a:pos x="62" y="327"/>
              </a:cxn>
              <a:cxn ang="0">
                <a:pos x="75" y="320"/>
              </a:cxn>
              <a:cxn ang="0">
                <a:pos x="82" y="322"/>
              </a:cxn>
              <a:cxn ang="0">
                <a:pos x="83" y="309"/>
              </a:cxn>
              <a:cxn ang="0">
                <a:pos x="83" y="298"/>
              </a:cxn>
              <a:cxn ang="0">
                <a:pos x="91" y="266"/>
              </a:cxn>
              <a:cxn ang="0">
                <a:pos x="110" y="252"/>
              </a:cxn>
              <a:cxn ang="0">
                <a:pos x="119" y="239"/>
              </a:cxn>
              <a:cxn ang="0">
                <a:pos x="101" y="221"/>
              </a:cxn>
              <a:cxn ang="0">
                <a:pos x="91" y="201"/>
              </a:cxn>
              <a:cxn ang="0">
                <a:pos x="96" y="185"/>
              </a:cxn>
              <a:cxn ang="0">
                <a:pos x="105" y="169"/>
              </a:cxn>
              <a:cxn ang="0">
                <a:pos x="116" y="155"/>
              </a:cxn>
              <a:cxn ang="0">
                <a:pos x="149" y="135"/>
              </a:cxn>
              <a:cxn ang="0">
                <a:pos x="157" y="118"/>
              </a:cxn>
              <a:cxn ang="0">
                <a:pos x="162" y="103"/>
              </a:cxn>
              <a:cxn ang="0">
                <a:pos x="174" y="88"/>
              </a:cxn>
              <a:cxn ang="0">
                <a:pos x="196" y="87"/>
              </a:cxn>
              <a:cxn ang="0">
                <a:pos x="118" y="288"/>
              </a:cxn>
              <a:cxn ang="0">
                <a:pos x="106" y="309"/>
              </a:cxn>
              <a:cxn ang="0">
                <a:pos x="120" y="289"/>
              </a:cxn>
            </a:cxnLst>
            <a:rect l="0" t="0" r="r" b="b"/>
            <a:pathLst>
              <a:path w="200" h="346">
                <a:moveTo>
                  <a:pt x="197" y="80"/>
                </a:moveTo>
                <a:lnTo>
                  <a:pt x="197" y="80"/>
                </a:lnTo>
                <a:lnTo>
                  <a:pt x="194" y="74"/>
                </a:lnTo>
                <a:lnTo>
                  <a:pt x="193" y="73"/>
                </a:lnTo>
                <a:lnTo>
                  <a:pt x="194" y="71"/>
                </a:lnTo>
                <a:lnTo>
                  <a:pt x="194" y="71"/>
                </a:lnTo>
                <a:lnTo>
                  <a:pt x="196" y="71"/>
                </a:lnTo>
                <a:lnTo>
                  <a:pt x="197" y="70"/>
                </a:lnTo>
                <a:lnTo>
                  <a:pt x="199" y="66"/>
                </a:lnTo>
                <a:lnTo>
                  <a:pt x="197" y="60"/>
                </a:lnTo>
                <a:lnTo>
                  <a:pt x="196" y="57"/>
                </a:lnTo>
                <a:lnTo>
                  <a:pt x="196" y="57"/>
                </a:lnTo>
                <a:lnTo>
                  <a:pt x="194" y="56"/>
                </a:lnTo>
                <a:lnTo>
                  <a:pt x="193" y="54"/>
                </a:lnTo>
                <a:lnTo>
                  <a:pt x="193" y="50"/>
                </a:lnTo>
                <a:lnTo>
                  <a:pt x="193" y="46"/>
                </a:lnTo>
                <a:lnTo>
                  <a:pt x="193" y="44"/>
                </a:lnTo>
                <a:lnTo>
                  <a:pt x="192" y="43"/>
                </a:lnTo>
                <a:lnTo>
                  <a:pt x="192" y="43"/>
                </a:lnTo>
                <a:lnTo>
                  <a:pt x="190" y="40"/>
                </a:lnTo>
                <a:lnTo>
                  <a:pt x="190" y="37"/>
                </a:lnTo>
                <a:lnTo>
                  <a:pt x="192" y="27"/>
                </a:lnTo>
                <a:lnTo>
                  <a:pt x="192" y="27"/>
                </a:lnTo>
                <a:lnTo>
                  <a:pt x="190" y="26"/>
                </a:lnTo>
                <a:lnTo>
                  <a:pt x="189" y="24"/>
                </a:lnTo>
                <a:lnTo>
                  <a:pt x="183" y="20"/>
                </a:lnTo>
                <a:lnTo>
                  <a:pt x="167" y="14"/>
                </a:lnTo>
                <a:lnTo>
                  <a:pt x="167" y="14"/>
                </a:lnTo>
                <a:lnTo>
                  <a:pt x="163" y="10"/>
                </a:lnTo>
                <a:lnTo>
                  <a:pt x="157" y="7"/>
                </a:lnTo>
                <a:lnTo>
                  <a:pt x="153" y="3"/>
                </a:lnTo>
                <a:lnTo>
                  <a:pt x="149" y="0"/>
                </a:lnTo>
                <a:lnTo>
                  <a:pt x="149" y="0"/>
                </a:lnTo>
                <a:lnTo>
                  <a:pt x="146" y="0"/>
                </a:lnTo>
                <a:lnTo>
                  <a:pt x="145" y="0"/>
                </a:lnTo>
                <a:lnTo>
                  <a:pt x="142" y="3"/>
                </a:lnTo>
                <a:lnTo>
                  <a:pt x="140" y="7"/>
                </a:lnTo>
                <a:lnTo>
                  <a:pt x="140" y="13"/>
                </a:lnTo>
                <a:lnTo>
                  <a:pt x="140" y="13"/>
                </a:lnTo>
                <a:lnTo>
                  <a:pt x="139" y="16"/>
                </a:lnTo>
                <a:lnTo>
                  <a:pt x="136" y="17"/>
                </a:lnTo>
                <a:lnTo>
                  <a:pt x="133" y="17"/>
                </a:lnTo>
                <a:lnTo>
                  <a:pt x="129" y="16"/>
                </a:lnTo>
                <a:lnTo>
                  <a:pt x="129" y="16"/>
                </a:lnTo>
                <a:lnTo>
                  <a:pt x="126" y="14"/>
                </a:lnTo>
                <a:lnTo>
                  <a:pt x="122" y="14"/>
                </a:lnTo>
                <a:lnTo>
                  <a:pt x="118" y="14"/>
                </a:lnTo>
                <a:lnTo>
                  <a:pt x="112" y="13"/>
                </a:lnTo>
                <a:lnTo>
                  <a:pt x="112" y="13"/>
                </a:lnTo>
                <a:lnTo>
                  <a:pt x="110" y="12"/>
                </a:lnTo>
                <a:lnTo>
                  <a:pt x="109" y="13"/>
                </a:lnTo>
                <a:lnTo>
                  <a:pt x="108" y="16"/>
                </a:lnTo>
                <a:lnTo>
                  <a:pt x="109" y="24"/>
                </a:lnTo>
                <a:lnTo>
                  <a:pt x="109" y="24"/>
                </a:lnTo>
                <a:lnTo>
                  <a:pt x="108" y="27"/>
                </a:lnTo>
                <a:lnTo>
                  <a:pt x="105" y="29"/>
                </a:lnTo>
                <a:lnTo>
                  <a:pt x="96" y="29"/>
                </a:lnTo>
                <a:lnTo>
                  <a:pt x="96" y="29"/>
                </a:lnTo>
                <a:lnTo>
                  <a:pt x="92" y="29"/>
                </a:lnTo>
                <a:lnTo>
                  <a:pt x="89" y="32"/>
                </a:lnTo>
                <a:lnTo>
                  <a:pt x="85" y="34"/>
                </a:lnTo>
                <a:lnTo>
                  <a:pt x="85" y="37"/>
                </a:lnTo>
                <a:lnTo>
                  <a:pt x="85" y="37"/>
                </a:lnTo>
                <a:lnTo>
                  <a:pt x="83" y="41"/>
                </a:lnTo>
                <a:lnTo>
                  <a:pt x="81" y="44"/>
                </a:lnTo>
                <a:lnTo>
                  <a:pt x="79" y="47"/>
                </a:lnTo>
                <a:lnTo>
                  <a:pt x="79" y="49"/>
                </a:lnTo>
                <a:lnTo>
                  <a:pt x="79" y="49"/>
                </a:lnTo>
                <a:lnTo>
                  <a:pt x="81" y="51"/>
                </a:lnTo>
                <a:lnTo>
                  <a:pt x="79" y="54"/>
                </a:lnTo>
                <a:lnTo>
                  <a:pt x="76" y="57"/>
                </a:lnTo>
                <a:lnTo>
                  <a:pt x="76" y="57"/>
                </a:lnTo>
                <a:lnTo>
                  <a:pt x="72" y="64"/>
                </a:lnTo>
                <a:lnTo>
                  <a:pt x="68" y="70"/>
                </a:lnTo>
                <a:lnTo>
                  <a:pt x="68" y="70"/>
                </a:lnTo>
                <a:lnTo>
                  <a:pt x="66" y="71"/>
                </a:lnTo>
                <a:lnTo>
                  <a:pt x="66" y="74"/>
                </a:lnTo>
                <a:lnTo>
                  <a:pt x="66" y="77"/>
                </a:lnTo>
                <a:lnTo>
                  <a:pt x="65" y="78"/>
                </a:lnTo>
                <a:lnTo>
                  <a:pt x="65" y="78"/>
                </a:lnTo>
                <a:lnTo>
                  <a:pt x="61" y="80"/>
                </a:lnTo>
                <a:lnTo>
                  <a:pt x="58" y="81"/>
                </a:lnTo>
                <a:lnTo>
                  <a:pt x="55" y="81"/>
                </a:lnTo>
                <a:lnTo>
                  <a:pt x="52" y="81"/>
                </a:lnTo>
                <a:lnTo>
                  <a:pt x="52" y="81"/>
                </a:lnTo>
                <a:lnTo>
                  <a:pt x="51" y="84"/>
                </a:lnTo>
                <a:lnTo>
                  <a:pt x="51" y="87"/>
                </a:lnTo>
                <a:lnTo>
                  <a:pt x="52" y="97"/>
                </a:lnTo>
                <a:lnTo>
                  <a:pt x="52" y="97"/>
                </a:lnTo>
                <a:lnTo>
                  <a:pt x="51" y="101"/>
                </a:lnTo>
                <a:lnTo>
                  <a:pt x="48" y="107"/>
                </a:lnTo>
                <a:lnTo>
                  <a:pt x="41" y="117"/>
                </a:lnTo>
                <a:lnTo>
                  <a:pt x="41" y="117"/>
                </a:lnTo>
                <a:lnTo>
                  <a:pt x="39" y="121"/>
                </a:lnTo>
                <a:lnTo>
                  <a:pt x="41" y="123"/>
                </a:lnTo>
                <a:lnTo>
                  <a:pt x="42" y="124"/>
                </a:lnTo>
                <a:lnTo>
                  <a:pt x="45" y="125"/>
                </a:lnTo>
                <a:lnTo>
                  <a:pt x="45" y="125"/>
                </a:lnTo>
                <a:lnTo>
                  <a:pt x="46" y="127"/>
                </a:lnTo>
                <a:lnTo>
                  <a:pt x="46" y="128"/>
                </a:lnTo>
                <a:lnTo>
                  <a:pt x="45" y="134"/>
                </a:lnTo>
                <a:lnTo>
                  <a:pt x="45" y="134"/>
                </a:lnTo>
                <a:lnTo>
                  <a:pt x="42" y="137"/>
                </a:lnTo>
                <a:lnTo>
                  <a:pt x="39" y="137"/>
                </a:lnTo>
                <a:lnTo>
                  <a:pt x="34" y="135"/>
                </a:lnTo>
                <a:lnTo>
                  <a:pt x="34" y="135"/>
                </a:lnTo>
                <a:lnTo>
                  <a:pt x="31" y="135"/>
                </a:lnTo>
                <a:lnTo>
                  <a:pt x="27" y="137"/>
                </a:lnTo>
                <a:lnTo>
                  <a:pt x="22" y="141"/>
                </a:lnTo>
                <a:lnTo>
                  <a:pt x="18" y="145"/>
                </a:lnTo>
                <a:lnTo>
                  <a:pt x="18" y="145"/>
                </a:lnTo>
                <a:lnTo>
                  <a:pt x="15" y="151"/>
                </a:lnTo>
                <a:lnTo>
                  <a:pt x="15" y="155"/>
                </a:lnTo>
                <a:lnTo>
                  <a:pt x="15" y="160"/>
                </a:lnTo>
                <a:lnTo>
                  <a:pt x="17" y="162"/>
                </a:lnTo>
                <a:lnTo>
                  <a:pt x="17" y="162"/>
                </a:lnTo>
                <a:lnTo>
                  <a:pt x="17" y="165"/>
                </a:lnTo>
                <a:lnTo>
                  <a:pt x="15" y="168"/>
                </a:lnTo>
                <a:lnTo>
                  <a:pt x="15" y="172"/>
                </a:lnTo>
                <a:lnTo>
                  <a:pt x="17" y="178"/>
                </a:lnTo>
                <a:lnTo>
                  <a:pt x="17" y="178"/>
                </a:lnTo>
                <a:lnTo>
                  <a:pt x="18" y="182"/>
                </a:lnTo>
                <a:lnTo>
                  <a:pt x="17" y="187"/>
                </a:lnTo>
                <a:lnTo>
                  <a:pt x="17" y="189"/>
                </a:lnTo>
                <a:lnTo>
                  <a:pt x="15" y="194"/>
                </a:lnTo>
                <a:lnTo>
                  <a:pt x="15" y="194"/>
                </a:lnTo>
                <a:lnTo>
                  <a:pt x="18" y="197"/>
                </a:lnTo>
                <a:lnTo>
                  <a:pt x="21" y="199"/>
                </a:lnTo>
                <a:lnTo>
                  <a:pt x="25" y="201"/>
                </a:lnTo>
                <a:lnTo>
                  <a:pt x="27" y="205"/>
                </a:lnTo>
                <a:lnTo>
                  <a:pt x="27" y="205"/>
                </a:lnTo>
                <a:lnTo>
                  <a:pt x="27" y="208"/>
                </a:lnTo>
                <a:lnTo>
                  <a:pt x="25" y="211"/>
                </a:lnTo>
                <a:lnTo>
                  <a:pt x="22" y="212"/>
                </a:lnTo>
                <a:lnTo>
                  <a:pt x="21" y="214"/>
                </a:lnTo>
                <a:lnTo>
                  <a:pt x="21" y="214"/>
                </a:lnTo>
                <a:lnTo>
                  <a:pt x="18" y="214"/>
                </a:lnTo>
                <a:lnTo>
                  <a:pt x="18" y="216"/>
                </a:lnTo>
                <a:lnTo>
                  <a:pt x="19" y="219"/>
                </a:lnTo>
                <a:lnTo>
                  <a:pt x="21" y="221"/>
                </a:lnTo>
                <a:lnTo>
                  <a:pt x="21" y="221"/>
                </a:lnTo>
                <a:lnTo>
                  <a:pt x="22" y="224"/>
                </a:lnTo>
                <a:lnTo>
                  <a:pt x="24" y="228"/>
                </a:lnTo>
                <a:lnTo>
                  <a:pt x="22" y="236"/>
                </a:lnTo>
                <a:lnTo>
                  <a:pt x="22" y="236"/>
                </a:lnTo>
                <a:lnTo>
                  <a:pt x="19" y="238"/>
                </a:lnTo>
                <a:lnTo>
                  <a:pt x="15" y="238"/>
                </a:lnTo>
                <a:lnTo>
                  <a:pt x="12" y="238"/>
                </a:lnTo>
                <a:lnTo>
                  <a:pt x="11" y="238"/>
                </a:lnTo>
                <a:lnTo>
                  <a:pt x="11" y="239"/>
                </a:lnTo>
                <a:lnTo>
                  <a:pt x="11" y="239"/>
                </a:lnTo>
                <a:lnTo>
                  <a:pt x="11" y="243"/>
                </a:lnTo>
                <a:lnTo>
                  <a:pt x="11" y="246"/>
                </a:lnTo>
                <a:lnTo>
                  <a:pt x="9" y="252"/>
                </a:lnTo>
                <a:lnTo>
                  <a:pt x="9" y="252"/>
                </a:lnTo>
                <a:lnTo>
                  <a:pt x="8" y="261"/>
                </a:lnTo>
                <a:lnTo>
                  <a:pt x="7" y="263"/>
                </a:lnTo>
                <a:lnTo>
                  <a:pt x="7" y="263"/>
                </a:lnTo>
                <a:lnTo>
                  <a:pt x="5" y="263"/>
                </a:lnTo>
                <a:lnTo>
                  <a:pt x="5" y="263"/>
                </a:lnTo>
                <a:lnTo>
                  <a:pt x="2" y="262"/>
                </a:lnTo>
                <a:lnTo>
                  <a:pt x="0" y="262"/>
                </a:lnTo>
                <a:lnTo>
                  <a:pt x="0" y="262"/>
                </a:lnTo>
                <a:lnTo>
                  <a:pt x="0" y="263"/>
                </a:lnTo>
                <a:lnTo>
                  <a:pt x="0" y="263"/>
                </a:lnTo>
                <a:lnTo>
                  <a:pt x="1" y="269"/>
                </a:lnTo>
                <a:lnTo>
                  <a:pt x="1" y="273"/>
                </a:lnTo>
                <a:lnTo>
                  <a:pt x="4" y="276"/>
                </a:lnTo>
                <a:lnTo>
                  <a:pt x="7" y="280"/>
                </a:lnTo>
                <a:lnTo>
                  <a:pt x="7" y="280"/>
                </a:lnTo>
                <a:lnTo>
                  <a:pt x="9" y="283"/>
                </a:lnTo>
                <a:lnTo>
                  <a:pt x="11" y="288"/>
                </a:lnTo>
                <a:lnTo>
                  <a:pt x="11" y="292"/>
                </a:lnTo>
                <a:lnTo>
                  <a:pt x="12" y="296"/>
                </a:lnTo>
                <a:lnTo>
                  <a:pt x="12" y="296"/>
                </a:lnTo>
                <a:lnTo>
                  <a:pt x="15" y="300"/>
                </a:lnTo>
                <a:lnTo>
                  <a:pt x="17" y="305"/>
                </a:lnTo>
                <a:lnTo>
                  <a:pt x="18" y="307"/>
                </a:lnTo>
                <a:lnTo>
                  <a:pt x="21" y="312"/>
                </a:lnTo>
                <a:lnTo>
                  <a:pt x="21" y="312"/>
                </a:lnTo>
                <a:lnTo>
                  <a:pt x="24" y="315"/>
                </a:lnTo>
                <a:lnTo>
                  <a:pt x="25" y="317"/>
                </a:lnTo>
                <a:lnTo>
                  <a:pt x="25" y="320"/>
                </a:lnTo>
                <a:lnTo>
                  <a:pt x="24" y="323"/>
                </a:lnTo>
                <a:lnTo>
                  <a:pt x="24" y="323"/>
                </a:lnTo>
                <a:lnTo>
                  <a:pt x="24" y="326"/>
                </a:lnTo>
                <a:lnTo>
                  <a:pt x="25" y="327"/>
                </a:lnTo>
                <a:lnTo>
                  <a:pt x="28" y="329"/>
                </a:lnTo>
                <a:lnTo>
                  <a:pt x="29" y="330"/>
                </a:lnTo>
                <a:lnTo>
                  <a:pt x="29" y="330"/>
                </a:lnTo>
                <a:lnTo>
                  <a:pt x="28" y="337"/>
                </a:lnTo>
                <a:lnTo>
                  <a:pt x="28" y="342"/>
                </a:lnTo>
                <a:lnTo>
                  <a:pt x="29" y="344"/>
                </a:lnTo>
                <a:lnTo>
                  <a:pt x="29" y="344"/>
                </a:lnTo>
                <a:lnTo>
                  <a:pt x="31" y="346"/>
                </a:lnTo>
                <a:lnTo>
                  <a:pt x="34" y="346"/>
                </a:lnTo>
                <a:lnTo>
                  <a:pt x="42" y="344"/>
                </a:lnTo>
                <a:lnTo>
                  <a:pt x="42" y="344"/>
                </a:lnTo>
                <a:lnTo>
                  <a:pt x="45" y="343"/>
                </a:lnTo>
                <a:lnTo>
                  <a:pt x="48" y="340"/>
                </a:lnTo>
                <a:lnTo>
                  <a:pt x="48" y="335"/>
                </a:lnTo>
                <a:lnTo>
                  <a:pt x="48" y="335"/>
                </a:lnTo>
                <a:lnTo>
                  <a:pt x="48" y="332"/>
                </a:lnTo>
                <a:lnTo>
                  <a:pt x="49" y="332"/>
                </a:lnTo>
                <a:lnTo>
                  <a:pt x="51" y="330"/>
                </a:lnTo>
                <a:lnTo>
                  <a:pt x="52" y="329"/>
                </a:lnTo>
                <a:lnTo>
                  <a:pt x="52" y="329"/>
                </a:lnTo>
                <a:lnTo>
                  <a:pt x="54" y="327"/>
                </a:lnTo>
                <a:lnTo>
                  <a:pt x="58" y="326"/>
                </a:lnTo>
                <a:lnTo>
                  <a:pt x="62" y="327"/>
                </a:lnTo>
                <a:lnTo>
                  <a:pt x="66" y="327"/>
                </a:lnTo>
                <a:lnTo>
                  <a:pt x="66" y="327"/>
                </a:lnTo>
                <a:lnTo>
                  <a:pt x="69" y="329"/>
                </a:lnTo>
                <a:lnTo>
                  <a:pt x="72" y="327"/>
                </a:lnTo>
                <a:lnTo>
                  <a:pt x="73" y="325"/>
                </a:lnTo>
                <a:lnTo>
                  <a:pt x="75" y="320"/>
                </a:lnTo>
                <a:lnTo>
                  <a:pt x="75" y="320"/>
                </a:lnTo>
                <a:lnTo>
                  <a:pt x="76" y="319"/>
                </a:lnTo>
                <a:lnTo>
                  <a:pt x="78" y="319"/>
                </a:lnTo>
                <a:lnTo>
                  <a:pt x="81" y="323"/>
                </a:lnTo>
                <a:lnTo>
                  <a:pt x="81" y="323"/>
                </a:lnTo>
                <a:lnTo>
                  <a:pt x="82" y="322"/>
                </a:lnTo>
                <a:lnTo>
                  <a:pt x="85" y="319"/>
                </a:lnTo>
                <a:lnTo>
                  <a:pt x="89" y="307"/>
                </a:lnTo>
                <a:lnTo>
                  <a:pt x="89" y="307"/>
                </a:lnTo>
                <a:lnTo>
                  <a:pt x="91" y="305"/>
                </a:lnTo>
                <a:lnTo>
                  <a:pt x="89" y="303"/>
                </a:lnTo>
                <a:lnTo>
                  <a:pt x="83" y="309"/>
                </a:lnTo>
                <a:lnTo>
                  <a:pt x="83" y="309"/>
                </a:lnTo>
                <a:lnTo>
                  <a:pt x="82" y="310"/>
                </a:lnTo>
                <a:lnTo>
                  <a:pt x="81" y="310"/>
                </a:lnTo>
                <a:lnTo>
                  <a:pt x="81" y="307"/>
                </a:lnTo>
                <a:lnTo>
                  <a:pt x="83" y="298"/>
                </a:lnTo>
                <a:lnTo>
                  <a:pt x="83" y="298"/>
                </a:lnTo>
                <a:lnTo>
                  <a:pt x="85" y="292"/>
                </a:lnTo>
                <a:lnTo>
                  <a:pt x="85" y="286"/>
                </a:lnTo>
                <a:lnTo>
                  <a:pt x="86" y="275"/>
                </a:lnTo>
                <a:lnTo>
                  <a:pt x="86" y="275"/>
                </a:lnTo>
                <a:lnTo>
                  <a:pt x="89" y="269"/>
                </a:lnTo>
                <a:lnTo>
                  <a:pt x="91" y="266"/>
                </a:lnTo>
                <a:lnTo>
                  <a:pt x="95" y="265"/>
                </a:lnTo>
                <a:lnTo>
                  <a:pt x="95" y="265"/>
                </a:lnTo>
                <a:lnTo>
                  <a:pt x="101" y="263"/>
                </a:lnTo>
                <a:lnTo>
                  <a:pt x="106" y="259"/>
                </a:lnTo>
                <a:lnTo>
                  <a:pt x="109" y="255"/>
                </a:lnTo>
                <a:lnTo>
                  <a:pt x="110" y="252"/>
                </a:lnTo>
                <a:lnTo>
                  <a:pt x="110" y="252"/>
                </a:lnTo>
                <a:lnTo>
                  <a:pt x="110" y="251"/>
                </a:lnTo>
                <a:lnTo>
                  <a:pt x="110" y="249"/>
                </a:lnTo>
                <a:lnTo>
                  <a:pt x="113" y="245"/>
                </a:lnTo>
                <a:lnTo>
                  <a:pt x="118" y="242"/>
                </a:lnTo>
                <a:lnTo>
                  <a:pt x="119" y="239"/>
                </a:lnTo>
                <a:lnTo>
                  <a:pt x="119" y="239"/>
                </a:lnTo>
                <a:lnTo>
                  <a:pt x="118" y="235"/>
                </a:lnTo>
                <a:lnTo>
                  <a:pt x="113" y="229"/>
                </a:lnTo>
                <a:lnTo>
                  <a:pt x="105" y="222"/>
                </a:lnTo>
                <a:lnTo>
                  <a:pt x="105" y="222"/>
                </a:lnTo>
                <a:lnTo>
                  <a:pt x="101" y="221"/>
                </a:lnTo>
                <a:lnTo>
                  <a:pt x="96" y="221"/>
                </a:lnTo>
                <a:lnTo>
                  <a:pt x="93" y="219"/>
                </a:lnTo>
                <a:lnTo>
                  <a:pt x="93" y="219"/>
                </a:lnTo>
                <a:lnTo>
                  <a:pt x="93" y="219"/>
                </a:lnTo>
                <a:lnTo>
                  <a:pt x="92" y="211"/>
                </a:lnTo>
                <a:lnTo>
                  <a:pt x="91" y="201"/>
                </a:lnTo>
                <a:lnTo>
                  <a:pt x="91" y="201"/>
                </a:lnTo>
                <a:lnTo>
                  <a:pt x="92" y="197"/>
                </a:lnTo>
                <a:lnTo>
                  <a:pt x="93" y="192"/>
                </a:lnTo>
                <a:lnTo>
                  <a:pt x="96" y="189"/>
                </a:lnTo>
                <a:lnTo>
                  <a:pt x="96" y="185"/>
                </a:lnTo>
                <a:lnTo>
                  <a:pt x="96" y="185"/>
                </a:lnTo>
                <a:lnTo>
                  <a:pt x="98" y="178"/>
                </a:lnTo>
                <a:lnTo>
                  <a:pt x="99" y="175"/>
                </a:lnTo>
                <a:lnTo>
                  <a:pt x="101" y="172"/>
                </a:lnTo>
                <a:lnTo>
                  <a:pt x="101" y="172"/>
                </a:lnTo>
                <a:lnTo>
                  <a:pt x="103" y="171"/>
                </a:lnTo>
                <a:lnTo>
                  <a:pt x="105" y="169"/>
                </a:lnTo>
                <a:lnTo>
                  <a:pt x="106" y="167"/>
                </a:lnTo>
                <a:lnTo>
                  <a:pt x="109" y="165"/>
                </a:lnTo>
                <a:lnTo>
                  <a:pt x="109" y="165"/>
                </a:lnTo>
                <a:lnTo>
                  <a:pt x="112" y="164"/>
                </a:lnTo>
                <a:lnTo>
                  <a:pt x="113" y="160"/>
                </a:lnTo>
                <a:lnTo>
                  <a:pt x="116" y="155"/>
                </a:lnTo>
                <a:lnTo>
                  <a:pt x="120" y="152"/>
                </a:lnTo>
                <a:lnTo>
                  <a:pt x="120" y="152"/>
                </a:lnTo>
                <a:lnTo>
                  <a:pt x="126" y="150"/>
                </a:lnTo>
                <a:lnTo>
                  <a:pt x="135" y="144"/>
                </a:lnTo>
                <a:lnTo>
                  <a:pt x="135" y="144"/>
                </a:lnTo>
                <a:lnTo>
                  <a:pt x="149" y="135"/>
                </a:lnTo>
                <a:lnTo>
                  <a:pt x="156" y="130"/>
                </a:lnTo>
                <a:lnTo>
                  <a:pt x="160" y="125"/>
                </a:lnTo>
                <a:lnTo>
                  <a:pt x="160" y="125"/>
                </a:lnTo>
                <a:lnTo>
                  <a:pt x="160" y="124"/>
                </a:lnTo>
                <a:lnTo>
                  <a:pt x="159" y="121"/>
                </a:lnTo>
                <a:lnTo>
                  <a:pt x="157" y="118"/>
                </a:lnTo>
                <a:lnTo>
                  <a:pt x="156" y="114"/>
                </a:lnTo>
                <a:lnTo>
                  <a:pt x="156" y="113"/>
                </a:lnTo>
                <a:lnTo>
                  <a:pt x="157" y="110"/>
                </a:lnTo>
                <a:lnTo>
                  <a:pt x="157" y="110"/>
                </a:lnTo>
                <a:lnTo>
                  <a:pt x="162" y="105"/>
                </a:lnTo>
                <a:lnTo>
                  <a:pt x="162" y="103"/>
                </a:lnTo>
                <a:lnTo>
                  <a:pt x="162" y="100"/>
                </a:lnTo>
                <a:lnTo>
                  <a:pt x="165" y="97"/>
                </a:lnTo>
                <a:lnTo>
                  <a:pt x="165" y="97"/>
                </a:lnTo>
                <a:lnTo>
                  <a:pt x="170" y="94"/>
                </a:lnTo>
                <a:lnTo>
                  <a:pt x="174" y="88"/>
                </a:lnTo>
                <a:lnTo>
                  <a:pt x="174" y="88"/>
                </a:lnTo>
                <a:lnTo>
                  <a:pt x="177" y="87"/>
                </a:lnTo>
                <a:lnTo>
                  <a:pt x="182" y="87"/>
                </a:lnTo>
                <a:lnTo>
                  <a:pt x="186" y="87"/>
                </a:lnTo>
                <a:lnTo>
                  <a:pt x="192" y="87"/>
                </a:lnTo>
                <a:lnTo>
                  <a:pt x="192" y="87"/>
                </a:lnTo>
                <a:lnTo>
                  <a:pt x="196" y="87"/>
                </a:lnTo>
                <a:lnTo>
                  <a:pt x="200" y="87"/>
                </a:lnTo>
                <a:lnTo>
                  <a:pt x="200" y="87"/>
                </a:lnTo>
                <a:lnTo>
                  <a:pt x="199" y="83"/>
                </a:lnTo>
                <a:lnTo>
                  <a:pt x="197" y="80"/>
                </a:lnTo>
                <a:lnTo>
                  <a:pt x="197" y="80"/>
                </a:lnTo>
                <a:close/>
                <a:moveTo>
                  <a:pt x="118" y="288"/>
                </a:moveTo>
                <a:lnTo>
                  <a:pt x="118" y="288"/>
                </a:lnTo>
                <a:lnTo>
                  <a:pt x="115" y="289"/>
                </a:lnTo>
                <a:lnTo>
                  <a:pt x="112" y="290"/>
                </a:lnTo>
                <a:lnTo>
                  <a:pt x="108" y="298"/>
                </a:lnTo>
                <a:lnTo>
                  <a:pt x="106" y="305"/>
                </a:lnTo>
                <a:lnTo>
                  <a:pt x="106" y="309"/>
                </a:lnTo>
                <a:lnTo>
                  <a:pt x="106" y="309"/>
                </a:lnTo>
                <a:lnTo>
                  <a:pt x="108" y="309"/>
                </a:lnTo>
                <a:lnTo>
                  <a:pt x="110" y="306"/>
                </a:lnTo>
                <a:lnTo>
                  <a:pt x="116" y="299"/>
                </a:lnTo>
                <a:lnTo>
                  <a:pt x="120" y="292"/>
                </a:lnTo>
                <a:lnTo>
                  <a:pt x="120" y="289"/>
                </a:lnTo>
                <a:lnTo>
                  <a:pt x="118" y="288"/>
                </a:lnTo>
                <a:lnTo>
                  <a:pt x="118" y="288"/>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35" name="Freeform 323">
            <a:extLst>
              <a:ext uri="{FF2B5EF4-FFF2-40B4-BE49-F238E27FC236}">
                <a16:creationId xmlns:a16="http://schemas.microsoft.com/office/drawing/2014/main" id="{6F0761D9-E5C0-54A4-BDE7-B19A80AEC5D8}"/>
              </a:ext>
            </a:extLst>
          </p:cNvPr>
          <p:cNvSpPr>
            <a:spLocks noEditPoints="1"/>
          </p:cNvSpPr>
          <p:nvPr userDrawn="1"/>
        </p:nvSpPr>
        <p:spPr bwMode="gray">
          <a:xfrm>
            <a:off x="4806090" y="1915389"/>
            <a:ext cx="126149" cy="61124"/>
          </a:xfrm>
          <a:custGeom>
            <a:avLst/>
            <a:gdLst/>
            <a:ahLst/>
            <a:cxnLst>
              <a:cxn ang="0">
                <a:pos x="92" y="12"/>
              </a:cxn>
              <a:cxn ang="0">
                <a:pos x="97" y="5"/>
              </a:cxn>
              <a:cxn ang="0">
                <a:pos x="95" y="2"/>
              </a:cxn>
              <a:cxn ang="0">
                <a:pos x="92" y="3"/>
              </a:cxn>
              <a:cxn ang="0">
                <a:pos x="77" y="2"/>
              </a:cxn>
              <a:cxn ang="0">
                <a:pos x="61" y="0"/>
              </a:cxn>
              <a:cxn ang="0">
                <a:pos x="45" y="2"/>
              </a:cxn>
              <a:cxn ang="0">
                <a:pos x="31" y="6"/>
              </a:cxn>
              <a:cxn ang="0">
                <a:pos x="28" y="9"/>
              </a:cxn>
              <a:cxn ang="0">
                <a:pos x="21" y="13"/>
              </a:cxn>
              <a:cxn ang="0">
                <a:pos x="23" y="15"/>
              </a:cxn>
              <a:cxn ang="0">
                <a:pos x="24" y="17"/>
              </a:cxn>
              <a:cxn ang="0">
                <a:pos x="24" y="23"/>
              </a:cxn>
              <a:cxn ang="0">
                <a:pos x="26" y="26"/>
              </a:cxn>
              <a:cxn ang="0">
                <a:pos x="31" y="32"/>
              </a:cxn>
              <a:cxn ang="0">
                <a:pos x="36" y="30"/>
              </a:cxn>
              <a:cxn ang="0">
                <a:pos x="40" y="32"/>
              </a:cxn>
              <a:cxn ang="0">
                <a:pos x="38" y="37"/>
              </a:cxn>
              <a:cxn ang="0">
                <a:pos x="38" y="37"/>
              </a:cxn>
              <a:cxn ang="0">
                <a:pos x="48" y="37"/>
              </a:cxn>
              <a:cxn ang="0">
                <a:pos x="55" y="37"/>
              </a:cxn>
              <a:cxn ang="0">
                <a:pos x="68" y="46"/>
              </a:cxn>
              <a:cxn ang="0">
                <a:pos x="71" y="47"/>
              </a:cxn>
              <a:cxn ang="0">
                <a:pos x="87" y="47"/>
              </a:cxn>
              <a:cxn ang="0">
                <a:pos x="87" y="46"/>
              </a:cxn>
              <a:cxn ang="0">
                <a:pos x="87" y="43"/>
              </a:cxn>
              <a:cxn ang="0">
                <a:pos x="92" y="40"/>
              </a:cxn>
              <a:cxn ang="0">
                <a:pos x="91" y="37"/>
              </a:cxn>
              <a:cxn ang="0">
                <a:pos x="88" y="29"/>
              </a:cxn>
              <a:cxn ang="0">
                <a:pos x="87" y="25"/>
              </a:cxn>
              <a:cxn ang="0">
                <a:pos x="87" y="20"/>
              </a:cxn>
              <a:cxn ang="0">
                <a:pos x="92" y="12"/>
              </a:cxn>
              <a:cxn ang="0">
                <a:pos x="8" y="23"/>
              </a:cxn>
              <a:cxn ang="0">
                <a:pos x="6" y="25"/>
              </a:cxn>
              <a:cxn ang="0">
                <a:pos x="0" y="32"/>
              </a:cxn>
              <a:cxn ang="0">
                <a:pos x="1" y="37"/>
              </a:cxn>
              <a:cxn ang="0">
                <a:pos x="1" y="37"/>
              </a:cxn>
              <a:cxn ang="0">
                <a:pos x="11" y="33"/>
              </a:cxn>
              <a:cxn ang="0">
                <a:pos x="18" y="26"/>
              </a:cxn>
              <a:cxn ang="0">
                <a:pos x="17" y="23"/>
              </a:cxn>
              <a:cxn ang="0">
                <a:pos x="8" y="23"/>
              </a:cxn>
              <a:cxn ang="0">
                <a:pos x="16" y="16"/>
              </a:cxn>
              <a:cxn ang="0">
                <a:pos x="16" y="16"/>
              </a:cxn>
              <a:cxn ang="0">
                <a:pos x="10" y="15"/>
              </a:cxn>
              <a:cxn ang="0">
                <a:pos x="4" y="16"/>
              </a:cxn>
              <a:cxn ang="0">
                <a:pos x="6" y="17"/>
              </a:cxn>
              <a:cxn ang="0">
                <a:pos x="10" y="19"/>
              </a:cxn>
              <a:cxn ang="0">
                <a:pos x="16" y="16"/>
              </a:cxn>
            </a:cxnLst>
            <a:rect l="0" t="0" r="r" b="b"/>
            <a:pathLst>
              <a:path w="97" h="47">
                <a:moveTo>
                  <a:pt x="92" y="12"/>
                </a:moveTo>
                <a:lnTo>
                  <a:pt x="92" y="12"/>
                </a:lnTo>
                <a:lnTo>
                  <a:pt x="97" y="7"/>
                </a:lnTo>
                <a:lnTo>
                  <a:pt x="97" y="5"/>
                </a:lnTo>
                <a:lnTo>
                  <a:pt x="95" y="2"/>
                </a:lnTo>
                <a:lnTo>
                  <a:pt x="95" y="2"/>
                </a:lnTo>
                <a:lnTo>
                  <a:pt x="92" y="3"/>
                </a:lnTo>
                <a:lnTo>
                  <a:pt x="92" y="3"/>
                </a:lnTo>
                <a:lnTo>
                  <a:pt x="85" y="3"/>
                </a:lnTo>
                <a:lnTo>
                  <a:pt x="77" y="2"/>
                </a:lnTo>
                <a:lnTo>
                  <a:pt x="70" y="0"/>
                </a:lnTo>
                <a:lnTo>
                  <a:pt x="61" y="0"/>
                </a:lnTo>
                <a:lnTo>
                  <a:pt x="61" y="0"/>
                </a:lnTo>
                <a:lnTo>
                  <a:pt x="45" y="2"/>
                </a:lnTo>
                <a:lnTo>
                  <a:pt x="37" y="3"/>
                </a:lnTo>
                <a:lnTo>
                  <a:pt x="31" y="6"/>
                </a:lnTo>
                <a:lnTo>
                  <a:pt x="31" y="6"/>
                </a:lnTo>
                <a:lnTo>
                  <a:pt x="28" y="9"/>
                </a:lnTo>
                <a:lnTo>
                  <a:pt x="24" y="10"/>
                </a:lnTo>
                <a:lnTo>
                  <a:pt x="21" y="13"/>
                </a:lnTo>
                <a:lnTo>
                  <a:pt x="21" y="13"/>
                </a:lnTo>
                <a:lnTo>
                  <a:pt x="23" y="15"/>
                </a:lnTo>
                <a:lnTo>
                  <a:pt x="23" y="15"/>
                </a:lnTo>
                <a:lnTo>
                  <a:pt x="24" y="17"/>
                </a:lnTo>
                <a:lnTo>
                  <a:pt x="24" y="20"/>
                </a:lnTo>
                <a:lnTo>
                  <a:pt x="24" y="23"/>
                </a:lnTo>
                <a:lnTo>
                  <a:pt x="26" y="26"/>
                </a:lnTo>
                <a:lnTo>
                  <a:pt x="26" y="26"/>
                </a:lnTo>
                <a:lnTo>
                  <a:pt x="30" y="30"/>
                </a:lnTo>
                <a:lnTo>
                  <a:pt x="31" y="32"/>
                </a:lnTo>
                <a:lnTo>
                  <a:pt x="36" y="30"/>
                </a:lnTo>
                <a:lnTo>
                  <a:pt x="36" y="30"/>
                </a:lnTo>
                <a:lnTo>
                  <a:pt x="38" y="30"/>
                </a:lnTo>
                <a:lnTo>
                  <a:pt x="40" y="32"/>
                </a:lnTo>
                <a:lnTo>
                  <a:pt x="40" y="34"/>
                </a:lnTo>
                <a:lnTo>
                  <a:pt x="38" y="37"/>
                </a:lnTo>
                <a:lnTo>
                  <a:pt x="38" y="37"/>
                </a:lnTo>
                <a:lnTo>
                  <a:pt x="38" y="37"/>
                </a:lnTo>
                <a:lnTo>
                  <a:pt x="38" y="37"/>
                </a:lnTo>
                <a:lnTo>
                  <a:pt x="48" y="37"/>
                </a:lnTo>
                <a:lnTo>
                  <a:pt x="55" y="37"/>
                </a:lnTo>
                <a:lnTo>
                  <a:pt x="55" y="37"/>
                </a:lnTo>
                <a:lnTo>
                  <a:pt x="63" y="43"/>
                </a:lnTo>
                <a:lnTo>
                  <a:pt x="68" y="46"/>
                </a:lnTo>
                <a:lnTo>
                  <a:pt x="71" y="47"/>
                </a:lnTo>
                <a:lnTo>
                  <a:pt x="71" y="47"/>
                </a:lnTo>
                <a:lnTo>
                  <a:pt x="77" y="47"/>
                </a:lnTo>
                <a:lnTo>
                  <a:pt x="87" y="47"/>
                </a:lnTo>
                <a:lnTo>
                  <a:pt x="87" y="47"/>
                </a:lnTo>
                <a:lnTo>
                  <a:pt x="87" y="46"/>
                </a:lnTo>
                <a:lnTo>
                  <a:pt x="87" y="43"/>
                </a:lnTo>
                <a:lnTo>
                  <a:pt x="87" y="43"/>
                </a:lnTo>
                <a:lnTo>
                  <a:pt x="91" y="42"/>
                </a:lnTo>
                <a:lnTo>
                  <a:pt x="92" y="40"/>
                </a:lnTo>
                <a:lnTo>
                  <a:pt x="91" y="37"/>
                </a:lnTo>
                <a:lnTo>
                  <a:pt x="91" y="37"/>
                </a:lnTo>
                <a:lnTo>
                  <a:pt x="90" y="34"/>
                </a:lnTo>
                <a:lnTo>
                  <a:pt x="88" y="29"/>
                </a:lnTo>
                <a:lnTo>
                  <a:pt x="88" y="29"/>
                </a:lnTo>
                <a:lnTo>
                  <a:pt x="87" y="25"/>
                </a:lnTo>
                <a:lnTo>
                  <a:pt x="87" y="20"/>
                </a:lnTo>
                <a:lnTo>
                  <a:pt x="87" y="20"/>
                </a:lnTo>
                <a:lnTo>
                  <a:pt x="90" y="17"/>
                </a:lnTo>
                <a:lnTo>
                  <a:pt x="92" y="12"/>
                </a:lnTo>
                <a:lnTo>
                  <a:pt x="92" y="12"/>
                </a:lnTo>
                <a:close/>
                <a:moveTo>
                  <a:pt x="8" y="23"/>
                </a:moveTo>
                <a:lnTo>
                  <a:pt x="8" y="23"/>
                </a:lnTo>
                <a:lnTo>
                  <a:pt x="6" y="25"/>
                </a:lnTo>
                <a:lnTo>
                  <a:pt x="3" y="27"/>
                </a:lnTo>
                <a:lnTo>
                  <a:pt x="0" y="32"/>
                </a:lnTo>
                <a:lnTo>
                  <a:pt x="0" y="36"/>
                </a:lnTo>
                <a:lnTo>
                  <a:pt x="1" y="37"/>
                </a:lnTo>
                <a:lnTo>
                  <a:pt x="1" y="37"/>
                </a:lnTo>
                <a:lnTo>
                  <a:pt x="1" y="37"/>
                </a:lnTo>
                <a:lnTo>
                  <a:pt x="6" y="36"/>
                </a:lnTo>
                <a:lnTo>
                  <a:pt x="11" y="33"/>
                </a:lnTo>
                <a:lnTo>
                  <a:pt x="18" y="26"/>
                </a:lnTo>
                <a:lnTo>
                  <a:pt x="18" y="26"/>
                </a:lnTo>
                <a:lnTo>
                  <a:pt x="20" y="25"/>
                </a:lnTo>
                <a:lnTo>
                  <a:pt x="17" y="23"/>
                </a:lnTo>
                <a:lnTo>
                  <a:pt x="14" y="23"/>
                </a:lnTo>
                <a:lnTo>
                  <a:pt x="8" y="23"/>
                </a:lnTo>
                <a:lnTo>
                  <a:pt x="8" y="23"/>
                </a:lnTo>
                <a:close/>
                <a:moveTo>
                  <a:pt x="16" y="16"/>
                </a:moveTo>
                <a:lnTo>
                  <a:pt x="16" y="16"/>
                </a:lnTo>
                <a:lnTo>
                  <a:pt x="16" y="16"/>
                </a:lnTo>
                <a:lnTo>
                  <a:pt x="14" y="15"/>
                </a:lnTo>
                <a:lnTo>
                  <a:pt x="10" y="15"/>
                </a:lnTo>
                <a:lnTo>
                  <a:pt x="6" y="16"/>
                </a:lnTo>
                <a:lnTo>
                  <a:pt x="4" y="16"/>
                </a:lnTo>
                <a:lnTo>
                  <a:pt x="6" y="17"/>
                </a:lnTo>
                <a:lnTo>
                  <a:pt x="6" y="17"/>
                </a:lnTo>
                <a:lnTo>
                  <a:pt x="7" y="19"/>
                </a:lnTo>
                <a:lnTo>
                  <a:pt x="10" y="19"/>
                </a:lnTo>
                <a:lnTo>
                  <a:pt x="13" y="19"/>
                </a:lnTo>
                <a:lnTo>
                  <a:pt x="16" y="16"/>
                </a:lnTo>
                <a:lnTo>
                  <a:pt x="16" y="16"/>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36" name="Freeform 324">
            <a:extLst>
              <a:ext uri="{FF2B5EF4-FFF2-40B4-BE49-F238E27FC236}">
                <a16:creationId xmlns:a16="http://schemas.microsoft.com/office/drawing/2014/main" id="{FC183C87-1CD6-72BE-7D09-C2568B31CA45}"/>
              </a:ext>
            </a:extLst>
          </p:cNvPr>
          <p:cNvSpPr>
            <a:spLocks/>
          </p:cNvSpPr>
          <p:nvPr userDrawn="1"/>
        </p:nvSpPr>
        <p:spPr bwMode="gray">
          <a:xfrm>
            <a:off x="5046685" y="3241909"/>
            <a:ext cx="166465" cy="204180"/>
          </a:xfrm>
          <a:custGeom>
            <a:avLst/>
            <a:gdLst/>
            <a:ahLst/>
            <a:cxnLst>
              <a:cxn ang="0">
                <a:pos x="121" y="24"/>
              </a:cxn>
              <a:cxn ang="0">
                <a:pos x="128" y="13"/>
              </a:cxn>
              <a:cxn ang="0">
                <a:pos x="121" y="16"/>
              </a:cxn>
              <a:cxn ang="0">
                <a:pos x="115" y="16"/>
              </a:cxn>
              <a:cxn ang="0">
                <a:pos x="112" y="13"/>
              </a:cxn>
              <a:cxn ang="0">
                <a:pos x="107" y="12"/>
              </a:cxn>
              <a:cxn ang="0">
                <a:pos x="98" y="16"/>
              </a:cxn>
              <a:cxn ang="0">
                <a:pos x="92" y="22"/>
              </a:cxn>
              <a:cxn ang="0">
                <a:pos x="88" y="24"/>
              </a:cxn>
              <a:cxn ang="0">
                <a:pos x="80" y="22"/>
              </a:cxn>
              <a:cxn ang="0">
                <a:pos x="70" y="20"/>
              </a:cxn>
              <a:cxn ang="0">
                <a:pos x="60" y="17"/>
              </a:cxn>
              <a:cxn ang="0">
                <a:pos x="51" y="10"/>
              </a:cxn>
              <a:cxn ang="0">
                <a:pos x="43" y="7"/>
              </a:cxn>
              <a:cxn ang="0">
                <a:pos x="34" y="7"/>
              </a:cxn>
              <a:cxn ang="0">
                <a:pos x="25" y="2"/>
              </a:cxn>
              <a:cxn ang="0">
                <a:pos x="24" y="2"/>
              </a:cxn>
              <a:cxn ang="0">
                <a:pos x="16" y="2"/>
              </a:cxn>
              <a:cxn ang="0">
                <a:pos x="8" y="5"/>
              </a:cxn>
              <a:cxn ang="0">
                <a:pos x="3" y="10"/>
              </a:cxn>
              <a:cxn ang="0">
                <a:pos x="1" y="13"/>
              </a:cxn>
              <a:cxn ang="0">
                <a:pos x="10" y="30"/>
              </a:cxn>
              <a:cxn ang="0">
                <a:pos x="17" y="36"/>
              </a:cxn>
              <a:cxn ang="0">
                <a:pos x="16" y="50"/>
              </a:cxn>
              <a:cxn ang="0">
                <a:pos x="11" y="60"/>
              </a:cxn>
              <a:cxn ang="0">
                <a:pos x="4" y="69"/>
              </a:cxn>
              <a:cxn ang="0">
                <a:pos x="0" y="79"/>
              </a:cxn>
              <a:cxn ang="0">
                <a:pos x="10" y="83"/>
              </a:cxn>
              <a:cxn ang="0">
                <a:pos x="11" y="84"/>
              </a:cxn>
              <a:cxn ang="0">
                <a:pos x="4" y="87"/>
              </a:cxn>
              <a:cxn ang="0">
                <a:pos x="0" y="91"/>
              </a:cxn>
              <a:cxn ang="0">
                <a:pos x="0" y="94"/>
              </a:cxn>
              <a:cxn ang="0">
                <a:pos x="60" y="128"/>
              </a:cxn>
              <a:cxn ang="0">
                <a:pos x="60" y="138"/>
              </a:cxn>
              <a:cxn ang="0">
                <a:pos x="85" y="157"/>
              </a:cxn>
              <a:cxn ang="0">
                <a:pos x="102" y="123"/>
              </a:cxn>
              <a:cxn ang="0">
                <a:pos x="104" y="120"/>
              </a:cxn>
              <a:cxn ang="0">
                <a:pos x="109" y="116"/>
              </a:cxn>
              <a:cxn ang="0">
                <a:pos x="112" y="114"/>
              </a:cxn>
              <a:cxn ang="0">
                <a:pos x="115" y="113"/>
              </a:cxn>
              <a:cxn ang="0">
                <a:pos x="121" y="108"/>
              </a:cxn>
              <a:cxn ang="0">
                <a:pos x="122" y="107"/>
              </a:cxn>
              <a:cxn ang="0">
                <a:pos x="114" y="36"/>
              </a:cxn>
            </a:cxnLst>
            <a:rect l="0" t="0" r="r" b="b"/>
            <a:pathLst>
              <a:path w="128" h="157">
                <a:moveTo>
                  <a:pt x="114" y="36"/>
                </a:moveTo>
                <a:lnTo>
                  <a:pt x="121" y="24"/>
                </a:lnTo>
                <a:lnTo>
                  <a:pt x="128" y="13"/>
                </a:lnTo>
                <a:lnTo>
                  <a:pt x="128" y="13"/>
                </a:lnTo>
                <a:lnTo>
                  <a:pt x="121" y="16"/>
                </a:lnTo>
                <a:lnTo>
                  <a:pt x="121" y="16"/>
                </a:lnTo>
                <a:lnTo>
                  <a:pt x="118" y="16"/>
                </a:lnTo>
                <a:lnTo>
                  <a:pt x="115" y="16"/>
                </a:lnTo>
                <a:lnTo>
                  <a:pt x="112" y="13"/>
                </a:lnTo>
                <a:lnTo>
                  <a:pt x="112" y="13"/>
                </a:lnTo>
                <a:lnTo>
                  <a:pt x="111" y="12"/>
                </a:lnTo>
                <a:lnTo>
                  <a:pt x="107" y="12"/>
                </a:lnTo>
                <a:lnTo>
                  <a:pt x="98" y="16"/>
                </a:lnTo>
                <a:lnTo>
                  <a:pt x="98" y="16"/>
                </a:lnTo>
                <a:lnTo>
                  <a:pt x="95" y="19"/>
                </a:lnTo>
                <a:lnTo>
                  <a:pt x="92" y="22"/>
                </a:lnTo>
                <a:lnTo>
                  <a:pt x="90" y="23"/>
                </a:lnTo>
                <a:lnTo>
                  <a:pt x="88" y="24"/>
                </a:lnTo>
                <a:lnTo>
                  <a:pt x="88" y="24"/>
                </a:lnTo>
                <a:lnTo>
                  <a:pt x="80" y="22"/>
                </a:lnTo>
                <a:lnTo>
                  <a:pt x="70" y="20"/>
                </a:lnTo>
                <a:lnTo>
                  <a:pt x="70" y="20"/>
                </a:lnTo>
                <a:lnTo>
                  <a:pt x="65" y="20"/>
                </a:lnTo>
                <a:lnTo>
                  <a:pt x="60" y="17"/>
                </a:lnTo>
                <a:lnTo>
                  <a:pt x="51" y="10"/>
                </a:lnTo>
                <a:lnTo>
                  <a:pt x="51" y="10"/>
                </a:lnTo>
                <a:lnTo>
                  <a:pt x="47" y="9"/>
                </a:lnTo>
                <a:lnTo>
                  <a:pt x="43" y="7"/>
                </a:lnTo>
                <a:lnTo>
                  <a:pt x="34" y="7"/>
                </a:lnTo>
                <a:lnTo>
                  <a:pt x="34" y="7"/>
                </a:lnTo>
                <a:lnTo>
                  <a:pt x="30" y="5"/>
                </a:lnTo>
                <a:lnTo>
                  <a:pt x="25" y="2"/>
                </a:lnTo>
                <a:lnTo>
                  <a:pt x="25" y="2"/>
                </a:lnTo>
                <a:lnTo>
                  <a:pt x="24" y="2"/>
                </a:lnTo>
                <a:lnTo>
                  <a:pt x="21" y="0"/>
                </a:lnTo>
                <a:lnTo>
                  <a:pt x="16" y="2"/>
                </a:lnTo>
                <a:lnTo>
                  <a:pt x="16" y="2"/>
                </a:lnTo>
                <a:lnTo>
                  <a:pt x="8" y="5"/>
                </a:lnTo>
                <a:lnTo>
                  <a:pt x="4" y="7"/>
                </a:lnTo>
                <a:lnTo>
                  <a:pt x="3" y="10"/>
                </a:lnTo>
                <a:lnTo>
                  <a:pt x="3" y="10"/>
                </a:lnTo>
                <a:lnTo>
                  <a:pt x="1" y="13"/>
                </a:lnTo>
                <a:lnTo>
                  <a:pt x="8" y="19"/>
                </a:lnTo>
                <a:lnTo>
                  <a:pt x="10" y="30"/>
                </a:lnTo>
                <a:lnTo>
                  <a:pt x="17" y="36"/>
                </a:lnTo>
                <a:lnTo>
                  <a:pt x="17" y="36"/>
                </a:lnTo>
                <a:lnTo>
                  <a:pt x="16" y="50"/>
                </a:lnTo>
                <a:lnTo>
                  <a:pt x="16" y="50"/>
                </a:lnTo>
                <a:lnTo>
                  <a:pt x="14" y="54"/>
                </a:lnTo>
                <a:lnTo>
                  <a:pt x="11" y="60"/>
                </a:lnTo>
                <a:lnTo>
                  <a:pt x="4" y="69"/>
                </a:lnTo>
                <a:lnTo>
                  <a:pt x="4" y="69"/>
                </a:lnTo>
                <a:lnTo>
                  <a:pt x="0" y="79"/>
                </a:lnTo>
                <a:lnTo>
                  <a:pt x="0" y="79"/>
                </a:lnTo>
                <a:lnTo>
                  <a:pt x="8" y="81"/>
                </a:lnTo>
                <a:lnTo>
                  <a:pt x="10" y="83"/>
                </a:lnTo>
                <a:lnTo>
                  <a:pt x="11" y="84"/>
                </a:lnTo>
                <a:lnTo>
                  <a:pt x="11" y="84"/>
                </a:lnTo>
                <a:lnTo>
                  <a:pt x="8" y="86"/>
                </a:lnTo>
                <a:lnTo>
                  <a:pt x="4" y="87"/>
                </a:lnTo>
                <a:lnTo>
                  <a:pt x="1" y="90"/>
                </a:lnTo>
                <a:lnTo>
                  <a:pt x="0" y="91"/>
                </a:lnTo>
                <a:lnTo>
                  <a:pt x="0" y="94"/>
                </a:lnTo>
                <a:lnTo>
                  <a:pt x="0" y="94"/>
                </a:lnTo>
                <a:lnTo>
                  <a:pt x="0" y="96"/>
                </a:lnTo>
                <a:lnTo>
                  <a:pt x="60" y="128"/>
                </a:lnTo>
                <a:lnTo>
                  <a:pt x="60" y="138"/>
                </a:lnTo>
                <a:lnTo>
                  <a:pt x="60" y="138"/>
                </a:lnTo>
                <a:lnTo>
                  <a:pt x="85" y="157"/>
                </a:lnTo>
                <a:lnTo>
                  <a:pt x="85" y="157"/>
                </a:lnTo>
                <a:lnTo>
                  <a:pt x="95" y="135"/>
                </a:lnTo>
                <a:lnTo>
                  <a:pt x="102" y="123"/>
                </a:lnTo>
                <a:lnTo>
                  <a:pt x="102" y="123"/>
                </a:lnTo>
                <a:lnTo>
                  <a:pt x="104" y="120"/>
                </a:lnTo>
                <a:lnTo>
                  <a:pt x="107" y="117"/>
                </a:lnTo>
                <a:lnTo>
                  <a:pt x="109" y="116"/>
                </a:lnTo>
                <a:lnTo>
                  <a:pt x="112" y="114"/>
                </a:lnTo>
                <a:lnTo>
                  <a:pt x="112" y="114"/>
                </a:lnTo>
                <a:lnTo>
                  <a:pt x="114" y="113"/>
                </a:lnTo>
                <a:lnTo>
                  <a:pt x="115" y="113"/>
                </a:lnTo>
                <a:lnTo>
                  <a:pt x="118" y="111"/>
                </a:lnTo>
                <a:lnTo>
                  <a:pt x="121" y="108"/>
                </a:lnTo>
                <a:lnTo>
                  <a:pt x="121" y="108"/>
                </a:lnTo>
                <a:lnTo>
                  <a:pt x="122" y="107"/>
                </a:lnTo>
                <a:lnTo>
                  <a:pt x="114" y="94"/>
                </a:lnTo>
                <a:lnTo>
                  <a:pt x="114" y="36"/>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37" name="Freeform 325">
            <a:extLst>
              <a:ext uri="{FF2B5EF4-FFF2-40B4-BE49-F238E27FC236}">
                <a16:creationId xmlns:a16="http://schemas.microsoft.com/office/drawing/2014/main" id="{AF4CA3DB-4CF5-6459-D430-45F9634C0702}"/>
              </a:ext>
            </a:extLst>
          </p:cNvPr>
          <p:cNvSpPr>
            <a:spLocks/>
          </p:cNvSpPr>
          <p:nvPr userDrawn="1"/>
        </p:nvSpPr>
        <p:spPr bwMode="gray">
          <a:xfrm>
            <a:off x="4954349" y="3258815"/>
            <a:ext cx="114444" cy="117046"/>
          </a:xfrm>
          <a:custGeom>
            <a:avLst/>
            <a:gdLst/>
            <a:ahLst/>
            <a:cxnLst>
              <a:cxn ang="0">
                <a:pos x="79" y="6"/>
              </a:cxn>
              <a:cxn ang="0">
                <a:pos x="72" y="0"/>
              </a:cxn>
              <a:cxn ang="0">
                <a:pos x="67" y="4"/>
              </a:cxn>
              <a:cxn ang="0">
                <a:pos x="65" y="6"/>
              </a:cxn>
              <a:cxn ang="0">
                <a:pos x="57" y="6"/>
              </a:cxn>
              <a:cxn ang="0">
                <a:pos x="54" y="4"/>
              </a:cxn>
              <a:cxn ang="0">
                <a:pos x="45" y="9"/>
              </a:cxn>
              <a:cxn ang="0">
                <a:pos x="42" y="10"/>
              </a:cxn>
              <a:cxn ang="0">
                <a:pos x="38" y="6"/>
              </a:cxn>
              <a:cxn ang="0">
                <a:pos x="35" y="6"/>
              </a:cxn>
              <a:cxn ang="0">
                <a:pos x="23" y="9"/>
              </a:cxn>
              <a:cxn ang="0">
                <a:pos x="21" y="23"/>
              </a:cxn>
              <a:cxn ang="0">
                <a:pos x="23" y="26"/>
              </a:cxn>
              <a:cxn ang="0">
                <a:pos x="25" y="29"/>
              </a:cxn>
              <a:cxn ang="0">
                <a:pos x="27" y="31"/>
              </a:cxn>
              <a:cxn ang="0">
                <a:pos x="24" y="36"/>
              </a:cxn>
              <a:cxn ang="0">
                <a:pos x="23" y="39"/>
              </a:cxn>
              <a:cxn ang="0">
                <a:pos x="15" y="44"/>
              </a:cxn>
              <a:cxn ang="0">
                <a:pos x="13" y="46"/>
              </a:cxn>
              <a:cxn ang="0">
                <a:pos x="11" y="50"/>
              </a:cxn>
              <a:cxn ang="0">
                <a:pos x="10" y="53"/>
              </a:cxn>
              <a:cxn ang="0">
                <a:pos x="7" y="57"/>
              </a:cxn>
              <a:cxn ang="0">
                <a:pos x="5" y="64"/>
              </a:cxn>
              <a:cxn ang="0">
                <a:pos x="3" y="78"/>
              </a:cxn>
              <a:cxn ang="0">
                <a:pos x="1" y="84"/>
              </a:cxn>
              <a:cxn ang="0">
                <a:pos x="0" y="90"/>
              </a:cxn>
              <a:cxn ang="0">
                <a:pos x="8" y="88"/>
              </a:cxn>
              <a:cxn ang="0">
                <a:pos x="17" y="85"/>
              </a:cxn>
              <a:cxn ang="0">
                <a:pos x="38" y="83"/>
              </a:cxn>
              <a:cxn ang="0">
                <a:pos x="42" y="71"/>
              </a:cxn>
              <a:cxn ang="0">
                <a:pos x="50" y="64"/>
              </a:cxn>
              <a:cxn ang="0">
                <a:pos x="55" y="64"/>
              </a:cxn>
              <a:cxn ang="0">
                <a:pos x="71" y="66"/>
              </a:cxn>
              <a:cxn ang="0">
                <a:pos x="75" y="56"/>
              </a:cxn>
              <a:cxn ang="0">
                <a:pos x="82" y="47"/>
              </a:cxn>
              <a:cxn ang="0">
                <a:pos x="87" y="37"/>
              </a:cxn>
              <a:cxn ang="0">
                <a:pos x="88" y="23"/>
              </a:cxn>
            </a:cxnLst>
            <a:rect l="0" t="0" r="r" b="b"/>
            <a:pathLst>
              <a:path w="88" h="90">
                <a:moveTo>
                  <a:pt x="81" y="17"/>
                </a:moveTo>
                <a:lnTo>
                  <a:pt x="79" y="6"/>
                </a:lnTo>
                <a:lnTo>
                  <a:pt x="72" y="0"/>
                </a:lnTo>
                <a:lnTo>
                  <a:pt x="72" y="0"/>
                </a:lnTo>
                <a:lnTo>
                  <a:pt x="68" y="2"/>
                </a:lnTo>
                <a:lnTo>
                  <a:pt x="67" y="4"/>
                </a:lnTo>
                <a:lnTo>
                  <a:pt x="67" y="4"/>
                </a:lnTo>
                <a:lnTo>
                  <a:pt x="65" y="6"/>
                </a:lnTo>
                <a:lnTo>
                  <a:pt x="62" y="6"/>
                </a:lnTo>
                <a:lnTo>
                  <a:pt x="57" y="6"/>
                </a:lnTo>
                <a:lnTo>
                  <a:pt x="57" y="6"/>
                </a:lnTo>
                <a:lnTo>
                  <a:pt x="54" y="4"/>
                </a:lnTo>
                <a:lnTo>
                  <a:pt x="50" y="6"/>
                </a:lnTo>
                <a:lnTo>
                  <a:pt x="45" y="9"/>
                </a:lnTo>
                <a:lnTo>
                  <a:pt x="45" y="9"/>
                </a:lnTo>
                <a:lnTo>
                  <a:pt x="42" y="10"/>
                </a:lnTo>
                <a:lnTo>
                  <a:pt x="41" y="9"/>
                </a:lnTo>
                <a:lnTo>
                  <a:pt x="38" y="6"/>
                </a:lnTo>
                <a:lnTo>
                  <a:pt x="35" y="6"/>
                </a:lnTo>
                <a:lnTo>
                  <a:pt x="35" y="6"/>
                </a:lnTo>
                <a:lnTo>
                  <a:pt x="27" y="7"/>
                </a:lnTo>
                <a:lnTo>
                  <a:pt x="23" y="9"/>
                </a:lnTo>
                <a:lnTo>
                  <a:pt x="23" y="9"/>
                </a:lnTo>
                <a:lnTo>
                  <a:pt x="21" y="23"/>
                </a:lnTo>
                <a:lnTo>
                  <a:pt x="21" y="23"/>
                </a:lnTo>
                <a:lnTo>
                  <a:pt x="23" y="26"/>
                </a:lnTo>
                <a:lnTo>
                  <a:pt x="24" y="27"/>
                </a:lnTo>
                <a:lnTo>
                  <a:pt x="25" y="29"/>
                </a:lnTo>
                <a:lnTo>
                  <a:pt x="27" y="31"/>
                </a:lnTo>
                <a:lnTo>
                  <a:pt x="27" y="31"/>
                </a:lnTo>
                <a:lnTo>
                  <a:pt x="25" y="33"/>
                </a:lnTo>
                <a:lnTo>
                  <a:pt x="24" y="36"/>
                </a:lnTo>
                <a:lnTo>
                  <a:pt x="23" y="39"/>
                </a:lnTo>
                <a:lnTo>
                  <a:pt x="23" y="39"/>
                </a:lnTo>
                <a:lnTo>
                  <a:pt x="20" y="41"/>
                </a:lnTo>
                <a:lnTo>
                  <a:pt x="15" y="44"/>
                </a:lnTo>
                <a:lnTo>
                  <a:pt x="15" y="44"/>
                </a:lnTo>
                <a:lnTo>
                  <a:pt x="13" y="46"/>
                </a:lnTo>
                <a:lnTo>
                  <a:pt x="13" y="48"/>
                </a:lnTo>
                <a:lnTo>
                  <a:pt x="11" y="50"/>
                </a:lnTo>
                <a:lnTo>
                  <a:pt x="10" y="53"/>
                </a:lnTo>
                <a:lnTo>
                  <a:pt x="10" y="53"/>
                </a:lnTo>
                <a:lnTo>
                  <a:pt x="7" y="54"/>
                </a:lnTo>
                <a:lnTo>
                  <a:pt x="7" y="57"/>
                </a:lnTo>
                <a:lnTo>
                  <a:pt x="5" y="64"/>
                </a:lnTo>
                <a:lnTo>
                  <a:pt x="5" y="64"/>
                </a:lnTo>
                <a:lnTo>
                  <a:pt x="3" y="71"/>
                </a:lnTo>
                <a:lnTo>
                  <a:pt x="3" y="78"/>
                </a:lnTo>
                <a:lnTo>
                  <a:pt x="3" y="78"/>
                </a:lnTo>
                <a:lnTo>
                  <a:pt x="1" y="84"/>
                </a:lnTo>
                <a:lnTo>
                  <a:pt x="0" y="90"/>
                </a:lnTo>
                <a:lnTo>
                  <a:pt x="0" y="90"/>
                </a:lnTo>
                <a:lnTo>
                  <a:pt x="4" y="90"/>
                </a:lnTo>
                <a:lnTo>
                  <a:pt x="8" y="88"/>
                </a:lnTo>
                <a:lnTo>
                  <a:pt x="8" y="88"/>
                </a:lnTo>
                <a:lnTo>
                  <a:pt x="17" y="85"/>
                </a:lnTo>
                <a:lnTo>
                  <a:pt x="24" y="83"/>
                </a:lnTo>
                <a:lnTo>
                  <a:pt x="38" y="83"/>
                </a:lnTo>
                <a:lnTo>
                  <a:pt x="38" y="83"/>
                </a:lnTo>
                <a:lnTo>
                  <a:pt x="42" y="71"/>
                </a:lnTo>
                <a:lnTo>
                  <a:pt x="47" y="67"/>
                </a:lnTo>
                <a:lnTo>
                  <a:pt x="50" y="64"/>
                </a:lnTo>
                <a:lnTo>
                  <a:pt x="50" y="64"/>
                </a:lnTo>
                <a:lnTo>
                  <a:pt x="55" y="64"/>
                </a:lnTo>
                <a:lnTo>
                  <a:pt x="60" y="64"/>
                </a:lnTo>
                <a:lnTo>
                  <a:pt x="71" y="66"/>
                </a:lnTo>
                <a:lnTo>
                  <a:pt x="71" y="66"/>
                </a:lnTo>
                <a:lnTo>
                  <a:pt x="75" y="56"/>
                </a:lnTo>
                <a:lnTo>
                  <a:pt x="75" y="56"/>
                </a:lnTo>
                <a:lnTo>
                  <a:pt x="82" y="47"/>
                </a:lnTo>
                <a:lnTo>
                  <a:pt x="85" y="41"/>
                </a:lnTo>
                <a:lnTo>
                  <a:pt x="87" y="37"/>
                </a:lnTo>
                <a:lnTo>
                  <a:pt x="87" y="37"/>
                </a:lnTo>
                <a:lnTo>
                  <a:pt x="88" y="23"/>
                </a:lnTo>
                <a:lnTo>
                  <a:pt x="81" y="17"/>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38" name="Freeform 326">
            <a:extLst>
              <a:ext uri="{FF2B5EF4-FFF2-40B4-BE49-F238E27FC236}">
                <a16:creationId xmlns:a16="http://schemas.microsoft.com/office/drawing/2014/main" id="{6ADDFD84-7A14-2DD1-1ABA-79C75C68DE01}"/>
              </a:ext>
            </a:extLst>
          </p:cNvPr>
          <p:cNvSpPr>
            <a:spLocks/>
          </p:cNvSpPr>
          <p:nvPr userDrawn="1"/>
        </p:nvSpPr>
        <p:spPr bwMode="gray">
          <a:xfrm>
            <a:off x="5516169" y="2317247"/>
            <a:ext cx="362842" cy="215884"/>
          </a:xfrm>
          <a:custGeom>
            <a:avLst/>
            <a:gdLst/>
            <a:ahLst/>
            <a:cxnLst>
              <a:cxn ang="0">
                <a:pos x="262" y="84"/>
              </a:cxn>
              <a:cxn ang="0">
                <a:pos x="253" y="83"/>
              </a:cxn>
              <a:cxn ang="0">
                <a:pos x="241" y="84"/>
              </a:cxn>
              <a:cxn ang="0">
                <a:pos x="232" y="78"/>
              </a:cxn>
              <a:cxn ang="0">
                <a:pos x="214" y="85"/>
              </a:cxn>
              <a:cxn ang="0">
                <a:pos x="208" y="95"/>
              </a:cxn>
              <a:cxn ang="0">
                <a:pos x="202" y="94"/>
              </a:cxn>
              <a:cxn ang="0">
                <a:pos x="188" y="87"/>
              </a:cxn>
              <a:cxn ang="0">
                <a:pos x="175" y="83"/>
              </a:cxn>
              <a:cxn ang="0">
                <a:pos x="167" y="70"/>
              </a:cxn>
              <a:cxn ang="0">
                <a:pos x="165" y="53"/>
              </a:cxn>
              <a:cxn ang="0">
                <a:pos x="155" y="46"/>
              </a:cxn>
              <a:cxn ang="0">
                <a:pos x="133" y="41"/>
              </a:cxn>
              <a:cxn ang="0">
                <a:pos x="105" y="41"/>
              </a:cxn>
              <a:cxn ang="0">
                <a:pos x="96" y="41"/>
              </a:cxn>
              <a:cxn ang="0">
                <a:pos x="76" y="24"/>
              </a:cxn>
              <a:cxn ang="0">
                <a:pos x="57" y="33"/>
              </a:cxn>
              <a:cxn ang="0">
                <a:pos x="53" y="24"/>
              </a:cxn>
              <a:cxn ang="0">
                <a:pos x="54" y="4"/>
              </a:cxn>
              <a:cxn ang="0">
                <a:pos x="50" y="3"/>
              </a:cxn>
              <a:cxn ang="0">
                <a:pos x="46" y="24"/>
              </a:cxn>
              <a:cxn ang="0">
                <a:pos x="41" y="23"/>
              </a:cxn>
              <a:cxn ang="0">
                <a:pos x="2" y="11"/>
              </a:cxn>
              <a:cxn ang="0">
                <a:pos x="0" y="83"/>
              </a:cxn>
              <a:cxn ang="0">
                <a:pos x="14" y="84"/>
              </a:cxn>
              <a:cxn ang="0">
                <a:pos x="17" y="74"/>
              </a:cxn>
              <a:cxn ang="0">
                <a:pos x="29" y="68"/>
              </a:cxn>
              <a:cxn ang="0">
                <a:pos x="34" y="63"/>
              </a:cxn>
              <a:cxn ang="0">
                <a:pos x="40" y="60"/>
              </a:cxn>
              <a:cxn ang="0">
                <a:pos x="51" y="63"/>
              </a:cxn>
              <a:cxn ang="0">
                <a:pos x="66" y="67"/>
              </a:cxn>
              <a:cxn ang="0">
                <a:pos x="70" y="84"/>
              </a:cxn>
              <a:cxn ang="0">
                <a:pos x="94" y="87"/>
              </a:cxn>
              <a:cxn ang="0">
                <a:pos x="100" y="97"/>
              </a:cxn>
              <a:cxn ang="0">
                <a:pos x="107" y="110"/>
              </a:cxn>
              <a:cxn ang="0">
                <a:pos x="124" y="122"/>
              </a:cxn>
              <a:cxn ang="0">
                <a:pos x="142" y="132"/>
              </a:cxn>
              <a:cxn ang="0">
                <a:pos x="155" y="142"/>
              </a:cxn>
              <a:cxn ang="0">
                <a:pos x="167" y="145"/>
              </a:cxn>
              <a:cxn ang="0">
                <a:pos x="175" y="158"/>
              </a:cxn>
              <a:cxn ang="0">
                <a:pos x="185" y="162"/>
              </a:cxn>
              <a:cxn ang="0">
                <a:pos x="195" y="166"/>
              </a:cxn>
              <a:cxn ang="0">
                <a:pos x="199" y="152"/>
              </a:cxn>
              <a:cxn ang="0">
                <a:pos x="202" y="147"/>
              </a:cxn>
              <a:cxn ang="0">
                <a:pos x="199" y="135"/>
              </a:cxn>
              <a:cxn ang="0">
                <a:pos x="191" y="125"/>
              </a:cxn>
              <a:cxn ang="0">
                <a:pos x="192" y="121"/>
              </a:cxn>
              <a:cxn ang="0">
                <a:pos x="206" y="115"/>
              </a:cxn>
              <a:cxn ang="0">
                <a:pos x="211" y="108"/>
              </a:cxn>
              <a:cxn ang="0">
                <a:pos x="218" y="100"/>
              </a:cxn>
              <a:cxn ang="0">
                <a:pos x="231" y="97"/>
              </a:cxn>
              <a:cxn ang="0">
                <a:pos x="241" y="94"/>
              </a:cxn>
              <a:cxn ang="0">
                <a:pos x="235" y="107"/>
              </a:cxn>
              <a:cxn ang="0">
                <a:pos x="253" y="104"/>
              </a:cxn>
              <a:cxn ang="0">
                <a:pos x="266" y="104"/>
              </a:cxn>
              <a:cxn ang="0">
                <a:pos x="271" y="100"/>
              </a:cxn>
              <a:cxn ang="0">
                <a:pos x="276" y="94"/>
              </a:cxn>
            </a:cxnLst>
            <a:rect l="0" t="0" r="r" b="b"/>
            <a:pathLst>
              <a:path w="279" h="166">
                <a:moveTo>
                  <a:pt x="276" y="94"/>
                </a:moveTo>
                <a:lnTo>
                  <a:pt x="276" y="94"/>
                </a:lnTo>
                <a:lnTo>
                  <a:pt x="269" y="88"/>
                </a:lnTo>
                <a:lnTo>
                  <a:pt x="262" y="84"/>
                </a:lnTo>
                <a:lnTo>
                  <a:pt x="256" y="83"/>
                </a:lnTo>
                <a:lnTo>
                  <a:pt x="255" y="83"/>
                </a:lnTo>
                <a:lnTo>
                  <a:pt x="253" y="83"/>
                </a:lnTo>
                <a:lnTo>
                  <a:pt x="253" y="83"/>
                </a:lnTo>
                <a:lnTo>
                  <a:pt x="252" y="85"/>
                </a:lnTo>
                <a:lnTo>
                  <a:pt x="248" y="87"/>
                </a:lnTo>
                <a:lnTo>
                  <a:pt x="243" y="85"/>
                </a:lnTo>
                <a:lnTo>
                  <a:pt x="241" y="84"/>
                </a:lnTo>
                <a:lnTo>
                  <a:pt x="241" y="84"/>
                </a:lnTo>
                <a:lnTo>
                  <a:pt x="239" y="81"/>
                </a:lnTo>
                <a:lnTo>
                  <a:pt x="236" y="78"/>
                </a:lnTo>
                <a:lnTo>
                  <a:pt x="232" y="78"/>
                </a:lnTo>
                <a:lnTo>
                  <a:pt x="226" y="80"/>
                </a:lnTo>
                <a:lnTo>
                  <a:pt x="226" y="80"/>
                </a:lnTo>
                <a:lnTo>
                  <a:pt x="219" y="83"/>
                </a:lnTo>
                <a:lnTo>
                  <a:pt x="214" y="85"/>
                </a:lnTo>
                <a:lnTo>
                  <a:pt x="211" y="90"/>
                </a:lnTo>
                <a:lnTo>
                  <a:pt x="209" y="92"/>
                </a:lnTo>
                <a:lnTo>
                  <a:pt x="209" y="92"/>
                </a:lnTo>
                <a:lnTo>
                  <a:pt x="208" y="95"/>
                </a:lnTo>
                <a:lnTo>
                  <a:pt x="205" y="97"/>
                </a:lnTo>
                <a:lnTo>
                  <a:pt x="204" y="97"/>
                </a:lnTo>
                <a:lnTo>
                  <a:pt x="202" y="94"/>
                </a:lnTo>
                <a:lnTo>
                  <a:pt x="202" y="94"/>
                </a:lnTo>
                <a:lnTo>
                  <a:pt x="201" y="91"/>
                </a:lnTo>
                <a:lnTo>
                  <a:pt x="197" y="90"/>
                </a:lnTo>
                <a:lnTo>
                  <a:pt x="188" y="87"/>
                </a:lnTo>
                <a:lnTo>
                  <a:pt x="188" y="87"/>
                </a:lnTo>
                <a:lnTo>
                  <a:pt x="179" y="85"/>
                </a:lnTo>
                <a:lnTo>
                  <a:pt x="177" y="85"/>
                </a:lnTo>
                <a:lnTo>
                  <a:pt x="175" y="84"/>
                </a:lnTo>
                <a:lnTo>
                  <a:pt x="175" y="83"/>
                </a:lnTo>
                <a:lnTo>
                  <a:pt x="175" y="83"/>
                </a:lnTo>
                <a:lnTo>
                  <a:pt x="172" y="78"/>
                </a:lnTo>
                <a:lnTo>
                  <a:pt x="170" y="74"/>
                </a:lnTo>
                <a:lnTo>
                  <a:pt x="167" y="70"/>
                </a:lnTo>
                <a:lnTo>
                  <a:pt x="165" y="65"/>
                </a:lnTo>
                <a:lnTo>
                  <a:pt x="165" y="65"/>
                </a:lnTo>
                <a:lnTo>
                  <a:pt x="165" y="57"/>
                </a:lnTo>
                <a:lnTo>
                  <a:pt x="165" y="53"/>
                </a:lnTo>
                <a:lnTo>
                  <a:pt x="162" y="51"/>
                </a:lnTo>
                <a:lnTo>
                  <a:pt x="162" y="51"/>
                </a:lnTo>
                <a:lnTo>
                  <a:pt x="158" y="48"/>
                </a:lnTo>
                <a:lnTo>
                  <a:pt x="155" y="46"/>
                </a:lnTo>
                <a:lnTo>
                  <a:pt x="152" y="43"/>
                </a:lnTo>
                <a:lnTo>
                  <a:pt x="150" y="41"/>
                </a:lnTo>
                <a:lnTo>
                  <a:pt x="150" y="41"/>
                </a:lnTo>
                <a:lnTo>
                  <a:pt x="133" y="41"/>
                </a:lnTo>
                <a:lnTo>
                  <a:pt x="117" y="40"/>
                </a:lnTo>
                <a:lnTo>
                  <a:pt x="117" y="40"/>
                </a:lnTo>
                <a:lnTo>
                  <a:pt x="113" y="40"/>
                </a:lnTo>
                <a:lnTo>
                  <a:pt x="105" y="41"/>
                </a:lnTo>
                <a:lnTo>
                  <a:pt x="100" y="43"/>
                </a:lnTo>
                <a:lnTo>
                  <a:pt x="97" y="43"/>
                </a:lnTo>
                <a:lnTo>
                  <a:pt x="96" y="41"/>
                </a:lnTo>
                <a:lnTo>
                  <a:pt x="96" y="41"/>
                </a:lnTo>
                <a:lnTo>
                  <a:pt x="88" y="31"/>
                </a:lnTo>
                <a:lnTo>
                  <a:pt x="77" y="21"/>
                </a:lnTo>
                <a:lnTo>
                  <a:pt x="77" y="21"/>
                </a:lnTo>
                <a:lnTo>
                  <a:pt x="76" y="24"/>
                </a:lnTo>
                <a:lnTo>
                  <a:pt x="73" y="28"/>
                </a:lnTo>
                <a:lnTo>
                  <a:pt x="73" y="28"/>
                </a:lnTo>
                <a:lnTo>
                  <a:pt x="64" y="33"/>
                </a:lnTo>
                <a:lnTo>
                  <a:pt x="57" y="33"/>
                </a:lnTo>
                <a:lnTo>
                  <a:pt x="54" y="33"/>
                </a:lnTo>
                <a:lnTo>
                  <a:pt x="53" y="31"/>
                </a:lnTo>
                <a:lnTo>
                  <a:pt x="53" y="28"/>
                </a:lnTo>
                <a:lnTo>
                  <a:pt x="53" y="24"/>
                </a:lnTo>
                <a:lnTo>
                  <a:pt x="53" y="24"/>
                </a:lnTo>
                <a:lnTo>
                  <a:pt x="56" y="17"/>
                </a:lnTo>
                <a:lnTo>
                  <a:pt x="56" y="9"/>
                </a:lnTo>
                <a:lnTo>
                  <a:pt x="54" y="4"/>
                </a:lnTo>
                <a:lnTo>
                  <a:pt x="53" y="3"/>
                </a:lnTo>
                <a:lnTo>
                  <a:pt x="51" y="1"/>
                </a:lnTo>
                <a:lnTo>
                  <a:pt x="51" y="1"/>
                </a:lnTo>
                <a:lnTo>
                  <a:pt x="50" y="3"/>
                </a:lnTo>
                <a:lnTo>
                  <a:pt x="49" y="6"/>
                </a:lnTo>
                <a:lnTo>
                  <a:pt x="47" y="13"/>
                </a:lnTo>
                <a:lnTo>
                  <a:pt x="47" y="21"/>
                </a:lnTo>
                <a:lnTo>
                  <a:pt x="46" y="24"/>
                </a:lnTo>
                <a:lnTo>
                  <a:pt x="44" y="26"/>
                </a:lnTo>
                <a:lnTo>
                  <a:pt x="44" y="26"/>
                </a:lnTo>
                <a:lnTo>
                  <a:pt x="43" y="24"/>
                </a:lnTo>
                <a:lnTo>
                  <a:pt x="41" y="23"/>
                </a:lnTo>
                <a:lnTo>
                  <a:pt x="40" y="17"/>
                </a:lnTo>
                <a:lnTo>
                  <a:pt x="40" y="9"/>
                </a:lnTo>
                <a:lnTo>
                  <a:pt x="43" y="0"/>
                </a:lnTo>
                <a:lnTo>
                  <a:pt x="2" y="11"/>
                </a:lnTo>
                <a:lnTo>
                  <a:pt x="0" y="83"/>
                </a:lnTo>
                <a:lnTo>
                  <a:pt x="0" y="83"/>
                </a:lnTo>
                <a:lnTo>
                  <a:pt x="0" y="83"/>
                </a:lnTo>
                <a:lnTo>
                  <a:pt x="0" y="83"/>
                </a:lnTo>
                <a:lnTo>
                  <a:pt x="6" y="84"/>
                </a:lnTo>
                <a:lnTo>
                  <a:pt x="12" y="85"/>
                </a:lnTo>
                <a:lnTo>
                  <a:pt x="12" y="85"/>
                </a:lnTo>
                <a:lnTo>
                  <a:pt x="14" y="84"/>
                </a:lnTo>
                <a:lnTo>
                  <a:pt x="16" y="83"/>
                </a:lnTo>
                <a:lnTo>
                  <a:pt x="17" y="77"/>
                </a:lnTo>
                <a:lnTo>
                  <a:pt x="17" y="77"/>
                </a:lnTo>
                <a:lnTo>
                  <a:pt x="17" y="74"/>
                </a:lnTo>
                <a:lnTo>
                  <a:pt x="20" y="71"/>
                </a:lnTo>
                <a:lnTo>
                  <a:pt x="24" y="70"/>
                </a:lnTo>
                <a:lnTo>
                  <a:pt x="29" y="68"/>
                </a:lnTo>
                <a:lnTo>
                  <a:pt x="29" y="68"/>
                </a:lnTo>
                <a:lnTo>
                  <a:pt x="30" y="68"/>
                </a:lnTo>
                <a:lnTo>
                  <a:pt x="32" y="65"/>
                </a:lnTo>
                <a:lnTo>
                  <a:pt x="33" y="64"/>
                </a:lnTo>
                <a:lnTo>
                  <a:pt x="34" y="63"/>
                </a:lnTo>
                <a:lnTo>
                  <a:pt x="34" y="63"/>
                </a:lnTo>
                <a:lnTo>
                  <a:pt x="37" y="61"/>
                </a:lnTo>
                <a:lnTo>
                  <a:pt x="40" y="60"/>
                </a:lnTo>
                <a:lnTo>
                  <a:pt x="40" y="60"/>
                </a:lnTo>
                <a:lnTo>
                  <a:pt x="43" y="58"/>
                </a:lnTo>
                <a:lnTo>
                  <a:pt x="46" y="58"/>
                </a:lnTo>
                <a:lnTo>
                  <a:pt x="51" y="63"/>
                </a:lnTo>
                <a:lnTo>
                  <a:pt x="51" y="63"/>
                </a:lnTo>
                <a:lnTo>
                  <a:pt x="57" y="64"/>
                </a:lnTo>
                <a:lnTo>
                  <a:pt x="64" y="67"/>
                </a:lnTo>
                <a:lnTo>
                  <a:pt x="64" y="67"/>
                </a:lnTo>
                <a:lnTo>
                  <a:pt x="66" y="67"/>
                </a:lnTo>
                <a:lnTo>
                  <a:pt x="67" y="68"/>
                </a:lnTo>
                <a:lnTo>
                  <a:pt x="69" y="74"/>
                </a:lnTo>
                <a:lnTo>
                  <a:pt x="70" y="84"/>
                </a:lnTo>
                <a:lnTo>
                  <a:pt x="70" y="84"/>
                </a:lnTo>
                <a:lnTo>
                  <a:pt x="70" y="84"/>
                </a:lnTo>
                <a:lnTo>
                  <a:pt x="73" y="85"/>
                </a:lnTo>
                <a:lnTo>
                  <a:pt x="80" y="85"/>
                </a:lnTo>
                <a:lnTo>
                  <a:pt x="94" y="87"/>
                </a:lnTo>
                <a:lnTo>
                  <a:pt x="94" y="87"/>
                </a:lnTo>
                <a:lnTo>
                  <a:pt x="96" y="87"/>
                </a:lnTo>
                <a:lnTo>
                  <a:pt x="97" y="90"/>
                </a:lnTo>
                <a:lnTo>
                  <a:pt x="100" y="97"/>
                </a:lnTo>
                <a:lnTo>
                  <a:pt x="100" y="97"/>
                </a:lnTo>
                <a:lnTo>
                  <a:pt x="104" y="104"/>
                </a:lnTo>
                <a:lnTo>
                  <a:pt x="107" y="110"/>
                </a:lnTo>
                <a:lnTo>
                  <a:pt x="107" y="110"/>
                </a:lnTo>
                <a:lnTo>
                  <a:pt x="110" y="112"/>
                </a:lnTo>
                <a:lnTo>
                  <a:pt x="114" y="115"/>
                </a:lnTo>
                <a:lnTo>
                  <a:pt x="120" y="118"/>
                </a:lnTo>
                <a:lnTo>
                  <a:pt x="124" y="122"/>
                </a:lnTo>
                <a:lnTo>
                  <a:pt x="124" y="122"/>
                </a:lnTo>
                <a:lnTo>
                  <a:pt x="127" y="125"/>
                </a:lnTo>
                <a:lnTo>
                  <a:pt x="131" y="128"/>
                </a:lnTo>
                <a:lnTo>
                  <a:pt x="142" y="132"/>
                </a:lnTo>
                <a:lnTo>
                  <a:pt x="142" y="132"/>
                </a:lnTo>
                <a:lnTo>
                  <a:pt x="147" y="135"/>
                </a:lnTo>
                <a:lnTo>
                  <a:pt x="151" y="139"/>
                </a:lnTo>
                <a:lnTo>
                  <a:pt x="155" y="142"/>
                </a:lnTo>
                <a:lnTo>
                  <a:pt x="158" y="144"/>
                </a:lnTo>
                <a:lnTo>
                  <a:pt x="158" y="144"/>
                </a:lnTo>
                <a:lnTo>
                  <a:pt x="162" y="144"/>
                </a:lnTo>
                <a:lnTo>
                  <a:pt x="167" y="145"/>
                </a:lnTo>
                <a:lnTo>
                  <a:pt x="172" y="148"/>
                </a:lnTo>
                <a:lnTo>
                  <a:pt x="174" y="159"/>
                </a:lnTo>
                <a:lnTo>
                  <a:pt x="174" y="159"/>
                </a:lnTo>
                <a:lnTo>
                  <a:pt x="175" y="158"/>
                </a:lnTo>
                <a:lnTo>
                  <a:pt x="175" y="158"/>
                </a:lnTo>
                <a:lnTo>
                  <a:pt x="179" y="158"/>
                </a:lnTo>
                <a:lnTo>
                  <a:pt x="182" y="161"/>
                </a:lnTo>
                <a:lnTo>
                  <a:pt x="185" y="162"/>
                </a:lnTo>
                <a:lnTo>
                  <a:pt x="188" y="164"/>
                </a:lnTo>
                <a:lnTo>
                  <a:pt x="188" y="164"/>
                </a:lnTo>
                <a:lnTo>
                  <a:pt x="192" y="164"/>
                </a:lnTo>
                <a:lnTo>
                  <a:pt x="195" y="166"/>
                </a:lnTo>
                <a:lnTo>
                  <a:pt x="195" y="166"/>
                </a:lnTo>
                <a:lnTo>
                  <a:pt x="195" y="159"/>
                </a:lnTo>
                <a:lnTo>
                  <a:pt x="197" y="155"/>
                </a:lnTo>
                <a:lnTo>
                  <a:pt x="199" y="152"/>
                </a:lnTo>
                <a:lnTo>
                  <a:pt x="202" y="149"/>
                </a:lnTo>
                <a:lnTo>
                  <a:pt x="202" y="149"/>
                </a:lnTo>
                <a:lnTo>
                  <a:pt x="202" y="148"/>
                </a:lnTo>
                <a:lnTo>
                  <a:pt x="202" y="147"/>
                </a:lnTo>
                <a:lnTo>
                  <a:pt x="202" y="142"/>
                </a:lnTo>
                <a:lnTo>
                  <a:pt x="201" y="139"/>
                </a:lnTo>
                <a:lnTo>
                  <a:pt x="199" y="135"/>
                </a:lnTo>
                <a:lnTo>
                  <a:pt x="199" y="135"/>
                </a:lnTo>
                <a:lnTo>
                  <a:pt x="199" y="134"/>
                </a:lnTo>
                <a:lnTo>
                  <a:pt x="198" y="131"/>
                </a:lnTo>
                <a:lnTo>
                  <a:pt x="195" y="128"/>
                </a:lnTo>
                <a:lnTo>
                  <a:pt x="191" y="125"/>
                </a:lnTo>
                <a:lnTo>
                  <a:pt x="189" y="124"/>
                </a:lnTo>
                <a:lnTo>
                  <a:pt x="189" y="122"/>
                </a:lnTo>
                <a:lnTo>
                  <a:pt x="189" y="122"/>
                </a:lnTo>
                <a:lnTo>
                  <a:pt x="192" y="121"/>
                </a:lnTo>
                <a:lnTo>
                  <a:pt x="197" y="120"/>
                </a:lnTo>
                <a:lnTo>
                  <a:pt x="205" y="117"/>
                </a:lnTo>
                <a:lnTo>
                  <a:pt x="205" y="117"/>
                </a:lnTo>
                <a:lnTo>
                  <a:pt x="206" y="115"/>
                </a:lnTo>
                <a:lnTo>
                  <a:pt x="208" y="112"/>
                </a:lnTo>
                <a:lnTo>
                  <a:pt x="208" y="110"/>
                </a:lnTo>
                <a:lnTo>
                  <a:pt x="211" y="108"/>
                </a:lnTo>
                <a:lnTo>
                  <a:pt x="211" y="108"/>
                </a:lnTo>
                <a:lnTo>
                  <a:pt x="212" y="107"/>
                </a:lnTo>
                <a:lnTo>
                  <a:pt x="215" y="105"/>
                </a:lnTo>
                <a:lnTo>
                  <a:pt x="218" y="100"/>
                </a:lnTo>
                <a:lnTo>
                  <a:pt x="218" y="100"/>
                </a:lnTo>
                <a:lnTo>
                  <a:pt x="219" y="98"/>
                </a:lnTo>
                <a:lnTo>
                  <a:pt x="224" y="98"/>
                </a:lnTo>
                <a:lnTo>
                  <a:pt x="226" y="98"/>
                </a:lnTo>
                <a:lnTo>
                  <a:pt x="231" y="97"/>
                </a:lnTo>
                <a:lnTo>
                  <a:pt x="231" y="97"/>
                </a:lnTo>
                <a:lnTo>
                  <a:pt x="236" y="94"/>
                </a:lnTo>
                <a:lnTo>
                  <a:pt x="239" y="94"/>
                </a:lnTo>
                <a:lnTo>
                  <a:pt x="241" y="94"/>
                </a:lnTo>
                <a:lnTo>
                  <a:pt x="241" y="94"/>
                </a:lnTo>
                <a:lnTo>
                  <a:pt x="241" y="97"/>
                </a:lnTo>
                <a:lnTo>
                  <a:pt x="239" y="100"/>
                </a:lnTo>
                <a:lnTo>
                  <a:pt x="235" y="107"/>
                </a:lnTo>
                <a:lnTo>
                  <a:pt x="235" y="107"/>
                </a:lnTo>
                <a:lnTo>
                  <a:pt x="246" y="107"/>
                </a:lnTo>
                <a:lnTo>
                  <a:pt x="251" y="105"/>
                </a:lnTo>
                <a:lnTo>
                  <a:pt x="253" y="104"/>
                </a:lnTo>
                <a:lnTo>
                  <a:pt x="253" y="104"/>
                </a:lnTo>
                <a:lnTo>
                  <a:pt x="256" y="104"/>
                </a:lnTo>
                <a:lnTo>
                  <a:pt x="261" y="104"/>
                </a:lnTo>
                <a:lnTo>
                  <a:pt x="266" y="104"/>
                </a:lnTo>
                <a:lnTo>
                  <a:pt x="268" y="104"/>
                </a:lnTo>
                <a:lnTo>
                  <a:pt x="269" y="101"/>
                </a:lnTo>
                <a:lnTo>
                  <a:pt x="269" y="101"/>
                </a:lnTo>
                <a:lnTo>
                  <a:pt x="271" y="100"/>
                </a:lnTo>
                <a:lnTo>
                  <a:pt x="272" y="98"/>
                </a:lnTo>
                <a:lnTo>
                  <a:pt x="276" y="98"/>
                </a:lnTo>
                <a:lnTo>
                  <a:pt x="279" y="97"/>
                </a:lnTo>
                <a:lnTo>
                  <a:pt x="276" y="94"/>
                </a:lnTo>
                <a:lnTo>
                  <a:pt x="276" y="9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39" name="Freeform 327">
            <a:extLst>
              <a:ext uri="{FF2B5EF4-FFF2-40B4-BE49-F238E27FC236}">
                <a16:creationId xmlns:a16="http://schemas.microsoft.com/office/drawing/2014/main" id="{FF5F6771-7565-D13D-6C7E-7778D3730908}"/>
              </a:ext>
            </a:extLst>
          </p:cNvPr>
          <p:cNvSpPr>
            <a:spLocks/>
          </p:cNvSpPr>
          <p:nvPr userDrawn="1"/>
        </p:nvSpPr>
        <p:spPr bwMode="gray">
          <a:xfrm>
            <a:off x="4460155" y="1516134"/>
            <a:ext cx="535810" cy="446075"/>
          </a:xfrm>
          <a:custGeom>
            <a:avLst/>
            <a:gdLst/>
            <a:ahLst/>
            <a:cxnLst>
              <a:cxn ang="0">
                <a:pos x="383" y="30"/>
              </a:cxn>
              <a:cxn ang="0">
                <a:pos x="411" y="21"/>
              </a:cxn>
              <a:cxn ang="0">
                <a:pos x="375" y="9"/>
              </a:cxn>
              <a:cxn ang="0">
                <a:pos x="368" y="9"/>
              </a:cxn>
              <a:cxn ang="0">
                <a:pos x="346" y="20"/>
              </a:cxn>
              <a:cxn ang="0">
                <a:pos x="320" y="27"/>
              </a:cxn>
              <a:cxn ang="0">
                <a:pos x="333" y="4"/>
              </a:cxn>
              <a:cxn ang="0">
                <a:pos x="309" y="6"/>
              </a:cxn>
              <a:cxn ang="0">
                <a:pos x="293" y="14"/>
              </a:cxn>
              <a:cxn ang="0">
                <a:pos x="284" y="33"/>
              </a:cxn>
              <a:cxn ang="0">
                <a:pos x="289" y="13"/>
              </a:cxn>
              <a:cxn ang="0">
                <a:pos x="269" y="13"/>
              </a:cxn>
              <a:cxn ang="0">
                <a:pos x="257" y="26"/>
              </a:cxn>
              <a:cxn ang="0">
                <a:pos x="253" y="33"/>
              </a:cxn>
              <a:cxn ang="0">
                <a:pos x="249" y="41"/>
              </a:cxn>
              <a:cxn ang="0">
                <a:pos x="232" y="36"/>
              </a:cxn>
              <a:cxn ang="0">
                <a:pos x="219" y="38"/>
              </a:cxn>
              <a:cxn ang="0">
                <a:pos x="203" y="44"/>
              </a:cxn>
              <a:cxn ang="0">
                <a:pos x="196" y="57"/>
              </a:cxn>
              <a:cxn ang="0">
                <a:pos x="189" y="65"/>
              </a:cxn>
              <a:cxn ang="0">
                <a:pos x="172" y="68"/>
              </a:cxn>
              <a:cxn ang="0">
                <a:pos x="158" y="67"/>
              </a:cxn>
              <a:cxn ang="0">
                <a:pos x="129" y="90"/>
              </a:cxn>
              <a:cxn ang="0">
                <a:pos x="161" y="78"/>
              </a:cxn>
              <a:cxn ang="0">
                <a:pos x="183" y="78"/>
              </a:cxn>
              <a:cxn ang="0">
                <a:pos x="171" y="84"/>
              </a:cxn>
              <a:cxn ang="0">
                <a:pos x="151" y="105"/>
              </a:cxn>
              <a:cxn ang="0">
                <a:pos x="127" y="142"/>
              </a:cxn>
              <a:cxn ang="0">
                <a:pos x="118" y="168"/>
              </a:cxn>
              <a:cxn ang="0">
                <a:pos x="107" y="182"/>
              </a:cxn>
              <a:cxn ang="0">
                <a:pos x="82" y="194"/>
              </a:cxn>
              <a:cxn ang="0">
                <a:pos x="65" y="211"/>
              </a:cxn>
              <a:cxn ang="0">
                <a:pos x="50" y="221"/>
              </a:cxn>
              <a:cxn ang="0">
                <a:pos x="43" y="233"/>
              </a:cxn>
              <a:cxn ang="0">
                <a:pos x="13" y="246"/>
              </a:cxn>
              <a:cxn ang="0">
                <a:pos x="4" y="260"/>
              </a:cxn>
              <a:cxn ang="0">
                <a:pos x="3" y="282"/>
              </a:cxn>
              <a:cxn ang="0">
                <a:pos x="14" y="296"/>
              </a:cxn>
              <a:cxn ang="0">
                <a:pos x="16" y="302"/>
              </a:cxn>
              <a:cxn ang="0">
                <a:pos x="4" y="304"/>
              </a:cxn>
              <a:cxn ang="0">
                <a:pos x="18" y="312"/>
              </a:cxn>
              <a:cxn ang="0">
                <a:pos x="8" y="327"/>
              </a:cxn>
              <a:cxn ang="0">
                <a:pos x="75" y="322"/>
              </a:cxn>
              <a:cxn ang="0">
                <a:pos x="92" y="312"/>
              </a:cxn>
              <a:cxn ang="0">
                <a:pos x="109" y="313"/>
              </a:cxn>
              <a:cxn ang="0">
                <a:pos x="122" y="285"/>
              </a:cxn>
              <a:cxn ang="0">
                <a:pos x="125" y="262"/>
              </a:cxn>
              <a:cxn ang="0">
                <a:pos x="117" y="223"/>
              </a:cxn>
              <a:cxn ang="0">
                <a:pos x="142" y="198"/>
              </a:cxn>
              <a:cxn ang="0">
                <a:pos x="151" y="162"/>
              </a:cxn>
              <a:cxn ang="0">
                <a:pos x="166" y="135"/>
              </a:cxn>
              <a:cxn ang="0">
                <a:pos x="183" y="102"/>
              </a:cxn>
              <a:cxn ang="0">
                <a:pos x="209" y="74"/>
              </a:cxn>
              <a:cxn ang="0">
                <a:pos x="240" y="74"/>
              </a:cxn>
              <a:cxn ang="0">
                <a:pos x="262" y="54"/>
              </a:cxn>
              <a:cxn ang="0">
                <a:pos x="309" y="68"/>
              </a:cxn>
              <a:cxn ang="0">
                <a:pos x="327" y="63"/>
              </a:cxn>
              <a:cxn ang="0">
                <a:pos x="344" y="36"/>
              </a:cxn>
              <a:cxn ang="0">
                <a:pos x="383" y="46"/>
              </a:cxn>
              <a:cxn ang="0">
                <a:pos x="408" y="44"/>
              </a:cxn>
            </a:cxnLst>
            <a:rect l="0" t="0" r="r" b="b"/>
            <a:pathLst>
              <a:path w="412" h="343">
                <a:moveTo>
                  <a:pt x="400" y="40"/>
                </a:moveTo>
                <a:lnTo>
                  <a:pt x="400" y="40"/>
                </a:lnTo>
                <a:lnTo>
                  <a:pt x="398" y="41"/>
                </a:lnTo>
                <a:lnTo>
                  <a:pt x="395" y="41"/>
                </a:lnTo>
                <a:lnTo>
                  <a:pt x="394" y="41"/>
                </a:lnTo>
                <a:lnTo>
                  <a:pt x="393" y="38"/>
                </a:lnTo>
                <a:lnTo>
                  <a:pt x="393" y="38"/>
                </a:lnTo>
                <a:lnTo>
                  <a:pt x="391" y="36"/>
                </a:lnTo>
                <a:lnTo>
                  <a:pt x="388" y="34"/>
                </a:lnTo>
                <a:lnTo>
                  <a:pt x="384" y="31"/>
                </a:lnTo>
                <a:lnTo>
                  <a:pt x="383" y="30"/>
                </a:lnTo>
                <a:lnTo>
                  <a:pt x="383" y="30"/>
                </a:lnTo>
                <a:lnTo>
                  <a:pt x="383" y="30"/>
                </a:lnTo>
                <a:lnTo>
                  <a:pt x="385" y="30"/>
                </a:lnTo>
                <a:lnTo>
                  <a:pt x="391" y="31"/>
                </a:lnTo>
                <a:lnTo>
                  <a:pt x="391" y="31"/>
                </a:lnTo>
                <a:lnTo>
                  <a:pt x="393" y="33"/>
                </a:lnTo>
                <a:lnTo>
                  <a:pt x="395" y="31"/>
                </a:lnTo>
                <a:lnTo>
                  <a:pt x="401" y="28"/>
                </a:lnTo>
                <a:lnTo>
                  <a:pt x="401" y="28"/>
                </a:lnTo>
                <a:lnTo>
                  <a:pt x="404" y="26"/>
                </a:lnTo>
                <a:lnTo>
                  <a:pt x="408" y="26"/>
                </a:lnTo>
                <a:lnTo>
                  <a:pt x="411" y="26"/>
                </a:lnTo>
                <a:lnTo>
                  <a:pt x="412" y="24"/>
                </a:lnTo>
                <a:lnTo>
                  <a:pt x="412" y="24"/>
                </a:lnTo>
                <a:lnTo>
                  <a:pt x="411" y="21"/>
                </a:lnTo>
                <a:lnTo>
                  <a:pt x="408" y="19"/>
                </a:lnTo>
                <a:lnTo>
                  <a:pt x="404" y="16"/>
                </a:lnTo>
                <a:lnTo>
                  <a:pt x="404" y="16"/>
                </a:lnTo>
                <a:lnTo>
                  <a:pt x="400" y="13"/>
                </a:lnTo>
                <a:lnTo>
                  <a:pt x="395" y="11"/>
                </a:lnTo>
                <a:lnTo>
                  <a:pt x="391" y="11"/>
                </a:lnTo>
                <a:lnTo>
                  <a:pt x="391" y="11"/>
                </a:lnTo>
                <a:lnTo>
                  <a:pt x="388" y="11"/>
                </a:lnTo>
                <a:lnTo>
                  <a:pt x="387" y="11"/>
                </a:lnTo>
                <a:lnTo>
                  <a:pt x="383" y="7"/>
                </a:lnTo>
                <a:lnTo>
                  <a:pt x="383" y="7"/>
                </a:lnTo>
                <a:lnTo>
                  <a:pt x="380" y="7"/>
                </a:lnTo>
                <a:lnTo>
                  <a:pt x="375" y="9"/>
                </a:lnTo>
                <a:lnTo>
                  <a:pt x="373" y="11"/>
                </a:lnTo>
                <a:lnTo>
                  <a:pt x="371" y="16"/>
                </a:lnTo>
                <a:lnTo>
                  <a:pt x="371" y="16"/>
                </a:lnTo>
                <a:lnTo>
                  <a:pt x="370" y="20"/>
                </a:lnTo>
                <a:lnTo>
                  <a:pt x="368" y="20"/>
                </a:lnTo>
                <a:lnTo>
                  <a:pt x="367" y="20"/>
                </a:lnTo>
                <a:lnTo>
                  <a:pt x="367" y="17"/>
                </a:lnTo>
                <a:lnTo>
                  <a:pt x="367" y="17"/>
                </a:lnTo>
                <a:lnTo>
                  <a:pt x="367" y="14"/>
                </a:lnTo>
                <a:lnTo>
                  <a:pt x="367" y="11"/>
                </a:lnTo>
                <a:lnTo>
                  <a:pt x="367" y="10"/>
                </a:lnTo>
                <a:lnTo>
                  <a:pt x="368" y="9"/>
                </a:lnTo>
                <a:lnTo>
                  <a:pt x="368" y="9"/>
                </a:lnTo>
                <a:lnTo>
                  <a:pt x="371" y="7"/>
                </a:lnTo>
                <a:lnTo>
                  <a:pt x="370" y="4"/>
                </a:lnTo>
                <a:lnTo>
                  <a:pt x="367" y="1"/>
                </a:lnTo>
                <a:lnTo>
                  <a:pt x="363" y="0"/>
                </a:lnTo>
                <a:lnTo>
                  <a:pt x="363" y="0"/>
                </a:lnTo>
                <a:lnTo>
                  <a:pt x="357" y="0"/>
                </a:lnTo>
                <a:lnTo>
                  <a:pt x="353" y="3"/>
                </a:lnTo>
                <a:lnTo>
                  <a:pt x="351" y="6"/>
                </a:lnTo>
                <a:lnTo>
                  <a:pt x="353" y="9"/>
                </a:lnTo>
                <a:lnTo>
                  <a:pt x="353" y="9"/>
                </a:lnTo>
                <a:lnTo>
                  <a:pt x="351" y="11"/>
                </a:lnTo>
                <a:lnTo>
                  <a:pt x="350" y="16"/>
                </a:lnTo>
                <a:lnTo>
                  <a:pt x="346" y="20"/>
                </a:lnTo>
                <a:lnTo>
                  <a:pt x="343" y="21"/>
                </a:lnTo>
                <a:lnTo>
                  <a:pt x="343" y="21"/>
                </a:lnTo>
                <a:lnTo>
                  <a:pt x="341" y="20"/>
                </a:lnTo>
                <a:lnTo>
                  <a:pt x="341" y="20"/>
                </a:lnTo>
                <a:lnTo>
                  <a:pt x="341" y="16"/>
                </a:lnTo>
                <a:lnTo>
                  <a:pt x="343" y="7"/>
                </a:lnTo>
                <a:lnTo>
                  <a:pt x="343" y="7"/>
                </a:lnTo>
                <a:lnTo>
                  <a:pt x="341" y="6"/>
                </a:lnTo>
                <a:lnTo>
                  <a:pt x="340" y="6"/>
                </a:lnTo>
                <a:lnTo>
                  <a:pt x="333" y="13"/>
                </a:lnTo>
                <a:lnTo>
                  <a:pt x="333" y="13"/>
                </a:lnTo>
                <a:lnTo>
                  <a:pt x="324" y="23"/>
                </a:lnTo>
                <a:lnTo>
                  <a:pt x="320" y="27"/>
                </a:lnTo>
                <a:lnTo>
                  <a:pt x="317" y="28"/>
                </a:lnTo>
                <a:lnTo>
                  <a:pt x="317" y="28"/>
                </a:lnTo>
                <a:lnTo>
                  <a:pt x="316" y="27"/>
                </a:lnTo>
                <a:lnTo>
                  <a:pt x="314" y="24"/>
                </a:lnTo>
                <a:lnTo>
                  <a:pt x="316" y="21"/>
                </a:lnTo>
                <a:lnTo>
                  <a:pt x="320" y="19"/>
                </a:lnTo>
                <a:lnTo>
                  <a:pt x="320" y="19"/>
                </a:lnTo>
                <a:lnTo>
                  <a:pt x="324" y="14"/>
                </a:lnTo>
                <a:lnTo>
                  <a:pt x="326" y="10"/>
                </a:lnTo>
                <a:lnTo>
                  <a:pt x="329" y="7"/>
                </a:lnTo>
                <a:lnTo>
                  <a:pt x="330" y="6"/>
                </a:lnTo>
                <a:lnTo>
                  <a:pt x="330" y="6"/>
                </a:lnTo>
                <a:lnTo>
                  <a:pt x="333" y="4"/>
                </a:lnTo>
                <a:lnTo>
                  <a:pt x="333" y="3"/>
                </a:lnTo>
                <a:lnTo>
                  <a:pt x="331" y="1"/>
                </a:lnTo>
                <a:lnTo>
                  <a:pt x="329" y="0"/>
                </a:lnTo>
                <a:lnTo>
                  <a:pt x="329" y="0"/>
                </a:lnTo>
                <a:lnTo>
                  <a:pt x="324" y="0"/>
                </a:lnTo>
                <a:lnTo>
                  <a:pt x="323" y="1"/>
                </a:lnTo>
                <a:lnTo>
                  <a:pt x="320" y="7"/>
                </a:lnTo>
                <a:lnTo>
                  <a:pt x="320" y="7"/>
                </a:lnTo>
                <a:lnTo>
                  <a:pt x="317" y="7"/>
                </a:lnTo>
                <a:lnTo>
                  <a:pt x="313" y="6"/>
                </a:lnTo>
                <a:lnTo>
                  <a:pt x="310" y="4"/>
                </a:lnTo>
                <a:lnTo>
                  <a:pt x="309" y="6"/>
                </a:lnTo>
                <a:lnTo>
                  <a:pt x="309" y="6"/>
                </a:lnTo>
                <a:lnTo>
                  <a:pt x="307" y="6"/>
                </a:lnTo>
                <a:lnTo>
                  <a:pt x="306" y="7"/>
                </a:lnTo>
                <a:lnTo>
                  <a:pt x="304" y="9"/>
                </a:lnTo>
                <a:lnTo>
                  <a:pt x="306" y="11"/>
                </a:lnTo>
                <a:lnTo>
                  <a:pt x="306" y="11"/>
                </a:lnTo>
                <a:lnTo>
                  <a:pt x="306" y="14"/>
                </a:lnTo>
                <a:lnTo>
                  <a:pt x="306" y="16"/>
                </a:lnTo>
                <a:lnTo>
                  <a:pt x="304" y="16"/>
                </a:lnTo>
                <a:lnTo>
                  <a:pt x="302" y="14"/>
                </a:lnTo>
                <a:lnTo>
                  <a:pt x="302" y="14"/>
                </a:lnTo>
                <a:lnTo>
                  <a:pt x="300" y="11"/>
                </a:lnTo>
                <a:lnTo>
                  <a:pt x="297" y="13"/>
                </a:lnTo>
                <a:lnTo>
                  <a:pt x="293" y="14"/>
                </a:lnTo>
                <a:lnTo>
                  <a:pt x="292" y="17"/>
                </a:lnTo>
                <a:lnTo>
                  <a:pt x="292" y="17"/>
                </a:lnTo>
                <a:lnTo>
                  <a:pt x="289" y="20"/>
                </a:lnTo>
                <a:lnTo>
                  <a:pt x="287" y="21"/>
                </a:lnTo>
                <a:lnTo>
                  <a:pt x="286" y="23"/>
                </a:lnTo>
                <a:lnTo>
                  <a:pt x="287" y="24"/>
                </a:lnTo>
                <a:lnTo>
                  <a:pt x="287" y="24"/>
                </a:lnTo>
                <a:lnTo>
                  <a:pt x="289" y="26"/>
                </a:lnTo>
                <a:lnTo>
                  <a:pt x="289" y="28"/>
                </a:lnTo>
                <a:lnTo>
                  <a:pt x="287" y="31"/>
                </a:lnTo>
                <a:lnTo>
                  <a:pt x="286" y="33"/>
                </a:lnTo>
                <a:lnTo>
                  <a:pt x="286" y="33"/>
                </a:lnTo>
                <a:lnTo>
                  <a:pt x="284" y="33"/>
                </a:lnTo>
                <a:lnTo>
                  <a:pt x="283" y="31"/>
                </a:lnTo>
                <a:lnTo>
                  <a:pt x="282" y="27"/>
                </a:lnTo>
                <a:lnTo>
                  <a:pt x="282" y="24"/>
                </a:lnTo>
                <a:lnTo>
                  <a:pt x="280" y="23"/>
                </a:lnTo>
                <a:lnTo>
                  <a:pt x="280" y="23"/>
                </a:lnTo>
                <a:lnTo>
                  <a:pt x="280" y="23"/>
                </a:lnTo>
                <a:lnTo>
                  <a:pt x="277" y="21"/>
                </a:lnTo>
                <a:lnTo>
                  <a:pt x="279" y="20"/>
                </a:lnTo>
                <a:lnTo>
                  <a:pt x="280" y="17"/>
                </a:lnTo>
                <a:lnTo>
                  <a:pt x="283" y="16"/>
                </a:lnTo>
                <a:lnTo>
                  <a:pt x="283" y="16"/>
                </a:lnTo>
                <a:lnTo>
                  <a:pt x="286" y="16"/>
                </a:lnTo>
                <a:lnTo>
                  <a:pt x="289" y="13"/>
                </a:lnTo>
                <a:lnTo>
                  <a:pt x="290" y="10"/>
                </a:lnTo>
                <a:lnTo>
                  <a:pt x="292" y="9"/>
                </a:lnTo>
                <a:lnTo>
                  <a:pt x="292" y="9"/>
                </a:lnTo>
                <a:lnTo>
                  <a:pt x="290" y="7"/>
                </a:lnTo>
                <a:lnTo>
                  <a:pt x="289" y="6"/>
                </a:lnTo>
                <a:lnTo>
                  <a:pt x="286" y="7"/>
                </a:lnTo>
                <a:lnTo>
                  <a:pt x="286" y="10"/>
                </a:lnTo>
                <a:lnTo>
                  <a:pt x="286" y="10"/>
                </a:lnTo>
                <a:lnTo>
                  <a:pt x="284" y="11"/>
                </a:lnTo>
                <a:lnTo>
                  <a:pt x="282" y="13"/>
                </a:lnTo>
                <a:lnTo>
                  <a:pt x="273" y="11"/>
                </a:lnTo>
                <a:lnTo>
                  <a:pt x="273" y="11"/>
                </a:lnTo>
                <a:lnTo>
                  <a:pt x="269" y="13"/>
                </a:lnTo>
                <a:lnTo>
                  <a:pt x="269" y="16"/>
                </a:lnTo>
                <a:lnTo>
                  <a:pt x="270" y="20"/>
                </a:lnTo>
                <a:lnTo>
                  <a:pt x="273" y="23"/>
                </a:lnTo>
                <a:lnTo>
                  <a:pt x="273" y="23"/>
                </a:lnTo>
                <a:lnTo>
                  <a:pt x="276" y="26"/>
                </a:lnTo>
                <a:lnTo>
                  <a:pt x="274" y="27"/>
                </a:lnTo>
                <a:lnTo>
                  <a:pt x="272" y="27"/>
                </a:lnTo>
                <a:lnTo>
                  <a:pt x="269" y="26"/>
                </a:lnTo>
                <a:lnTo>
                  <a:pt x="269" y="26"/>
                </a:lnTo>
                <a:lnTo>
                  <a:pt x="266" y="24"/>
                </a:lnTo>
                <a:lnTo>
                  <a:pt x="263" y="24"/>
                </a:lnTo>
                <a:lnTo>
                  <a:pt x="257" y="26"/>
                </a:lnTo>
                <a:lnTo>
                  <a:pt x="257" y="26"/>
                </a:lnTo>
                <a:lnTo>
                  <a:pt x="256" y="27"/>
                </a:lnTo>
                <a:lnTo>
                  <a:pt x="257" y="28"/>
                </a:lnTo>
                <a:lnTo>
                  <a:pt x="260" y="30"/>
                </a:lnTo>
                <a:lnTo>
                  <a:pt x="265" y="33"/>
                </a:lnTo>
                <a:lnTo>
                  <a:pt x="266" y="34"/>
                </a:lnTo>
                <a:lnTo>
                  <a:pt x="266" y="34"/>
                </a:lnTo>
                <a:lnTo>
                  <a:pt x="265" y="34"/>
                </a:lnTo>
                <a:lnTo>
                  <a:pt x="263" y="34"/>
                </a:lnTo>
                <a:lnTo>
                  <a:pt x="260" y="33"/>
                </a:lnTo>
                <a:lnTo>
                  <a:pt x="259" y="33"/>
                </a:lnTo>
                <a:lnTo>
                  <a:pt x="259" y="33"/>
                </a:lnTo>
                <a:lnTo>
                  <a:pt x="256" y="34"/>
                </a:lnTo>
                <a:lnTo>
                  <a:pt x="253" y="33"/>
                </a:lnTo>
                <a:lnTo>
                  <a:pt x="252" y="31"/>
                </a:lnTo>
                <a:lnTo>
                  <a:pt x="250" y="28"/>
                </a:lnTo>
                <a:lnTo>
                  <a:pt x="250" y="28"/>
                </a:lnTo>
                <a:lnTo>
                  <a:pt x="249" y="27"/>
                </a:lnTo>
                <a:lnTo>
                  <a:pt x="247" y="27"/>
                </a:lnTo>
                <a:lnTo>
                  <a:pt x="245" y="27"/>
                </a:lnTo>
                <a:lnTo>
                  <a:pt x="243" y="30"/>
                </a:lnTo>
                <a:lnTo>
                  <a:pt x="243" y="30"/>
                </a:lnTo>
                <a:lnTo>
                  <a:pt x="245" y="31"/>
                </a:lnTo>
                <a:lnTo>
                  <a:pt x="245" y="31"/>
                </a:lnTo>
                <a:lnTo>
                  <a:pt x="247" y="33"/>
                </a:lnTo>
                <a:lnTo>
                  <a:pt x="249" y="36"/>
                </a:lnTo>
                <a:lnTo>
                  <a:pt x="249" y="41"/>
                </a:lnTo>
                <a:lnTo>
                  <a:pt x="249" y="41"/>
                </a:lnTo>
                <a:lnTo>
                  <a:pt x="247" y="44"/>
                </a:lnTo>
                <a:lnTo>
                  <a:pt x="245" y="44"/>
                </a:lnTo>
                <a:lnTo>
                  <a:pt x="243" y="41"/>
                </a:lnTo>
                <a:lnTo>
                  <a:pt x="243" y="38"/>
                </a:lnTo>
                <a:lnTo>
                  <a:pt x="243" y="38"/>
                </a:lnTo>
                <a:lnTo>
                  <a:pt x="243" y="36"/>
                </a:lnTo>
                <a:lnTo>
                  <a:pt x="240" y="36"/>
                </a:lnTo>
                <a:lnTo>
                  <a:pt x="238" y="36"/>
                </a:lnTo>
                <a:lnTo>
                  <a:pt x="235" y="37"/>
                </a:lnTo>
                <a:lnTo>
                  <a:pt x="235" y="37"/>
                </a:lnTo>
                <a:lnTo>
                  <a:pt x="232" y="38"/>
                </a:lnTo>
                <a:lnTo>
                  <a:pt x="232" y="36"/>
                </a:lnTo>
                <a:lnTo>
                  <a:pt x="233" y="31"/>
                </a:lnTo>
                <a:lnTo>
                  <a:pt x="233" y="28"/>
                </a:lnTo>
                <a:lnTo>
                  <a:pt x="233" y="28"/>
                </a:lnTo>
                <a:lnTo>
                  <a:pt x="230" y="27"/>
                </a:lnTo>
                <a:lnTo>
                  <a:pt x="229" y="27"/>
                </a:lnTo>
                <a:lnTo>
                  <a:pt x="222" y="30"/>
                </a:lnTo>
                <a:lnTo>
                  <a:pt x="222" y="30"/>
                </a:lnTo>
                <a:lnTo>
                  <a:pt x="216" y="31"/>
                </a:lnTo>
                <a:lnTo>
                  <a:pt x="216" y="31"/>
                </a:lnTo>
                <a:lnTo>
                  <a:pt x="218" y="34"/>
                </a:lnTo>
                <a:lnTo>
                  <a:pt x="218" y="34"/>
                </a:lnTo>
                <a:lnTo>
                  <a:pt x="219" y="37"/>
                </a:lnTo>
                <a:lnTo>
                  <a:pt x="219" y="38"/>
                </a:lnTo>
                <a:lnTo>
                  <a:pt x="218" y="41"/>
                </a:lnTo>
                <a:lnTo>
                  <a:pt x="216" y="41"/>
                </a:lnTo>
                <a:lnTo>
                  <a:pt x="216" y="41"/>
                </a:lnTo>
                <a:lnTo>
                  <a:pt x="212" y="41"/>
                </a:lnTo>
                <a:lnTo>
                  <a:pt x="210" y="43"/>
                </a:lnTo>
                <a:lnTo>
                  <a:pt x="210" y="46"/>
                </a:lnTo>
                <a:lnTo>
                  <a:pt x="210" y="46"/>
                </a:lnTo>
                <a:lnTo>
                  <a:pt x="210" y="47"/>
                </a:lnTo>
                <a:lnTo>
                  <a:pt x="208" y="48"/>
                </a:lnTo>
                <a:lnTo>
                  <a:pt x="206" y="47"/>
                </a:lnTo>
                <a:lnTo>
                  <a:pt x="205" y="46"/>
                </a:lnTo>
                <a:lnTo>
                  <a:pt x="205" y="46"/>
                </a:lnTo>
                <a:lnTo>
                  <a:pt x="203" y="44"/>
                </a:lnTo>
                <a:lnTo>
                  <a:pt x="201" y="44"/>
                </a:lnTo>
                <a:lnTo>
                  <a:pt x="196" y="44"/>
                </a:lnTo>
                <a:lnTo>
                  <a:pt x="193" y="47"/>
                </a:lnTo>
                <a:lnTo>
                  <a:pt x="193" y="47"/>
                </a:lnTo>
                <a:lnTo>
                  <a:pt x="189" y="53"/>
                </a:lnTo>
                <a:lnTo>
                  <a:pt x="186" y="56"/>
                </a:lnTo>
                <a:lnTo>
                  <a:pt x="186" y="58"/>
                </a:lnTo>
                <a:lnTo>
                  <a:pt x="186" y="58"/>
                </a:lnTo>
                <a:lnTo>
                  <a:pt x="186" y="60"/>
                </a:lnTo>
                <a:lnTo>
                  <a:pt x="189" y="58"/>
                </a:lnTo>
                <a:lnTo>
                  <a:pt x="192" y="57"/>
                </a:lnTo>
                <a:lnTo>
                  <a:pt x="196" y="57"/>
                </a:lnTo>
                <a:lnTo>
                  <a:pt x="196" y="57"/>
                </a:lnTo>
                <a:lnTo>
                  <a:pt x="198" y="58"/>
                </a:lnTo>
                <a:lnTo>
                  <a:pt x="198" y="60"/>
                </a:lnTo>
                <a:lnTo>
                  <a:pt x="198" y="61"/>
                </a:lnTo>
                <a:lnTo>
                  <a:pt x="198" y="63"/>
                </a:lnTo>
                <a:lnTo>
                  <a:pt x="198" y="63"/>
                </a:lnTo>
                <a:lnTo>
                  <a:pt x="199" y="65"/>
                </a:lnTo>
                <a:lnTo>
                  <a:pt x="199" y="67"/>
                </a:lnTo>
                <a:lnTo>
                  <a:pt x="199" y="68"/>
                </a:lnTo>
                <a:lnTo>
                  <a:pt x="196" y="67"/>
                </a:lnTo>
                <a:lnTo>
                  <a:pt x="196" y="67"/>
                </a:lnTo>
                <a:lnTo>
                  <a:pt x="193" y="65"/>
                </a:lnTo>
                <a:lnTo>
                  <a:pt x="192" y="64"/>
                </a:lnTo>
                <a:lnTo>
                  <a:pt x="189" y="65"/>
                </a:lnTo>
                <a:lnTo>
                  <a:pt x="188" y="68"/>
                </a:lnTo>
                <a:lnTo>
                  <a:pt x="188" y="68"/>
                </a:lnTo>
                <a:lnTo>
                  <a:pt x="188" y="70"/>
                </a:lnTo>
                <a:lnTo>
                  <a:pt x="185" y="70"/>
                </a:lnTo>
                <a:lnTo>
                  <a:pt x="181" y="64"/>
                </a:lnTo>
                <a:lnTo>
                  <a:pt x="181" y="64"/>
                </a:lnTo>
                <a:lnTo>
                  <a:pt x="181" y="63"/>
                </a:lnTo>
                <a:lnTo>
                  <a:pt x="179" y="64"/>
                </a:lnTo>
                <a:lnTo>
                  <a:pt x="176" y="65"/>
                </a:lnTo>
                <a:lnTo>
                  <a:pt x="175" y="68"/>
                </a:lnTo>
                <a:lnTo>
                  <a:pt x="173" y="68"/>
                </a:lnTo>
                <a:lnTo>
                  <a:pt x="172" y="68"/>
                </a:lnTo>
                <a:lnTo>
                  <a:pt x="172" y="68"/>
                </a:lnTo>
                <a:lnTo>
                  <a:pt x="172" y="67"/>
                </a:lnTo>
                <a:lnTo>
                  <a:pt x="172" y="65"/>
                </a:lnTo>
                <a:lnTo>
                  <a:pt x="173" y="63"/>
                </a:lnTo>
                <a:lnTo>
                  <a:pt x="176" y="58"/>
                </a:lnTo>
                <a:lnTo>
                  <a:pt x="176" y="57"/>
                </a:lnTo>
                <a:lnTo>
                  <a:pt x="176" y="56"/>
                </a:lnTo>
                <a:lnTo>
                  <a:pt x="176" y="56"/>
                </a:lnTo>
                <a:lnTo>
                  <a:pt x="175" y="54"/>
                </a:lnTo>
                <a:lnTo>
                  <a:pt x="172" y="56"/>
                </a:lnTo>
                <a:lnTo>
                  <a:pt x="166" y="63"/>
                </a:lnTo>
                <a:lnTo>
                  <a:pt x="166" y="63"/>
                </a:lnTo>
                <a:lnTo>
                  <a:pt x="162" y="65"/>
                </a:lnTo>
                <a:lnTo>
                  <a:pt x="158" y="67"/>
                </a:lnTo>
                <a:lnTo>
                  <a:pt x="156" y="68"/>
                </a:lnTo>
                <a:lnTo>
                  <a:pt x="156" y="70"/>
                </a:lnTo>
                <a:lnTo>
                  <a:pt x="156" y="70"/>
                </a:lnTo>
                <a:lnTo>
                  <a:pt x="156" y="73"/>
                </a:lnTo>
                <a:lnTo>
                  <a:pt x="155" y="74"/>
                </a:lnTo>
                <a:lnTo>
                  <a:pt x="152" y="75"/>
                </a:lnTo>
                <a:lnTo>
                  <a:pt x="149" y="78"/>
                </a:lnTo>
                <a:lnTo>
                  <a:pt x="149" y="78"/>
                </a:lnTo>
                <a:lnTo>
                  <a:pt x="146" y="81"/>
                </a:lnTo>
                <a:lnTo>
                  <a:pt x="142" y="84"/>
                </a:lnTo>
                <a:lnTo>
                  <a:pt x="135" y="87"/>
                </a:lnTo>
                <a:lnTo>
                  <a:pt x="129" y="90"/>
                </a:lnTo>
                <a:lnTo>
                  <a:pt x="129" y="90"/>
                </a:lnTo>
                <a:lnTo>
                  <a:pt x="127" y="93"/>
                </a:lnTo>
                <a:lnTo>
                  <a:pt x="128" y="93"/>
                </a:lnTo>
                <a:lnTo>
                  <a:pt x="128" y="94"/>
                </a:lnTo>
                <a:lnTo>
                  <a:pt x="132" y="93"/>
                </a:lnTo>
                <a:lnTo>
                  <a:pt x="135" y="90"/>
                </a:lnTo>
                <a:lnTo>
                  <a:pt x="135" y="90"/>
                </a:lnTo>
                <a:lnTo>
                  <a:pt x="138" y="88"/>
                </a:lnTo>
                <a:lnTo>
                  <a:pt x="141" y="87"/>
                </a:lnTo>
                <a:lnTo>
                  <a:pt x="144" y="87"/>
                </a:lnTo>
                <a:lnTo>
                  <a:pt x="148" y="84"/>
                </a:lnTo>
                <a:lnTo>
                  <a:pt x="148" y="84"/>
                </a:lnTo>
                <a:lnTo>
                  <a:pt x="156" y="80"/>
                </a:lnTo>
                <a:lnTo>
                  <a:pt x="161" y="78"/>
                </a:lnTo>
                <a:lnTo>
                  <a:pt x="164" y="78"/>
                </a:lnTo>
                <a:lnTo>
                  <a:pt x="164" y="78"/>
                </a:lnTo>
                <a:lnTo>
                  <a:pt x="165" y="80"/>
                </a:lnTo>
                <a:lnTo>
                  <a:pt x="168" y="80"/>
                </a:lnTo>
                <a:lnTo>
                  <a:pt x="169" y="80"/>
                </a:lnTo>
                <a:lnTo>
                  <a:pt x="172" y="77"/>
                </a:lnTo>
                <a:lnTo>
                  <a:pt x="172" y="77"/>
                </a:lnTo>
                <a:lnTo>
                  <a:pt x="175" y="75"/>
                </a:lnTo>
                <a:lnTo>
                  <a:pt x="178" y="74"/>
                </a:lnTo>
                <a:lnTo>
                  <a:pt x="179" y="75"/>
                </a:lnTo>
                <a:lnTo>
                  <a:pt x="182" y="77"/>
                </a:lnTo>
                <a:lnTo>
                  <a:pt x="182" y="77"/>
                </a:lnTo>
                <a:lnTo>
                  <a:pt x="183" y="78"/>
                </a:lnTo>
                <a:lnTo>
                  <a:pt x="181" y="80"/>
                </a:lnTo>
                <a:lnTo>
                  <a:pt x="181" y="83"/>
                </a:lnTo>
                <a:lnTo>
                  <a:pt x="181" y="85"/>
                </a:lnTo>
                <a:lnTo>
                  <a:pt x="181" y="85"/>
                </a:lnTo>
                <a:lnTo>
                  <a:pt x="182" y="87"/>
                </a:lnTo>
                <a:lnTo>
                  <a:pt x="181" y="90"/>
                </a:lnTo>
                <a:lnTo>
                  <a:pt x="178" y="90"/>
                </a:lnTo>
                <a:lnTo>
                  <a:pt x="176" y="88"/>
                </a:lnTo>
                <a:lnTo>
                  <a:pt x="176" y="88"/>
                </a:lnTo>
                <a:lnTo>
                  <a:pt x="175" y="85"/>
                </a:lnTo>
                <a:lnTo>
                  <a:pt x="173" y="84"/>
                </a:lnTo>
                <a:lnTo>
                  <a:pt x="172" y="84"/>
                </a:lnTo>
                <a:lnTo>
                  <a:pt x="171" y="84"/>
                </a:lnTo>
                <a:lnTo>
                  <a:pt x="171" y="84"/>
                </a:lnTo>
                <a:lnTo>
                  <a:pt x="166" y="88"/>
                </a:lnTo>
                <a:lnTo>
                  <a:pt x="165" y="91"/>
                </a:lnTo>
                <a:lnTo>
                  <a:pt x="162" y="91"/>
                </a:lnTo>
                <a:lnTo>
                  <a:pt x="162" y="91"/>
                </a:lnTo>
                <a:lnTo>
                  <a:pt x="161" y="93"/>
                </a:lnTo>
                <a:lnTo>
                  <a:pt x="158" y="95"/>
                </a:lnTo>
                <a:lnTo>
                  <a:pt x="156" y="98"/>
                </a:lnTo>
                <a:lnTo>
                  <a:pt x="156" y="102"/>
                </a:lnTo>
                <a:lnTo>
                  <a:pt x="156" y="102"/>
                </a:lnTo>
                <a:lnTo>
                  <a:pt x="155" y="105"/>
                </a:lnTo>
                <a:lnTo>
                  <a:pt x="154" y="105"/>
                </a:lnTo>
                <a:lnTo>
                  <a:pt x="151" y="105"/>
                </a:lnTo>
                <a:lnTo>
                  <a:pt x="151" y="108"/>
                </a:lnTo>
                <a:lnTo>
                  <a:pt x="151" y="108"/>
                </a:lnTo>
                <a:lnTo>
                  <a:pt x="148" y="112"/>
                </a:lnTo>
                <a:lnTo>
                  <a:pt x="145" y="117"/>
                </a:lnTo>
                <a:lnTo>
                  <a:pt x="135" y="128"/>
                </a:lnTo>
                <a:lnTo>
                  <a:pt x="135" y="128"/>
                </a:lnTo>
                <a:lnTo>
                  <a:pt x="132" y="132"/>
                </a:lnTo>
                <a:lnTo>
                  <a:pt x="132" y="135"/>
                </a:lnTo>
                <a:lnTo>
                  <a:pt x="134" y="137"/>
                </a:lnTo>
                <a:lnTo>
                  <a:pt x="132" y="139"/>
                </a:lnTo>
                <a:lnTo>
                  <a:pt x="132" y="139"/>
                </a:lnTo>
                <a:lnTo>
                  <a:pt x="131" y="142"/>
                </a:lnTo>
                <a:lnTo>
                  <a:pt x="127" y="142"/>
                </a:lnTo>
                <a:lnTo>
                  <a:pt x="122" y="141"/>
                </a:lnTo>
                <a:lnTo>
                  <a:pt x="121" y="142"/>
                </a:lnTo>
                <a:lnTo>
                  <a:pt x="121" y="142"/>
                </a:lnTo>
                <a:lnTo>
                  <a:pt x="119" y="145"/>
                </a:lnTo>
                <a:lnTo>
                  <a:pt x="119" y="149"/>
                </a:lnTo>
                <a:lnTo>
                  <a:pt x="119" y="154"/>
                </a:lnTo>
                <a:lnTo>
                  <a:pt x="118" y="157"/>
                </a:lnTo>
                <a:lnTo>
                  <a:pt x="118" y="157"/>
                </a:lnTo>
                <a:lnTo>
                  <a:pt x="117" y="159"/>
                </a:lnTo>
                <a:lnTo>
                  <a:pt x="117" y="162"/>
                </a:lnTo>
                <a:lnTo>
                  <a:pt x="118" y="168"/>
                </a:lnTo>
                <a:lnTo>
                  <a:pt x="118" y="168"/>
                </a:lnTo>
                <a:lnTo>
                  <a:pt x="118" y="168"/>
                </a:lnTo>
                <a:lnTo>
                  <a:pt x="117" y="169"/>
                </a:lnTo>
                <a:lnTo>
                  <a:pt x="114" y="168"/>
                </a:lnTo>
                <a:lnTo>
                  <a:pt x="109" y="168"/>
                </a:lnTo>
                <a:lnTo>
                  <a:pt x="108" y="168"/>
                </a:lnTo>
                <a:lnTo>
                  <a:pt x="108" y="169"/>
                </a:lnTo>
                <a:lnTo>
                  <a:pt x="108" y="169"/>
                </a:lnTo>
                <a:lnTo>
                  <a:pt x="107" y="171"/>
                </a:lnTo>
                <a:lnTo>
                  <a:pt x="104" y="172"/>
                </a:lnTo>
                <a:lnTo>
                  <a:pt x="97" y="172"/>
                </a:lnTo>
                <a:lnTo>
                  <a:pt x="97" y="172"/>
                </a:lnTo>
                <a:lnTo>
                  <a:pt x="97" y="174"/>
                </a:lnTo>
                <a:lnTo>
                  <a:pt x="100" y="176"/>
                </a:lnTo>
                <a:lnTo>
                  <a:pt x="107" y="182"/>
                </a:lnTo>
                <a:lnTo>
                  <a:pt x="107" y="182"/>
                </a:lnTo>
                <a:lnTo>
                  <a:pt x="107" y="184"/>
                </a:lnTo>
                <a:lnTo>
                  <a:pt x="107" y="185"/>
                </a:lnTo>
                <a:lnTo>
                  <a:pt x="105" y="186"/>
                </a:lnTo>
                <a:lnTo>
                  <a:pt x="102" y="186"/>
                </a:lnTo>
                <a:lnTo>
                  <a:pt x="101" y="185"/>
                </a:lnTo>
                <a:lnTo>
                  <a:pt x="101" y="185"/>
                </a:lnTo>
                <a:lnTo>
                  <a:pt x="101" y="184"/>
                </a:lnTo>
                <a:lnTo>
                  <a:pt x="100" y="184"/>
                </a:lnTo>
                <a:lnTo>
                  <a:pt x="97" y="185"/>
                </a:lnTo>
                <a:lnTo>
                  <a:pt x="87" y="191"/>
                </a:lnTo>
                <a:lnTo>
                  <a:pt x="87" y="191"/>
                </a:lnTo>
                <a:lnTo>
                  <a:pt x="82" y="194"/>
                </a:lnTo>
                <a:lnTo>
                  <a:pt x="81" y="196"/>
                </a:lnTo>
                <a:lnTo>
                  <a:pt x="80" y="199"/>
                </a:lnTo>
                <a:lnTo>
                  <a:pt x="77" y="201"/>
                </a:lnTo>
                <a:lnTo>
                  <a:pt x="77" y="201"/>
                </a:lnTo>
                <a:lnTo>
                  <a:pt x="75" y="201"/>
                </a:lnTo>
                <a:lnTo>
                  <a:pt x="74" y="202"/>
                </a:lnTo>
                <a:lnTo>
                  <a:pt x="72" y="205"/>
                </a:lnTo>
                <a:lnTo>
                  <a:pt x="71" y="209"/>
                </a:lnTo>
                <a:lnTo>
                  <a:pt x="70" y="212"/>
                </a:lnTo>
                <a:lnTo>
                  <a:pt x="70" y="212"/>
                </a:lnTo>
                <a:lnTo>
                  <a:pt x="68" y="213"/>
                </a:lnTo>
                <a:lnTo>
                  <a:pt x="67" y="213"/>
                </a:lnTo>
                <a:lnTo>
                  <a:pt x="65" y="211"/>
                </a:lnTo>
                <a:lnTo>
                  <a:pt x="64" y="208"/>
                </a:lnTo>
                <a:lnTo>
                  <a:pt x="63" y="206"/>
                </a:lnTo>
                <a:lnTo>
                  <a:pt x="60" y="206"/>
                </a:lnTo>
                <a:lnTo>
                  <a:pt x="60" y="206"/>
                </a:lnTo>
                <a:lnTo>
                  <a:pt x="57" y="206"/>
                </a:lnTo>
                <a:lnTo>
                  <a:pt x="55" y="208"/>
                </a:lnTo>
                <a:lnTo>
                  <a:pt x="57" y="211"/>
                </a:lnTo>
                <a:lnTo>
                  <a:pt x="58" y="215"/>
                </a:lnTo>
                <a:lnTo>
                  <a:pt x="58" y="215"/>
                </a:lnTo>
                <a:lnTo>
                  <a:pt x="58" y="218"/>
                </a:lnTo>
                <a:lnTo>
                  <a:pt x="57" y="218"/>
                </a:lnTo>
                <a:lnTo>
                  <a:pt x="53" y="218"/>
                </a:lnTo>
                <a:lnTo>
                  <a:pt x="50" y="221"/>
                </a:lnTo>
                <a:lnTo>
                  <a:pt x="50" y="221"/>
                </a:lnTo>
                <a:lnTo>
                  <a:pt x="45" y="222"/>
                </a:lnTo>
                <a:lnTo>
                  <a:pt x="41" y="223"/>
                </a:lnTo>
                <a:lnTo>
                  <a:pt x="37" y="223"/>
                </a:lnTo>
                <a:lnTo>
                  <a:pt x="34" y="226"/>
                </a:lnTo>
                <a:lnTo>
                  <a:pt x="34" y="226"/>
                </a:lnTo>
                <a:lnTo>
                  <a:pt x="34" y="228"/>
                </a:lnTo>
                <a:lnTo>
                  <a:pt x="34" y="228"/>
                </a:lnTo>
                <a:lnTo>
                  <a:pt x="37" y="229"/>
                </a:lnTo>
                <a:lnTo>
                  <a:pt x="40" y="230"/>
                </a:lnTo>
                <a:lnTo>
                  <a:pt x="43" y="232"/>
                </a:lnTo>
                <a:lnTo>
                  <a:pt x="43" y="232"/>
                </a:lnTo>
                <a:lnTo>
                  <a:pt x="43" y="233"/>
                </a:lnTo>
                <a:lnTo>
                  <a:pt x="41" y="233"/>
                </a:lnTo>
                <a:lnTo>
                  <a:pt x="38" y="233"/>
                </a:lnTo>
                <a:lnTo>
                  <a:pt x="28" y="232"/>
                </a:lnTo>
                <a:lnTo>
                  <a:pt x="28" y="232"/>
                </a:lnTo>
                <a:lnTo>
                  <a:pt x="26" y="233"/>
                </a:lnTo>
                <a:lnTo>
                  <a:pt x="24" y="235"/>
                </a:lnTo>
                <a:lnTo>
                  <a:pt x="23" y="238"/>
                </a:lnTo>
                <a:lnTo>
                  <a:pt x="20" y="238"/>
                </a:lnTo>
                <a:lnTo>
                  <a:pt x="20" y="238"/>
                </a:lnTo>
                <a:lnTo>
                  <a:pt x="17" y="239"/>
                </a:lnTo>
                <a:lnTo>
                  <a:pt x="14" y="240"/>
                </a:lnTo>
                <a:lnTo>
                  <a:pt x="13" y="243"/>
                </a:lnTo>
                <a:lnTo>
                  <a:pt x="13" y="246"/>
                </a:lnTo>
                <a:lnTo>
                  <a:pt x="13" y="246"/>
                </a:lnTo>
                <a:lnTo>
                  <a:pt x="14" y="248"/>
                </a:lnTo>
                <a:lnTo>
                  <a:pt x="13" y="249"/>
                </a:lnTo>
                <a:lnTo>
                  <a:pt x="10" y="249"/>
                </a:lnTo>
                <a:lnTo>
                  <a:pt x="7" y="248"/>
                </a:lnTo>
                <a:lnTo>
                  <a:pt x="7" y="248"/>
                </a:lnTo>
                <a:lnTo>
                  <a:pt x="4" y="246"/>
                </a:lnTo>
                <a:lnTo>
                  <a:pt x="3" y="249"/>
                </a:lnTo>
                <a:lnTo>
                  <a:pt x="0" y="255"/>
                </a:lnTo>
                <a:lnTo>
                  <a:pt x="0" y="255"/>
                </a:lnTo>
                <a:lnTo>
                  <a:pt x="0" y="258"/>
                </a:lnTo>
                <a:lnTo>
                  <a:pt x="3" y="259"/>
                </a:lnTo>
                <a:lnTo>
                  <a:pt x="4" y="260"/>
                </a:lnTo>
                <a:lnTo>
                  <a:pt x="6" y="262"/>
                </a:lnTo>
                <a:lnTo>
                  <a:pt x="6" y="262"/>
                </a:lnTo>
                <a:lnTo>
                  <a:pt x="3" y="266"/>
                </a:lnTo>
                <a:lnTo>
                  <a:pt x="3" y="267"/>
                </a:lnTo>
                <a:lnTo>
                  <a:pt x="4" y="269"/>
                </a:lnTo>
                <a:lnTo>
                  <a:pt x="4" y="269"/>
                </a:lnTo>
                <a:lnTo>
                  <a:pt x="6" y="269"/>
                </a:lnTo>
                <a:lnTo>
                  <a:pt x="6" y="272"/>
                </a:lnTo>
                <a:lnTo>
                  <a:pt x="3" y="275"/>
                </a:lnTo>
                <a:lnTo>
                  <a:pt x="3" y="275"/>
                </a:lnTo>
                <a:lnTo>
                  <a:pt x="1" y="276"/>
                </a:lnTo>
                <a:lnTo>
                  <a:pt x="0" y="277"/>
                </a:lnTo>
                <a:lnTo>
                  <a:pt x="3" y="282"/>
                </a:lnTo>
                <a:lnTo>
                  <a:pt x="3" y="282"/>
                </a:lnTo>
                <a:lnTo>
                  <a:pt x="3" y="285"/>
                </a:lnTo>
                <a:lnTo>
                  <a:pt x="1" y="286"/>
                </a:lnTo>
                <a:lnTo>
                  <a:pt x="0" y="289"/>
                </a:lnTo>
                <a:lnTo>
                  <a:pt x="1" y="292"/>
                </a:lnTo>
                <a:lnTo>
                  <a:pt x="1" y="292"/>
                </a:lnTo>
                <a:lnTo>
                  <a:pt x="4" y="293"/>
                </a:lnTo>
                <a:lnTo>
                  <a:pt x="6" y="293"/>
                </a:lnTo>
                <a:lnTo>
                  <a:pt x="8" y="293"/>
                </a:lnTo>
                <a:lnTo>
                  <a:pt x="10" y="295"/>
                </a:lnTo>
                <a:lnTo>
                  <a:pt x="10" y="295"/>
                </a:lnTo>
                <a:lnTo>
                  <a:pt x="11" y="296"/>
                </a:lnTo>
                <a:lnTo>
                  <a:pt x="14" y="296"/>
                </a:lnTo>
                <a:lnTo>
                  <a:pt x="21" y="290"/>
                </a:lnTo>
                <a:lnTo>
                  <a:pt x="21" y="290"/>
                </a:lnTo>
                <a:lnTo>
                  <a:pt x="23" y="289"/>
                </a:lnTo>
                <a:lnTo>
                  <a:pt x="24" y="289"/>
                </a:lnTo>
                <a:lnTo>
                  <a:pt x="26" y="290"/>
                </a:lnTo>
                <a:lnTo>
                  <a:pt x="26" y="293"/>
                </a:lnTo>
                <a:lnTo>
                  <a:pt x="26" y="295"/>
                </a:lnTo>
                <a:lnTo>
                  <a:pt x="24" y="295"/>
                </a:lnTo>
                <a:lnTo>
                  <a:pt x="24" y="295"/>
                </a:lnTo>
                <a:lnTo>
                  <a:pt x="20" y="295"/>
                </a:lnTo>
                <a:lnTo>
                  <a:pt x="17" y="296"/>
                </a:lnTo>
                <a:lnTo>
                  <a:pt x="16" y="299"/>
                </a:lnTo>
                <a:lnTo>
                  <a:pt x="16" y="302"/>
                </a:lnTo>
                <a:lnTo>
                  <a:pt x="16" y="302"/>
                </a:lnTo>
                <a:lnTo>
                  <a:pt x="14" y="304"/>
                </a:lnTo>
                <a:lnTo>
                  <a:pt x="13" y="304"/>
                </a:lnTo>
                <a:lnTo>
                  <a:pt x="10" y="303"/>
                </a:lnTo>
                <a:lnTo>
                  <a:pt x="8" y="300"/>
                </a:lnTo>
                <a:lnTo>
                  <a:pt x="8" y="300"/>
                </a:lnTo>
                <a:lnTo>
                  <a:pt x="8" y="299"/>
                </a:lnTo>
                <a:lnTo>
                  <a:pt x="7" y="297"/>
                </a:lnTo>
                <a:lnTo>
                  <a:pt x="6" y="299"/>
                </a:lnTo>
                <a:lnTo>
                  <a:pt x="3" y="302"/>
                </a:lnTo>
                <a:lnTo>
                  <a:pt x="3" y="303"/>
                </a:lnTo>
                <a:lnTo>
                  <a:pt x="4" y="304"/>
                </a:lnTo>
                <a:lnTo>
                  <a:pt x="4" y="304"/>
                </a:lnTo>
                <a:lnTo>
                  <a:pt x="4" y="307"/>
                </a:lnTo>
                <a:lnTo>
                  <a:pt x="4" y="309"/>
                </a:lnTo>
                <a:lnTo>
                  <a:pt x="3" y="312"/>
                </a:lnTo>
                <a:lnTo>
                  <a:pt x="3" y="314"/>
                </a:lnTo>
                <a:lnTo>
                  <a:pt x="3" y="314"/>
                </a:lnTo>
                <a:lnTo>
                  <a:pt x="3" y="316"/>
                </a:lnTo>
                <a:lnTo>
                  <a:pt x="6" y="316"/>
                </a:lnTo>
                <a:lnTo>
                  <a:pt x="8" y="316"/>
                </a:lnTo>
                <a:lnTo>
                  <a:pt x="11" y="313"/>
                </a:lnTo>
                <a:lnTo>
                  <a:pt x="11" y="313"/>
                </a:lnTo>
                <a:lnTo>
                  <a:pt x="14" y="310"/>
                </a:lnTo>
                <a:lnTo>
                  <a:pt x="16" y="310"/>
                </a:lnTo>
                <a:lnTo>
                  <a:pt x="18" y="312"/>
                </a:lnTo>
                <a:lnTo>
                  <a:pt x="20" y="314"/>
                </a:lnTo>
                <a:lnTo>
                  <a:pt x="20" y="314"/>
                </a:lnTo>
                <a:lnTo>
                  <a:pt x="20" y="316"/>
                </a:lnTo>
                <a:lnTo>
                  <a:pt x="18" y="316"/>
                </a:lnTo>
                <a:lnTo>
                  <a:pt x="17" y="317"/>
                </a:lnTo>
                <a:lnTo>
                  <a:pt x="16" y="320"/>
                </a:lnTo>
                <a:lnTo>
                  <a:pt x="16" y="320"/>
                </a:lnTo>
                <a:lnTo>
                  <a:pt x="16" y="323"/>
                </a:lnTo>
                <a:lnTo>
                  <a:pt x="14" y="323"/>
                </a:lnTo>
                <a:lnTo>
                  <a:pt x="11" y="323"/>
                </a:lnTo>
                <a:lnTo>
                  <a:pt x="10" y="326"/>
                </a:lnTo>
                <a:lnTo>
                  <a:pt x="10" y="326"/>
                </a:lnTo>
                <a:lnTo>
                  <a:pt x="8" y="327"/>
                </a:lnTo>
                <a:lnTo>
                  <a:pt x="10" y="329"/>
                </a:lnTo>
                <a:lnTo>
                  <a:pt x="14" y="333"/>
                </a:lnTo>
                <a:lnTo>
                  <a:pt x="21" y="337"/>
                </a:lnTo>
                <a:lnTo>
                  <a:pt x="26" y="339"/>
                </a:lnTo>
                <a:lnTo>
                  <a:pt x="26" y="339"/>
                </a:lnTo>
                <a:lnTo>
                  <a:pt x="34" y="341"/>
                </a:lnTo>
                <a:lnTo>
                  <a:pt x="38" y="343"/>
                </a:lnTo>
                <a:lnTo>
                  <a:pt x="45" y="343"/>
                </a:lnTo>
                <a:lnTo>
                  <a:pt x="45" y="343"/>
                </a:lnTo>
                <a:lnTo>
                  <a:pt x="48" y="343"/>
                </a:lnTo>
                <a:lnTo>
                  <a:pt x="53" y="340"/>
                </a:lnTo>
                <a:lnTo>
                  <a:pt x="63" y="333"/>
                </a:lnTo>
                <a:lnTo>
                  <a:pt x="75" y="322"/>
                </a:lnTo>
                <a:lnTo>
                  <a:pt x="75" y="322"/>
                </a:lnTo>
                <a:lnTo>
                  <a:pt x="77" y="320"/>
                </a:lnTo>
                <a:lnTo>
                  <a:pt x="80" y="320"/>
                </a:lnTo>
                <a:lnTo>
                  <a:pt x="82" y="320"/>
                </a:lnTo>
                <a:lnTo>
                  <a:pt x="85" y="319"/>
                </a:lnTo>
                <a:lnTo>
                  <a:pt x="85" y="319"/>
                </a:lnTo>
                <a:lnTo>
                  <a:pt x="88" y="316"/>
                </a:lnTo>
                <a:lnTo>
                  <a:pt x="88" y="313"/>
                </a:lnTo>
                <a:lnTo>
                  <a:pt x="88" y="310"/>
                </a:lnTo>
                <a:lnTo>
                  <a:pt x="90" y="307"/>
                </a:lnTo>
                <a:lnTo>
                  <a:pt x="90" y="307"/>
                </a:lnTo>
                <a:lnTo>
                  <a:pt x="91" y="309"/>
                </a:lnTo>
                <a:lnTo>
                  <a:pt x="92" y="312"/>
                </a:lnTo>
                <a:lnTo>
                  <a:pt x="95" y="314"/>
                </a:lnTo>
                <a:lnTo>
                  <a:pt x="97" y="316"/>
                </a:lnTo>
                <a:lnTo>
                  <a:pt x="97" y="316"/>
                </a:lnTo>
                <a:lnTo>
                  <a:pt x="100" y="319"/>
                </a:lnTo>
                <a:lnTo>
                  <a:pt x="100" y="323"/>
                </a:lnTo>
                <a:lnTo>
                  <a:pt x="100" y="323"/>
                </a:lnTo>
                <a:lnTo>
                  <a:pt x="102" y="323"/>
                </a:lnTo>
                <a:lnTo>
                  <a:pt x="105" y="324"/>
                </a:lnTo>
                <a:lnTo>
                  <a:pt x="105" y="324"/>
                </a:lnTo>
                <a:lnTo>
                  <a:pt x="107" y="324"/>
                </a:lnTo>
                <a:lnTo>
                  <a:pt x="107" y="324"/>
                </a:lnTo>
                <a:lnTo>
                  <a:pt x="108" y="322"/>
                </a:lnTo>
                <a:lnTo>
                  <a:pt x="109" y="313"/>
                </a:lnTo>
                <a:lnTo>
                  <a:pt x="109" y="313"/>
                </a:lnTo>
                <a:lnTo>
                  <a:pt x="111" y="307"/>
                </a:lnTo>
                <a:lnTo>
                  <a:pt x="111" y="304"/>
                </a:lnTo>
                <a:lnTo>
                  <a:pt x="111" y="300"/>
                </a:lnTo>
                <a:lnTo>
                  <a:pt x="111" y="300"/>
                </a:lnTo>
                <a:lnTo>
                  <a:pt x="111" y="299"/>
                </a:lnTo>
                <a:lnTo>
                  <a:pt x="112" y="299"/>
                </a:lnTo>
                <a:lnTo>
                  <a:pt x="115" y="299"/>
                </a:lnTo>
                <a:lnTo>
                  <a:pt x="119" y="299"/>
                </a:lnTo>
                <a:lnTo>
                  <a:pt x="122" y="297"/>
                </a:lnTo>
                <a:lnTo>
                  <a:pt x="122" y="297"/>
                </a:lnTo>
                <a:lnTo>
                  <a:pt x="124" y="289"/>
                </a:lnTo>
                <a:lnTo>
                  <a:pt x="122" y="285"/>
                </a:lnTo>
                <a:lnTo>
                  <a:pt x="121" y="282"/>
                </a:lnTo>
                <a:lnTo>
                  <a:pt x="121" y="282"/>
                </a:lnTo>
                <a:lnTo>
                  <a:pt x="119" y="280"/>
                </a:lnTo>
                <a:lnTo>
                  <a:pt x="118" y="277"/>
                </a:lnTo>
                <a:lnTo>
                  <a:pt x="118" y="275"/>
                </a:lnTo>
                <a:lnTo>
                  <a:pt x="121" y="275"/>
                </a:lnTo>
                <a:lnTo>
                  <a:pt x="121" y="275"/>
                </a:lnTo>
                <a:lnTo>
                  <a:pt x="122" y="273"/>
                </a:lnTo>
                <a:lnTo>
                  <a:pt x="125" y="272"/>
                </a:lnTo>
                <a:lnTo>
                  <a:pt x="127" y="269"/>
                </a:lnTo>
                <a:lnTo>
                  <a:pt x="127" y="266"/>
                </a:lnTo>
                <a:lnTo>
                  <a:pt x="127" y="266"/>
                </a:lnTo>
                <a:lnTo>
                  <a:pt x="125" y="262"/>
                </a:lnTo>
                <a:lnTo>
                  <a:pt x="121" y="260"/>
                </a:lnTo>
                <a:lnTo>
                  <a:pt x="118" y="258"/>
                </a:lnTo>
                <a:lnTo>
                  <a:pt x="115" y="255"/>
                </a:lnTo>
                <a:lnTo>
                  <a:pt x="115" y="255"/>
                </a:lnTo>
                <a:lnTo>
                  <a:pt x="117" y="250"/>
                </a:lnTo>
                <a:lnTo>
                  <a:pt x="117" y="248"/>
                </a:lnTo>
                <a:lnTo>
                  <a:pt x="118" y="243"/>
                </a:lnTo>
                <a:lnTo>
                  <a:pt x="117" y="239"/>
                </a:lnTo>
                <a:lnTo>
                  <a:pt x="117" y="239"/>
                </a:lnTo>
                <a:lnTo>
                  <a:pt x="115" y="233"/>
                </a:lnTo>
                <a:lnTo>
                  <a:pt x="115" y="229"/>
                </a:lnTo>
                <a:lnTo>
                  <a:pt x="117" y="226"/>
                </a:lnTo>
                <a:lnTo>
                  <a:pt x="117" y="223"/>
                </a:lnTo>
                <a:lnTo>
                  <a:pt x="117" y="223"/>
                </a:lnTo>
                <a:lnTo>
                  <a:pt x="115" y="221"/>
                </a:lnTo>
                <a:lnTo>
                  <a:pt x="115" y="216"/>
                </a:lnTo>
                <a:lnTo>
                  <a:pt x="115" y="212"/>
                </a:lnTo>
                <a:lnTo>
                  <a:pt x="118" y="206"/>
                </a:lnTo>
                <a:lnTo>
                  <a:pt x="118" y="206"/>
                </a:lnTo>
                <a:lnTo>
                  <a:pt x="122" y="202"/>
                </a:lnTo>
                <a:lnTo>
                  <a:pt x="127" y="198"/>
                </a:lnTo>
                <a:lnTo>
                  <a:pt x="131" y="196"/>
                </a:lnTo>
                <a:lnTo>
                  <a:pt x="134" y="196"/>
                </a:lnTo>
                <a:lnTo>
                  <a:pt x="134" y="196"/>
                </a:lnTo>
                <a:lnTo>
                  <a:pt x="139" y="198"/>
                </a:lnTo>
                <a:lnTo>
                  <a:pt x="142" y="198"/>
                </a:lnTo>
                <a:lnTo>
                  <a:pt x="145" y="195"/>
                </a:lnTo>
                <a:lnTo>
                  <a:pt x="145" y="195"/>
                </a:lnTo>
                <a:lnTo>
                  <a:pt x="146" y="189"/>
                </a:lnTo>
                <a:lnTo>
                  <a:pt x="146" y="188"/>
                </a:lnTo>
                <a:lnTo>
                  <a:pt x="145" y="186"/>
                </a:lnTo>
                <a:lnTo>
                  <a:pt x="145" y="186"/>
                </a:lnTo>
                <a:lnTo>
                  <a:pt x="142" y="185"/>
                </a:lnTo>
                <a:lnTo>
                  <a:pt x="141" y="184"/>
                </a:lnTo>
                <a:lnTo>
                  <a:pt x="139" y="182"/>
                </a:lnTo>
                <a:lnTo>
                  <a:pt x="141" y="178"/>
                </a:lnTo>
                <a:lnTo>
                  <a:pt x="141" y="178"/>
                </a:lnTo>
                <a:lnTo>
                  <a:pt x="148" y="168"/>
                </a:lnTo>
                <a:lnTo>
                  <a:pt x="151" y="162"/>
                </a:lnTo>
                <a:lnTo>
                  <a:pt x="152" y="158"/>
                </a:lnTo>
                <a:lnTo>
                  <a:pt x="152" y="158"/>
                </a:lnTo>
                <a:lnTo>
                  <a:pt x="151" y="148"/>
                </a:lnTo>
                <a:lnTo>
                  <a:pt x="151" y="145"/>
                </a:lnTo>
                <a:lnTo>
                  <a:pt x="152" y="142"/>
                </a:lnTo>
                <a:lnTo>
                  <a:pt x="152" y="142"/>
                </a:lnTo>
                <a:lnTo>
                  <a:pt x="155" y="142"/>
                </a:lnTo>
                <a:lnTo>
                  <a:pt x="158" y="142"/>
                </a:lnTo>
                <a:lnTo>
                  <a:pt x="161" y="141"/>
                </a:lnTo>
                <a:lnTo>
                  <a:pt x="165" y="139"/>
                </a:lnTo>
                <a:lnTo>
                  <a:pt x="165" y="139"/>
                </a:lnTo>
                <a:lnTo>
                  <a:pt x="166" y="138"/>
                </a:lnTo>
                <a:lnTo>
                  <a:pt x="166" y="135"/>
                </a:lnTo>
                <a:lnTo>
                  <a:pt x="166" y="132"/>
                </a:lnTo>
                <a:lnTo>
                  <a:pt x="168" y="131"/>
                </a:lnTo>
                <a:lnTo>
                  <a:pt x="168" y="131"/>
                </a:lnTo>
                <a:lnTo>
                  <a:pt x="172" y="125"/>
                </a:lnTo>
                <a:lnTo>
                  <a:pt x="176" y="118"/>
                </a:lnTo>
                <a:lnTo>
                  <a:pt x="176" y="118"/>
                </a:lnTo>
                <a:lnTo>
                  <a:pt x="179" y="115"/>
                </a:lnTo>
                <a:lnTo>
                  <a:pt x="181" y="112"/>
                </a:lnTo>
                <a:lnTo>
                  <a:pt x="179" y="110"/>
                </a:lnTo>
                <a:lnTo>
                  <a:pt x="179" y="110"/>
                </a:lnTo>
                <a:lnTo>
                  <a:pt x="179" y="108"/>
                </a:lnTo>
                <a:lnTo>
                  <a:pt x="181" y="105"/>
                </a:lnTo>
                <a:lnTo>
                  <a:pt x="183" y="102"/>
                </a:lnTo>
                <a:lnTo>
                  <a:pt x="185" y="98"/>
                </a:lnTo>
                <a:lnTo>
                  <a:pt x="185" y="98"/>
                </a:lnTo>
                <a:lnTo>
                  <a:pt x="185" y="95"/>
                </a:lnTo>
                <a:lnTo>
                  <a:pt x="189" y="93"/>
                </a:lnTo>
                <a:lnTo>
                  <a:pt x="192" y="90"/>
                </a:lnTo>
                <a:lnTo>
                  <a:pt x="196" y="90"/>
                </a:lnTo>
                <a:lnTo>
                  <a:pt x="196" y="90"/>
                </a:lnTo>
                <a:lnTo>
                  <a:pt x="205" y="90"/>
                </a:lnTo>
                <a:lnTo>
                  <a:pt x="208" y="88"/>
                </a:lnTo>
                <a:lnTo>
                  <a:pt x="209" y="85"/>
                </a:lnTo>
                <a:lnTo>
                  <a:pt x="209" y="85"/>
                </a:lnTo>
                <a:lnTo>
                  <a:pt x="208" y="77"/>
                </a:lnTo>
                <a:lnTo>
                  <a:pt x="209" y="74"/>
                </a:lnTo>
                <a:lnTo>
                  <a:pt x="210" y="73"/>
                </a:lnTo>
                <a:lnTo>
                  <a:pt x="212" y="74"/>
                </a:lnTo>
                <a:lnTo>
                  <a:pt x="212" y="74"/>
                </a:lnTo>
                <a:lnTo>
                  <a:pt x="218" y="75"/>
                </a:lnTo>
                <a:lnTo>
                  <a:pt x="222" y="75"/>
                </a:lnTo>
                <a:lnTo>
                  <a:pt x="226" y="75"/>
                </a:lnTo>
                <a:lnTo>
                  <a:pt x="229" y="77"/>
                </a:lnTo>
                <a:lnTo>
                  <a:pt x="229" y="77"/>
                </a:lnTo>
                <a:lnTo>
                  <a:pt x="233" y="78"/>
                </a:lnTo>
                <a:lnTo>
                  <a:pt x="236" y="78"/>
                </a:lnTo>
                <a:lnTo>
                  <a:pt x="239" y="77"/>
                </a:lnTo>
                <a:lnTo>
                  <a:pt x="240" y="74"/>
                </a:lnTo>
                <a:lnTo>
                  <a:pt x="240" y="74"/>
                </a:lnTo>
                <a:lnTo>
                  <a:pt x="240" y="68"/>
                </a:lnTo>
                <a:lnTo>
                  <a:pt x="242" y="64"/>
                </a:lnTo>
                <a:lnTo>
                  <a:pt x="245" y="61"/>
                </a:lnTo>
                <a:lnTo>
                  <a:pt x="246" y="61"/>
                </a:lnTo>
                <a:lnTo>
                  <a:pt x="249" y="61"/>
                </a:lnTo>
                <a:lnTo>
                  <a:pt x="249" y="61"/>
                </a:lnTo>
                <a:lnTo>
                  <a:pt x="250" y="63"/>
                </a:lnTo>
                <a:lnTo>
                  <a:pt x="250" y="63"/>
                </a:lnTo>
                <a:lnTo>
                  <a:pt x="253" y="58"/>
                </a:lnTo>
                <a:lnTo>
                  <a:pt x="255" y="57"/>
                </a:lnTo>
                <a:lnTo>
                  <a:pt x="259" y="54"/>
                </a:lnTo>
                <a:lnTo>
                  <a:pt x="262" y="54"/>
                </a:lnTo>
                <a:lnTo>
                  <a:pt x="262" y="54"/>
                </a:lnTo>
                <a:lnTo>
                  <a:pt x="266" y="57"/>
                </a:lnTo>
                <a:lnTo>
                  <a:pt x="269" y="61"/>
                </a:lnTo>
                <a:lnTo>
                  <a:pt x="273" y="65"/>
                </a:lnTo>
                <a:lnTo>
                  <a:pt x="279" y="67"/>
                </a:lnTo>
                <a:lnTo>
                  <a:pt x="279" y="67"/>
                </a:lnTo>
                <a:lnTo>
                  <a:pt x="290" y="70"/>
                </a:lnTo>
                <a:lnTo>
                  <a:pt x="293" y="70"/>
                </a:lnTo>
                <a:lnTo>
                  <a:pt x="296" y="68"/>
                </a:lnTo>
                <a:lnTo>
                  <a:pt x="296" y="68"/>
                </a:lnTo>
                <a:lnTo>
                  <a:pt x="299" y="67"/>
                </a:lnTo>
                <a:lnTo>
                  <a:pt x="302" y="68"/>
                </a:lnTo>
                <a:lnTo>
                  <a:pt x="304" y="68"/>
                </a:lnTo>
                <a:lnTo>
                  <a:pt x="309" y="68"/>
                </a:lnTo>
                <a:lnTo>
                  <a:pt x="309" y="68"/>
                </a:lnTo>
                <a:lnTo>
                  <a:pt x="310" y="68"/>
                </a:lnTo>
                <a:lnTo>
                  <a:pt x="311" y="70"/>
                </a:lnTo>
                <a:lnTo>
                  <a:pt x="313" y="71"/>
                </a:lnTo>
                <a:lnTo>
                  <a:pt x="314" y="73"/>
                </a:lnTo>
                <a:lnTo>
                  <a:pt x="317" y="71"/>
                </a:lnTo>
                <a:lnTo>
                  <a:pt x="317" y="71"/>
                </a:lnTo>
                <a:lnTo>
                  <a:pt x="320" y="67"/>
                </a:lnTo>
                <a:lnTo>
                  <a:pt x="320" y="64"/>
                </a:lnTo>
                <a:lnTo>
                  <a:pt x="321" y="63"/>
                </a:lnTo>
                <a:lnTo>
                  <a:pt x="324" y="63"/>
                </a:lnTo>
                <a:lnTo>
                  <a:pt x="324" y="63"/>
                </a:lnTo>
                <a:lnTo>
                  <a:pt x="327" y="63"/>
                </a:lnTo>
                <a:lnTo>
                  <a:pt x="329" y="61"/>
                </a:lnTo>
                <a:lnTo>
                  <a:pt x="329" y="57"/>
                </a:lnTo>
                <a:lnTo>
                  <a:pt x="327" y="48"/>
                </a:lnTo>
                <a:lnTo>
                  <a:pt x="327" y="48"/>
                </a:lnTo>
                <a:lnTo>
                  <a:pt x="329" y="47"/>
                </a:lnTo>
                <a:lnTo>
                  <a:pt x="329" y="46"/>
                </a:lnTo>
                <a:lnTo>
                  <a:pt x="333" y="43"/>
                </a:lnTo>
                <a:lnTo>
                  <a:pt x="336" y="41"/>
                </a:lnTo>
                <a:lnTo>
                  <a:pt x="337" y="38"/>
                </a:lnTo>
                <a:lnTo>
                  <a:pt x="337" y="38"/>
                </a:lnTo>
                <a:lnTo>
                  <a:pt x="339" y="37"/>
                </a:lnTo>
                <a:lnTo>
                  <a:pt x="340" y="36"/>
                </a:lnTo>
                <a:lnTo>
                  <a:pt x="344" y="36"/>
                </a:lnTo>
                <a:lnTo>
                  <a:pt x="350" y="36"/>
                </a:lnTo>
                <a:lnTo>
                  <a:pt x="353" y="34"/>
                </a:lnTo>
                <a:lnTo>
                  <a:pt x="353" y="34"/>
                </a:lnTo>
                <a:lnTo>
                  <a:pt x="356" y="31"/>
                </a:lnTo>
                <a:lnTo>
                  <a:pt x="360" y="31"/>
                </a:lnTo>
                <a:lnTo>
                  <a:pt x="363" y="31"/>
                </a:lnTo>
                <a:lnTo>
                  <a:pt x="367" y="34"/>
                </a:lnTo>
                <a:lnTo>
                  <a:pt x="367" y="34"/>
                </a:lnTo>
                <a:lnTo>
                  <a:pt x="370" y="37"/>
                </a:lnTo>
                <a:lnTo>
                  <a:pt x="375" y="40"/>
                </a:lnTo>
                <a:lnTo>
                  <a:pt x="381" y="43"/>
                </a:lnTo>
                <a:lnTo>
                  <a:pt x="383" y="44"/>
                </a:lnTo>
                <a:lnTo>
                  <a:pt x="383" y="46"/>
                </a:lnTo>
                <a:lnTo>
                  <a:pt x="383" y="46"/>
                </a:lnTo>
                <a:lnTo>
                  <a:pt x="383" y="54"/>
                </a:lnTo>
                <a:lnTo>
                  <a:pt x="383" y="54"/>
                </a:lnTo>
                <a:lnTo>
                  <a:pt x="387" y="51"/>
                </a:lnTo>
                <a:lnTo>
                  <a:pt x="391" y="51"/>
                </a:lnTo>
                <a:lnTo>
                  <a:pt x="391" y="51"/>
                </a:lnTo>
                <a:lnTo>
                  <a:pt x="394" y="50"/>
                </a:lnTo>
                <a:lnTo>
                  <a:pt x="397" y="47"/>
                </a:lnTo>
                <a:lnTo>
                  <a:pt x="401" y="46"/>
                </a:lnTo>
                <a:lnTo>
                  <a:pt x="404" y="44"/>
                </a:lnTo>
                <a:lnTo>
                  <a:pt x="404" y="44"/>
                </a:lnTo>
                <a:lnTo>
                  <a:pt x="407" y="44"/>
                </a:lnTo>
                <a:lnTo>
                  <a:pt x="408" y="44"/>
                </a:lnTo>
                <a:lnTo>
                  <a:pt x="411" y="43"/>
                </a:lnTo>
                <a:lnTo>
                  <a:pt x="412" y="38"/>
                </a:lnTo>
                <a:lnTo>
                  <a:pt x="412" y="38"/>
                </a:lnTo>
                <a:lnTo>
                  <a:pt x="408" y="37"/>
                </a:lnTo>
                <a:lnTo>
                  <a:pt x="405" y="37"/>
                </a:lnTo>
                <a:lnTo>
                  <a:pt x="401" y="37"/>
                </a:lnTo>
                <a:lnTo>
                  <a:pt x="400" y="40"/>
                </a:lnTo>
                <a:lnTo>
                  <a:pt x="400" y="4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40" name="Freeform 328">
            <a:extLst>
              <a:ext uri="{FF2B5EF4-FFF2-40B4-BE49-F238E27FC236}">
                <a16:creationId xmlns:a16="http://schemas.microsoft.com/office/drawing/2014/main" id="{C0CE7DE2-7813-482D-963C-27817483EF59}"/>
              </a:ext>
            </a:extLst>
          </p:cNvPr>
          <p:cNvSpPr>
            <a:spLocks noEditPoints="1"/>
          </p:cNvSpPr>
          <p:nvPr userDrawn="1"/>
        </p:nvSpPr>
        <p:spPr bwMode="gray">
          <a:xfrm>
            <a:off x="7037763" y="2325051"/>
            <a:ext cx="352438" cy="351138"/>
          </a:xfrm>
          <a:custGeom>
            <a:avLst/>
            <a:gdLst/>
            <a:ahLst/>
            <a:cxnLst>
              <a:cxn ang="0">
                <a:pos x="246" y="28"/>
              </a:cxn>
              <a:cxn ang="0">
                <a:pos x="213" y="11"/>
              </a:cxn>
              <a:cxn ang="0">
                <a:pos x="196" y="1"/>
              </a:cxn>
              <a:cxn ang="0">
                <a:pos x="197" y="13"/>
              </a:cxn>
              <a:cxn ang="0">
                <a:pos x="192" y="34"/>
              </a:cxn>
              <a:cxn ang="0">
                <a:pos x="186" y="44"/>
              </a:cxn>
              <a:cxn ang="0">
                <a:pos x="170" y="55"/>
              </a:cxn>
              <a:cxn ang="0">
                <a:pos x="167" y="64"/>
              </a:cxn>
              <a:cxn ang="0">
                <a:pos x="169" y="78"/>
              </a:cxn>
              <a:cxn ang="0">
                <a:pos x="185" y="71"/>
              </a:cxn>
              <a:cxn ang="0">
                <a:pos x="175" y="61"/>
              </a:cxn>
              <a:cxn ang="0">
                <a:pos x="183" y="58"/>
              </a:cxn>
              <a:cxn ang="0">
                <a:pos x="212" y="64"/>
              </a:cxn>
              <a:cxn ang="0">
                <a:pos x="223" y="59"/>
              </a:cxn>
              <a:cxn ang="0">
                <a:pos x="246" y="49"/>
              </a:cxn>
              <a:cxn ang="0">
                <a:pos x="254" y="40"/>
              </a:cxn>
              <a:cxn ang="0">
                <a:pos x="271" y="21"/>
              </a:cxn>
              <a:cxn ang="0">
                <a:pos x="257" y="25"/>
              </a:cxn>
              <a:cxn ang="0">
                <a:pos x="165" y="108"/>
              </a:cxn>
              <a:cxn ang="0">
                <a:pos x="165" y="121"/>
              </a:cxn>
              <a:cxn ang="0">
                <a:pos x="157" y="139"/>
              </a:cxn>
              <a:cxn ang="0">
                <a:pos x="143" y="155"/>
              </a:cxn>
              <a:cxn ang="0">
                <a:pos x="125" y="162"/>
              </a:cxn>
              <a:cxn ang="0">
                <a:pos x="118" y="156"/>
              </a:cxn>
              <a:cxn ang="0">
                <a:pos x="111" y="175"/>
              </a:cxn>
              <a:cxn ang="0">
                <a:pos x="102" y="186"/>
              </a:cxn>
              <a:cxn ang="0">
                <a:pos x="92" y="187"/>
              </a:cxn>
              <a:cxn ang="0">
                <a:pos x="68" y="190"/>
              </a:cxn>
              <a:cxn ang="0">
                <a:pos x="49" y="192"/>
              </a:cxn>
              <a:cxn ang="0">
                <a:pos x="19" y="212"/>
              </a:cxn>
              <a:cxn ang="0">
                <a:pos x="29" y="217"/>
              </a:cxn>
              <a:cxn ang="0">
                <a:pos x="58" y="209"/>
              </a:cxn>
              <a:cxn ang="0">
                <a:pos x="91" y="207"/>
              </a:cxn>
              <a:cxn ang="0">
                <a:pos x="91" y="223"/>
              </a:cxn>
              <a:cxn ang="0">
                <a:pos x="115" y="210"/>
              </a:cxn>
              <a:cxn ang="0">
                <a:pos x="118" y="205"/>
              </a:cxn>
              <a:cxn ang="0">
                <a:pos x="139" y="203"/>
              </a:cxn>
              <a:cxn ang="0">
                <a:pos x="150" y="205"/>
              </a:cxn>
              <a:cxn ang="0">
                <a:pos x="160" y="195"/>
              </a:cxn>
              <a:cxn ang="0">
                <a:pos x="175" y="193"/>
              </a:cxn>
              <a:cxn ang="0">
                <a:pos x="179" y="170"/>
              </a:cxn>
              <a:cxn ang="0">
                <a:pos x="183" y="145"/>
              </a:cxn>
              <a:cxn ang="0">
                <a:pos x="199" y="125"/>
              </a:cxn>
              <a:cxn ang="0">
                <a:pos x="189" y="82"/>
              </a:cxn>
              <a:cxn ang="0">
                <a:pos x="65" y="215"/>
              </a:cxn>
              <a:cxn ang="0">
                <a:pos x="45" y="222"/>
              </a:cxn>
              <a:cxn ang="0">
                <a:pos x="51" y="240"/>
              </a:cxn>
              <a:cxn ang="0">
                <a:pos x="62" y="230"/>
              </a:cxn>
              <a:cxn ang="0">
                <a:pos x="78" y="226"/>
              </a:cxn>
              <a:cxn ang="0">
                <a:pos x="74" y="210"/>
              </a:cxn>
              <a:cxn ang="0">
                <a:pos x="32" y="233"/>
              </a:cxn>
              <a:cxn ang="0">
                <a:pos x="22" y="224"/>
              </a:cxn>
              <a:cxn ang="0">
                <a:pos x="7" y="227"/>
              </a:cxn>
              <a:cxn ang="0">
                <a:pos x="5" y="240"/>
              </a:cxn>
              <a:cxn ang="0">
                <a:pos x="12" y="237"/>
              </a:cxn>
              <a:cxn ang="0">
                <a:pos x="14" y="269"/>
              </a:cxn>
              <a:cxn ang="0">
                <a:pos x="27" y="260"/>
              </a:cxn>
              <a:cxn ang="0">
                <a:pos x="37" y="236"/>
              </a:cxn>
            </a:cxnLst>
            <a:rect l="0" t="0" r="r" b="b"/>
            <a:pathLst>
              <a:path w="271" h="270">
                <a:moveTo>
                  <a:pt x="257" y="25"/>
                </a:moveTo>
                <a:lnTo>
                  <a:pt x="257" y="25"/>
                </a:lnTo>
                <a:lnTo>
                  <a:pt x="256" y="24"/>
                </a:lnTo>
                <a:lnTo>
                  <a:pt x="254" y="24"/>
                </a:lnTo>
                <a:lnTo>
                  <a:pt x="250" y="25"/>
                </a:lnTo>
                <a:lnTo>
                  <a:pt x="246" y="28"/>
                </a:lnTo>
                <a:lnTo>
                  <a:pt x="241" y="30"/>
                </a:lnTo>
                <a:lnTo>
                  <a:pt x="241" y="30"/>
                </a:lnTo>
                <a:lnTo>
                  <a:pt x="237" y="30"/>
                </a:lnTo>
                <a:lnTo>
                  <a:pt x="233" y="27"/>
                </a:lnTo>
                <a:lnTo>
                  <a:pt x="223" y="21"/>
                </a:lnTo>
                <a:lnTo>
                  <a:pt x="213" y="11"/>
                </a:lnTo>
                <a:lnTo>
                  <a:pt x="206" y="4"/>
                </a:lnTo>
                <a:lnTo>
                  <a:pt x="206" y="4"/>
                </a:lnTo>
                <a:lnTo>
                  <a:pt x="203" y="1"/>
                </a:lnTo>
                <a:lnTo>
                  <a:pt x="202" y="0"/>
                </a:lnTo>
                <a:lnTo>
                  <a:pt x="199" y="0"/>
                </a:lnTo>
                <a:lnTo>
                  <a:pt x="196" y="1"/>
                </a:lnTo>
                <a:lnTo>
                  <a:pt x="194" y="3"/>
                </a:lnTo>
                <a:lnTo>
                  <a:pt x="194" y="4"/>
                </a:lnTo>
                <a:lnTo>
                  <a:pt x="194" y="7"/>
                </a:lnTo>
                <a:lnTo>
                  <a:pt x="196" y="8"/>
                </a:lnTo>
                <a:lnTo>
                  <a:pt x="196" y="8"/>
                </a:lnTo>
                <a:lnTo>
                  <a:pt x="197" y="13"/>
                </a:lnTo>
                <a:lnTo>
                  <a:pt x="196" y="15"/>
                </a:lnTo>
                <a:lnTo>
                  <a:pt x="194" y="20"/>
                </a:lnTo>
                <a:lnTo>
                  <a:pt x="194" y="25"/>
                </a:lnTo>
                <a:lnTo>
                  <a:pt x="194" y="25"/>
                </a:lnTo>
                <a:lnTo>
                  <a:pt x="193" y="30"/>
                </a:lnTo>
                <a:lnTo>
                  <a:pt x="192" y="34"/>
                </a:lnTo>
                <a:lnTo>
                  <a:pt x="190" y="37"/>
                </a:lnTo>
                <a:lnTo>
                  <a:pt x="190" y="40"/>
                </a:lnTo>
                <a:lnTo>
                  <a:pt x="190" y="40"/>
                </a:lnTo>
                <a:lnTo>
                  <a:pt x="189" y="41"/>
                </a:lnTo>
                <a:lnTo>
                  <a:pt x="189" y="42"/>
                </a:lnTo>
                <a:lnTo>
                  <a:pt x="186" y="44"/>
                </a:lnTo>
                <a:lnTo>
                  <a:pt x="176" y="45"/>
                </a:lnTo>
                <a:lnTo>
                  <a:pt x="176" y="45"/>
                </a:lnTo>
                <a:lnTo>
                  <a:pt x="173" y="47"/>
                </a:lnTo>
                <a:lnTo>
                  <a:pt x="173" y="49"/>
                </a:lnTo>
                <a:lnTo>
                  <a:pt x="173" y="52"/>
                </a:lnTo>
                <a:lnTo>
                  <a:pt x="170" y="55"/>
                </a:lnTo>
                <a:lnTo>
                  <a:pt x="170" y="55"/>
                </a:lnTo>
                <a:lnTo>
                  <a:pt x="166" y="57"/>
                </a:lnTo>
                <a:lnTo>
                  <a:pt x="165" y="59"/>
                </a:lnTo>
                <a:lnTo>
                  <a:pt x="166" y="62"/>
                </a:lnTo>
                <a:lnTo>
                  <a:pt x="167" y="64"/>
                </a:lnTo>
                <a:lnTo>
                  <a:pt x="167" y="64"/>
                </a:lnTo>
                <a:lnTo>
                  <a:pt x="169" y="67"/>
                </a:lnTo>
                <a:lnTo>
                  <a:pt x="169" y="69"/>
                </a:lnTo>
                <a:lnTo>
                  <a:pt x="167" y="77"/>
                </a:lnTo>
                <a:lnTo>
                  <a:pt x="167" y="77"/>
                </a:lnTo>
                <a:lnTo>
                  <a:pt x="167" y="78"/>
                </a:lnTo>
                <a:lnTo>
                  <a:pt x="169" y="78"/>
                </a:lnTo>
                <a:lnTo>
                  <a:pt x="176" y="74"/>
                </a:lnTo>
                <a:lnTo>
                  <a:pt x="176" y="74"/>
                </a:lnTo>
                <a:lnTo>
                  <a:pt x="177" y="72"/>
                </a:lnTo>
                <a:lnTo>
                  <a:pt x="180" y="72"/>
                </a:lnTo>
                <a:lnTo>
                  <a:pt x="183" y="72"/>
                </a:lnTo>
                <a:lnTo>
                  <a:pt x="185" y="71"/>
                </a:lnTo>
                <a:lnTo>
                  <a:pt x="185" y="71"/>
                </a:lnTo>
                <a:lnTo>
                  <a:pt x="183" y="69"/>
                </a:lnTo>
                <a:lnTo>
                  <a:pt x="183" y="68"/>
                </a:lnTo>
                <a:lnTo>
                  <a:pt x="179" y="65"/>
                </a:lnTo>
                <a:lnTo>
                  <a:pt x="176" y="62"/>
                </a:lnTo>
                <a:lnTo>
                  <a:pt x="175" y="61"/>
                </a:lnTo>
                <a:lnTo>
                  <a:pt x="175" y="59"/>
                </a:lnTo>
                <a:lnTo>
                  <a:pt x="175" y="59"/>
                </a:lnTo>
                <a:lnTo>
                  <a:pt x="175" y="58"/>
                </a:lnTo>
                <a:lnTo>
                  <a:pt x="176" y="58"/>
                </a:lnTo>
                <a:lnTo>
                  <a:pt x="179" y="58"/>
                </a:lnTo>
                <a:lnTo>
                  <a:pt x="183" y="58"/>
                </a:lnTo>
                <a:lnTo>
                  <a:pt x="187" y="58"/>
                </a:lnTo>
                <a:lnTo>
                  <a:pt x="187" y="58"/>
                </a:lnTo>
                <a:lnTo>
                  <a:pt x="193" y="57"/>
                </a:lnTo>
                <a:lnTo>
                  <a:pt x="199" y="58"/>
                </a:lnTo>
                <a:lnTo>
                  <a:pt x="206" y="59"/>
                </a:lnTo>
                <a:lnTo>
                  <a:pt x="212" y="64"/>
                </a:lnTo>
                <a:lnTo>
                  <a:pt x="212" y="64"/>
                </a:lnTo>
                <a:lnTo>
                  <a:pt x="216" y="67"/>
                </a:lnTo>
                <a:lnTo>
                  <a:pt x="219" y="67"/>
                </a:lnTo>
                <a:lnTo>
                  <a:pt x="222" y="65"/>
                </a:lnTo>
                <a:lnTo>
                  <a:pt x="223" y="59"/>
                </a:lnTo>
                <a:lnTo>
                  <a:pt x="223" y="59"/>
                </a:lnTo>
                <a:lnTo>
                  <a:pt x="223" y="57"/>
                </a:lnTo>
                <a:lnTo>
                  <a:pt x="224" y="55"/>
                </a:lnTo>
                <a:lnTo>
                  <a:pt x="230" y="51"/>
                </a:lnTo>
                <a:lnTo>
                  <a:pt x="237" y="49"/>
                </a:lnTo>
                <a:lnTo>
                  <a:pt x="246" y="49"/>
                </a:lnTo>
                <a:lnTo>
                  <a:pt x="246" y="49"/>
                </a:lnTo>
                <a:lnTo>
                  <a:pt x="251" y="48"/>
                </a:lnTo>
                <a:lnTo>
                  <a:pt x="256" y="47"/>
                </a:lnTo>
                <a:lnTo>
                  <a:pt x="256" y="44"/>
                </a:lnTo>
                <a:lnTo>
                  <a:pt x="254" y="41"/>
                </a:lnTo>
                <a:lnTo>
                  <a:pt x="254" y="41"/>
                </a:lnTo>
                <a:lnTo>
                  <a:pt x="254" y="40"/>
                </a:lnTo>
                <a:lnTo>
                  <a:pt x="256" y="38"/>
                </a:lnTo>
                <a:lnTo>
                  <a:pt x="261" y="32"/>
                </a:lnTo>
                <a:lnTo>
                  <a:pt x="268" y="25"/>
                </a:lnTo>
                <a:lnTo>
                  <a:pt x="271" y="24"/>
                </a:lnTo>
                <a:lnTo>
                  <a:pt x="271" y="21"/>
                </a:lnTo>
                <a:lnTo>
                  <a:pt x="271" y="21"/>
                </a:lnTo>
                <a:lnTo>
                  <a:pt x="271" y="21"/>
                </a:lnTo>
                <a:lnTo>
                  <a:pt x="270" y="21"/>
                </a:lnTo>
                <a:lnTo>
                  <a:pt x="266" y="24"/>
                </a:lnTo>
                <a:lnTo>
                  <a:pt x="260" y="27"/>
                </a:lnTo>
                <a:lnTo>
                  <a:pt x="258" y="27"/>
                </a:lnTo>
                <a:lnTo>
                  <a:pt x="257" y="25"/>
                </a:lnTo>
                <a:lnTo>
                  <a:pt x="257" y="25"/>
                </a:lnTo>
                <a:close/>
                <a:moveTo>
                  <a:pt x="170" y="91"/>
                </a:moveTo>
                <a:lnTo>
                  <a:pt x="170" y="91"/>
                </a:lnTo>
                <a:lnTo>
                  <a:pt x="166" y="95"/>
                </a:lnTo>
                <a:lnTo>
                  <a:pt x="165" y="101"/>
                </a:lnTo>
                <a:lnTo>
                  <a:pt x="165" y="108"/>
                </a:lnTo>
                <a:lnTo>
                  <a:pt x="165" y="109"/>
                </a:lnTo>
                <a:lnTo>
                  <a:pt x="167" y="112"/>
                </a:lnTo>
                <a:lnTo>
                  <a:pt x="167" y="112"/>
                </a:lnTo>
                <a:lnTo>
                  <a:pt x="167" y="114"/>
                </a:lnTo>
                <a:lnTo>
                  <a:pt x="167" y="116"/>
                </a:lnTo>
                <a:lnTo>
                  <a:pt x="165" y="121"/>
                </a:lnTo>
                <a:lnTo>
                  <a:pt x="160" y="126"/>
                </a:lnTo>
                <a:lnTo>
                  <a:pt x="159" y="131"/>
                </a:lnTo>
                <a:lnTo>
                  <a:pt x="159" y="133"/>
                </a:lnTo>
                <a:lnTo>
                  <a:pt x="159" y="133"/>
                </a:lnTo>
                <a:lnTo>
                  <a:pt x="159" y="136"/>
                </a:lnTo>
                <a:lnTo>
                  <a:pt x="157" y="139"/>
                </a:lnTo>
                <a:lnTo>
                  <a:pt x="155" y="142"/>
                </a:lnTo>
                <a:lnTo>
                  <a:pt x="150" y="145"/>
                </a:lnTo>
                <a:lnTo>
                  <a:pt x="149" y="149"/>
                </a:lnTo>
                <a:lnTo>
                  <a:pt x="149" y="149"/>
                </a:lnTo>
                <a:lnTo>
                  <a:pt x="148" y="153"/>
                </a:lnTo>
                <a:lnTo>
                  <a:pt x="143" y="155"/>
                </a:lnTo>
                <a:lnTo>
                  <a:pt x="139" y="156"/>
                </a:lnTo>
                <a:lnTo>
                  <a:pt x="135" y="160"/>
                </a:lnTo>
                <a:lnTo>
                  <a:pt x="135" y="160"/>
                </a:lnTo>
                <a:lnTo>
                  <a:pt x="132" y="162"/>
                </a:lnTo>
                <a:lnTo>
                  <a:pt x="129" y="163"/>
                </a:lnTo>
                <a:lnTo>
                  <a:pt x="125" y="162"/>
                </a:lnTo>
                <a:lnTo>
                  <a:pt x="123" y="159"/>
                </a:lnTo>
                <a:lnTo>
                  <a:pt x="123" y="155"/>
                </a:lnTo>
                <a:lnTo>
                  <a:pt x="123" y="155"/>
                </a:lnTo>
                <a:lnTo>
                  <a:pt x="123" y="153"/>
                </a:lnTo>
                <a:lnTo>
                  <a:pt x="122" y="153"/>
                </a:lnTo>
                <a:lnTo>
                  <a:pt x="118" y="156"/>
                </a:lnTo>
                <a:lnTo>
                  <a:pt x="113" y="160"/>
                </a:lnTo>
                <a:lnTo>
                  <a:pt x="112" y="165"/>
                </a:lnTo>
                <a:lnTo>
                  <a:pt x="112" y="168"/>
                </a:lnTo>
                <a:lnTo>
                  <a:pt x="112" y="168"/>
                </a:lnTo>
                <a:lnTo>
                  <a:pt x="112" y="172"/>
                </a:lnTo>
                <a:lnTo>
                  <a:pt x="111" y="175"/>
                </a:lnTo>
                <a:lnTo>
                  <a:pt x="106" y="178"/>
                </a:lnTo>
                <a:lnTo>
                  <a:pt x="102" y="180"/>
                </a:lnTo>
                <a:lnTo>
                  <a:pt x="101" y="182"/>
                </a:lnTo>
                <a:lnTo>
                  <a:pt x="102" y="185"/>
                </a:lnTo>
                <a:lnTo>
                  <a:pt x="102" y="185"/>
                </a:lnTo>
                <a:lnTo>
                  <a:pt x="102" y="186"/>
                </a:lnTo>
                <a:lnTo>
                  <a:pt x="102" y="187"/>
                </a:lnTo>
                <a:lnTo>
                  <a:pt x="98" y="189"/>
                </a:lnTo>
                <a:lnTo>
                  <a:pt x="93" y="189"/>
                </a:lnTo>
                <a:lnTo>
                  <a:pt x="92" y="189"/>
                </a:lnTo>
                <a:lnTo>
                  <a:pt x="92" y="187"/>
                </a:lnTo>
                <a:lnTo>
                  <a:pt x="92" y="187"/>
                </a:lnTo>
                <a:lnTo>
                  <a:pt x="92" y="186"/>
                </a:lnTo>
                <a:lnTo>
                  <a:pt x="91" y="185"/>
                </a:lnTo>
                <a:lnTo>
                  <a:pt x="86" y="185"/>
                </a:lnTo>
                <a:lnTo>
                  <a:pt x="72" y="190"/>
                </a:lnTo>
                <a:lnTo>
                  <a:pt x="72" y="190"/>
                </a:lnTo>
                <a:lnTo>
                  <a:pt x="68" y="190"/>
                </a:lnTo>
                <a:lnTo>
                  <a:pt x="65" y="190"/>
                </a:lnTo>
                <a:lnTo>
                  <a:pt x="59" y="190"/>
                </a:lnTo>
                <a:lnTo>
                  <a:pt x="54" y="189"/>
                </a:lnTo>
                <a:lnTo>
                  <a:pt x="51" y="189"/>
                </a:lnTo>
                <a:lnTo>
                  <a:pt x="49" y="192"/>
                </a:lnTo>
                <a:lnTo>
                  <a:pt x="49" y="192"/>
                </a:lnTo>
                <a:lnTo>
                  <a:pt x="37" y="202"/>
                </a:lnTo>
                <a:lnTo>
                  <a:pt x="31" y="207"/>
                </a:lnTo>
                <a:lnTo>
                  <a:pt x="24" y="210"/>
                </a:lnTo>
                <a:lnTo>
                  <a:pt x="24" y="210"/>
                </a:lnTo>
                <a:lnTo>
                  <a:pt x="21" y="210"/>
                </a:lnTo>
                <a:lnTo>
                  <a:pt x="19" y="212"/>
                </a:lnTo>
                <a:lnTo>
                  <a:pt x="19" y="216"/>
                </a:lnTo>
                <a:lnTo>
                  <a:pt x="21" y="219"/>
                </a:lnTo>
                <a:lnTo>
                  <a:pt x="22" y="219"/>
                </a:lnTo>
                <a:lnTo>
                  <a:pt x="24" y="219"/>
                </a:lnTo>
                <a:lnTo>
                  <a:pt x="24" y="219"/>
                </a:lnTo>
                <a:lnTo>
                  <a:pt x="29" y="217"/>
                </a:lnTo>
                <a:lnTo>
                  <a:pt x="34" y="217"/>
                </a:lnTo>
                <a:lnTo>
                  <a:pt x="38" y="217"/>
                </a:lnTo>
                <a:lnTo>
                  <a:pt x="42" y="215"/>
                </a:lnTo>
                <a:lnTo>
                  <a:pt x="42" y="215"/>
                </a:lnTo>
                <a:lnTo>
                  <a:pt x="47" y="212"/>
                </a:lnTo>
                <a:lnTo>
                  <a:pt x="58" y="209"/>
                </a:lnTo>
                <a:lnTo>
                  <a:pt x="69" y="206"/>
                </a:lnTo>
                <a:lnTo>
                  <a:pt x="82" y="205"/>
                </a:lnTo>
                <a:lnTo>
                  <a:pt x="82" y="205"/>
                </a:lnTo>
                <a:lnTo>
                  <a:pt x="86" y="205"/>
                </a:lnTo>
                <a:lnTo>
                  <a:pt x="89" y="206"/>
                </a:lnTo>
                <a:lnTo>
                  <a:pt x="91" y="207"/>
                </a:lnTo>
                <a:lnTo>
                  <a:pt x="91" y="209"/>
                </a:lnTo>
                <a:lnTo>
                  <a:pt x="89" y="213"/>
                </a:lnTo>
                <a:lnTo>
                  <a:pt x="89" y="219"/>
                </a:lnTo>
                <a:lnTo>
                  <a:pt x="89" y="219"/>
                </a:lnTo>
                <a:lnTo>
                  <a:pt x="89" y="222"/>
                </a:lnTo>
                <a:lnTo>
                  <a:pt x="91" y="223"/>
                </a:lnTo>
                <a:lnTo>
                  <a:pt x="96" y="224"/>
                </a:lnTo>
                <a:lnTo>
                  <a:pt x="102" y="223"/>
                </a:lnTo>
                <a:lnTo>
                  <a:pt x="108" y="219"/>
                </a:lnTo>
                <a:lnTo>
                  <a:pt x="108" y="219"/>
                </a:lnTo>
                <a:lnTo>
                  <a:pt x="115" y="212"/>
                </a:lnTo>
                <a:lnTo>
                  <a:pt x="115" y="210"/>
                </a:lnTo>
                <a:lnTo>
                  <a:pt x="113" y="207"/>
                </a:lnTo>
                <a:lnTo>
                  <a:pt x="113" y="207"/>
                </a:lnTo>
                <a:lnTo>
                  <a:pt x="111" y="205"/>
                </a:lnTo>
                <a:lnTo>
                  <a:pt x="112" y="202"/>
                </a:lnTo>
                <a:lnTo>
                  <a:pt x="115" y="202"/>
                </a:lnTo>
                <a:lnTo>
                  <a:pt x="118" y="205"/>
                </a:lnTo>
                <a:lnTo>
                  <a:pt x="118" y="205"/>
                </a:lnTo>
                <a:lnTo>
                  <a:pt x="122" y="209"/>
                </a:lnTo>
                <a:lnTo>
                  <a:pt x="128" y="209"/>
                </a:lnTo>
                <a:lnTo>
                  <a:pt x="133" y="207"/>
                </a:lnTo>
                <a:lnTo>
                  <a:pt x="136" y="206"/>
                </a:lnTo>
                <a:lnTo>
                  <a:pt x="139" y="203"/>
                </a:lnTo>
                <a:lnTo>
                  <a:pt x="139" y="203"/>
                </a:lnTo>
                <a:lnTo>
                  <a:pt x="142" y="200"/>
                </a:lnTo>
                <a:lnTo>
                  <a:pt x="143" y="202"/>
                </a:lnTo>
                <a:lnTo>
                  <a:pt x="146" y="203"/>
                </a:lnTo>
                <a:lnTo>
                  <a:pt x="150" y="205"/>
                </a:lnTo>
                <a:lnTo>
                  <a:pt x="150" y="205"/>
                </a:lnTo>
                <a:lnTo>
                  <a:pt x="152" y="203"/>
                </a:lnTo>
                <a:lnTo>
                  <a:pt x="155" y="202"/>
                </a:lnTo>
                <a:lnTo>
                  <a:pt x="157" y="197"/>
                </a:lnTo>
                <a:lnTo>
                  <a:pt x="159" y="195"/>
                </a:lnTo>
                <a:lnTo>
                  <a:pt x="159" y="193"/>
                </a:lnTo>
                <a:lnTo>
                  <a:pt x="160" y="195"/>
                </a:lnTo>
                <a:lnTo>
                  <a:pt x="160" y="195"/>
                </a:lnTo>
                <a:lnTo>
                  <a:pt x="160" y="196"/>
                </a:lnTo>
                <a:lnTo>
                  <a:pt x="162" y="197"/>
                </a:lnTo>
                <a:lnTo>
                  <a:pt x="165" y="197"/>
                </a:lnTo>
                <a:lnTo>
                  <a:pt x="170" y="196"/>
                </a:lnTo>
                <a:lnTo>
                  <a:pt x="175" y="193"/>
                </a:lnTo>
                <a:lnTo>
                  <a:pt x="175" y="193"/>
                </a:lnTo>
                <a:lnTo>
                  <a:pt x="176" y="190"/>
                </a:lnTo>
                <a:lnTo>
                  <a:pt x="177" y="187"/>
                </a:lnTo>
                <a:lnTo>
                  <a:pt x="177" y="180"/>
                </a:lnTo>
                <a:lnTo>
                  <a:pt x="177" y="175"/>
                </a:lnTo>
                <a:lnTo>
                  <a:pt x="179" y="170"/>
                </a:lnTo>
                <a:lnTo>
                  <a:pt x="179" y="170"/>
                </a:lnTo>
                <a:lnTo>
                  <a:pt x="182" y="165"/>
                </a:lnTo>
                <a:lnTo>
                  <a:pt x="185" y="158"/>
                </a:lnTo>
                <a:lnTo>
                  <a:pt x="185" y="152"/>
                </a:lnTo>
                <a:lnTo>
                  <a:pt x="183" y="145"/>
                </a:lnTo>
                <a:lnTo>
                  <a:pt x="183" y="145"/>
                </a:lnTo>
                <a:lnTo>
                  <a:pt x="182" y="142"/>
                </a:lnTo>
                <a:lnTo>
                  <a:pt x="183" y="141"/>
                </a:lnTo>
                <a:lnTo>
                  <a:pt x="186" y="136"/>
                </a:lnTo>
                <a:lnTo>
                  <a:pt x="197" y="128"/>
                </a:lnTo>
                <a:lnTo>
                  <a:pt x="197" y="128"/>
                </a:lnTo>
                <a:lnTo>
                  <a:pt x="199" y="125"/>
                </a:lnTo>
                <a:lnTo>
                  <a:pt x="199" y="119"/>
                </a:lnTo>
                <a:lnTo>
                  <a:pt x="196" y="108"/>
                </a:lnTo>
                <a:lnTo>
                  <a:pt x="192" y="95"/>
                </a:lnTo>
                <a:lnTo>
                  <a:pt x="190" y="85"/>
                </a:lnTo>
                <a:lnTo>
                  <a:pt x="190" y="85"/>
                </a:lnTo>
                <a:lnTo>
                  <a:pt x="189" y="82"/>
                </a:lnTo>
                <a:lnTo>
                  <a:pt x="187" y="82"/>
                </a:lnTo>
                <a:lnTo>
                  <a:pt x="182" y="84"/>
                </a:lnTo>
                <a:lnTo>
                  <a:pt x="170" y="91"/>
                </a:lnTo>
                <a:lnTo>
                  <a:pt x="170" y="91"/>
                </a:lnTo>
                <a:close/>
                <a:moveTo>
                  <a:pt x="65" y="215"/>
                </a:moveTo>
                <a:lnTo>
                  <a:pt x="65" y="215"/>
                </a:lnTo>
                <a:lnTo>
                  <a:pt x="64" y="216"/>
                </a:lnTo>
                <a:lnTo>
                  <a:pt x="59" y="217"/>
                </a:lnTo>
                <a:lnTo>
                  <a:pt x="51" y="219"/>
                </a:lnTo>
                <a:lnTo>
                  <a:pt x="51" y="219"/>
                </a:lnTo>
                <a:lnTo>
                  <a:pt x="48" y="219"/>
                </a:lnTo>
                <a:lnTo>
                  <a:pt x="45" y="222"/>
                </a:lnTo>
                <a:lnTo>
                  <a:pt x="44" y="229"/>
                </a:lnTo>
                <a:lnTo>
                  <a:pt x="45" y="236"/>
                </a:lnTo>
                <a:lnTo>
                  <a:pt x="47" y="239"/>
                </a:lnTo>
                <a:lnTo>
                  <a:pt x="48" y="240"/>
                </a:lnTo>
                <a:lnTo>
                  <a:pt x="48" y="240"/>
                </a:lnTo>
                <a:lnTo>
                  <a:pt x="51" y="240"/>
                </a:lnTo>
                <a:lnTo>
                  <a:pt x="54" y="240"/>
                </a:lnTo>
                <a:lnTo>
                  <a:pt x="55" y="239"/>
                </a:lnTo>
                <a:lnTo>
                  <a:pt x="56" y="236"/>
                </a:lnTo>
                <a:lnTo>
                  <a:pt x="56" y="236"/>
                </a:lnTo>
                <a:lnTo>
                  <a:pt x="59" y="232"/>
                </a:lnTo>
                <a:lnTo>
                  <a:pt x="62" y="230"/>
                </a:lnTo>
                <a:lnTo>
                  <a:pt x="66" y="229"/>
                </a:lnTo>
                <a:lnTo>
                  <a:pt x="71" y="230"/>
                </a:lnTo>
                <a:lnTo>
                  <a:pt x="71" y="230"/>
                </a:lnTo>
                <a:lnTo>
                  <a:pt x="72" y="230"/>
                </a:lnTo>
                <a:lnTo>
                  <a:pt x="74" y="230"/>
                </a:lnTo>
                <a:lnTo>
                  <a:pt x="78" y="226"/>
                </a:lnTo>
                <a:lnTo>
                  <a:pt x="81" y="222"/>
                </a:lnTo>
                <a:lnTo>
                  <a:pt x="82" y="216"/>
                </a:lnTo>
                <a:lnTo>
                  <a:pt x="82" y="216"/>
                </a:lnTo>
                <a:lnTo>
                  <a:pt x="81" y="213"/>
                </a:lnTo>
                <a:lnTo>
                  <a:pt x="79" y="212"/>
                </a:lnTo>
                <a:lnTo>
                  <a:pt x="74" y="210"/>
                </a:lnTo>
                <a:lnTo>
                  <a:pt x="69" y="212"/>
                </a:lnTo>
                <a:lnTo>
                  <a:pt x="66" y="212"/>
                </a:lnTo>
                <a:lnTo>
                  <a:pt x="65" y="215"/>
                </a:lnTo>
                <a:lnTo>
                  <a:pt x="65" y="215"/>
                </a:lnTo>
                <a:close/>
                <a:moveTo>
                  <a:pt x="32" y="233"/>
                </a:moveTo>
                <a:lnTo>
                  <a:pt x="32" y="233"/>
                </a:lnTo>
                <a:lnTo>
                  <a:pt x="32" y="232"/>
                </a:lnTo>
                <a:lnTo>
                  <a:pt x="31" y="230"/>
                </a:lnTo>
                <a:lnTo>
                  <a:pt x="27" y="229"/>
                </a:lnTo>
                <a:lnTo>
                  <a:pt x="24" y="227"/>
                </a:lnTo>
                <a:lnTo>
                  <a:pt x="22" y="226"/>
                </a:lnTo>
                <a:lnTo>
                  <a:pt x="22" y="224"/>
                </a:lnTo>
                <a:lnTo>
                  <a:pt x="22" y="224"/>
                </a:lnTo>
                <a:lnTo>
                  <a:pt x="19" y="222"/>
                </a:lnTo>
                <a:lnTo>
                  <a:pt x="17" y="223"/>
                </a:lnTo>
                <a:lnTo>
                  <a:pt x="12" y="224"/>
                </a:lnTo>
                <a:lnTo>
                  <a:pt x="7" y="227"/>
                </a:lnTo>
                <a:lnTo>
                  <a:pt x="7" y="227"/>
                </a:lnTo>
                <a:lnTo>
                  <a:pt x="0" y="233"/>
                </a:lnTo>
                <a:lnTo>
                  <a:pt x="0" y="236"/>
                </a:lnTo>
                <a:lnTo>
                  <a:pt x="1" y="239"/>
                </a:lnTo>
                <a:lnTo>
                  <a:pt x="1" y="239"/>
                </a:lnTo>
                <a:lnTo>
                  <a:pt x="2" y="242"/>
                </a:lnTo>
                <a:lnTo>
                  <a:pt x="5" y="240"/>
                </a:lnTo>
                <a:lnTo>
                  <a:pt x="8" y="237"/>
                </a:lnTo>
                <a:lnTo>
                  <a:pt x="10" y="234"/>
                </a:lnTo>
                <a:lnTo>
                  <a:pt x="10" y="234"/>
                </a:lnTo>
                <a:lnTo>
                  <a:pt x="10" y="233"/>
                </a:lnTo>
                <a:lnTo>
                  <a:pt x="11" y="233"/>
                </a:lnTo>
                <a:lnTo>
                  <a:pt x="12" y="237"/>
                </a:lnTo>
                <a:lnTo>
                  <a:pt x="14" y="243"/>
                </a:lnTo>
                <a:lnTo>
                  <a:pt x="12" y="250"/>
                </a:lnTo>
                <a:lnTo>
                  <a:pt x="12" y="250"/>
                </a:lnTo>
                <a:lnTo>
                  <a:pt x="10" y="257"/>
                </a:lnTo>
                <a:lnTo>
                  <a:pt x="11" y="264"/>
                </a:lnTo>
                <a:lnTo>
                  <a:pt x="14" y="269"/>
                </a:lnTo>
                <a:lnTo>
                  <a:pt x="15" y="270"/>
                </a:lnTo>
                <a:lnTo>
                  <a:pt x="18" y="270"/>
                </a:lnTo>
                <a:lnTo>
                  <a:pt x="18" y="270"/>
                </a:lnTo>
                <a:lnTo>
                  <a:pt x="19" y="269"/>
                </a:lnTo>
                <a:lnTo>
                  <a:pt x="22" y="267"/>
                </a:lnTo>
                <a:lnTo>
                  <a:pt x="27" y="260"/>
                </a:lnTo>
                <a:lnTo>
                  <a:pt x="31" y="250"/>
                </a:lnTo>
                <a:lnTo>
                  <a:pt x="37" y="243"/>
                </a:lnTo>
                <a:lnTo>
                  <a:pt x="37" y="243"/>
                </a:lnTo>
                <a:lnTo>
                  <a:pt x="38" y="239"/>
                </a:lnTo>
                <a:lnTo>
                  <a:pt x="38" y="237"/>
                </a:lnTo>
                <a:lnTo>
                  <a:pt x="37" y="236"/>
                </a:lnTo>
                <a:lnTo>
                  <a:pt x="34" y="234"/>
                </a:lnTo>
                <a:lnTo>
                  <a:pt x="32" y="234"/>
                </a:lnTo>
                <a:lnTo>
                  <a:pt x="32" y="233"/>
                </a:lnTo>
                <a:lnTo>
                  <a:pt x="32" y="233"/>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41" name="Freeform 329">
            <a:extLst>
              <a:ext uri="{FF2B5EF4-FFF2-40B4-BE49-F238E27FC236}">
                <a16:creationId xmlns:a16="http://schemas.microsoft.com/office/drawing/2014/main" id="{4C02112F-1802-4CE8-6C23-E39C487C766E}"/>
              </a:ext>
            </a:extLst>
          </p:cNvPr>
          <p:cNvSpPr>
            <a:spLocks noEditPoints="1"/>
          </p:cNvSpPr>
          <p:nvPr userDrawn="1"/>
        </p:nvSpPr>
        <p:spPr bwMode="gray">
          <a:xfrm>
            <a:off x="5893316" y="2103964"/>
            <a:ext cx="1249790" cy="858336"/>
          </a:xfrm>
          <a:custGeom>
            <a:avLst/>
            <a:gdLst/>
            <a:ahLst/>
            <a:cxnLst>
              <a:cxn ang="0">
                <a:pos x="911" y="124"/>
              </a:cxn>
              <a:cxn ang="0">
                <a:pos x="870" y="89"/>
              </a:cxn>
              <a:cxn ang="0">
                <a:pos x="833" y="43"/>
              </a:cxn>
              <a:cxn ang="0">
                <a:pos x="793" y="3"/>
              </a:cxn>
              <a:cxn ang="0">
                <a:pos x="732" y="17"/>
              </a:cxn>
              <a:cxn ang="0">
                <a:pos x="712" y="72"/>
              </a:cxn>
              <a:cxn ang="0">
                <a:pos x="655" y="120"/>
              </a:cxn>
              <a:cxn ang="0">
                <a:pos x="707" y="126"/>
              </a:cxn>
              <a:cxn ang="0">
                <a:pos x="676" y="150"/>
              </a:cxn>
              <a:cxn ang="0">
                <a:pos x="598" y="178"/>
              </a:cxn>
              <a:cxn ang="0">
                <a:pos x="557" y="228"/>
              </a:cxn>
              <a:cxn ang="0">
                <a:pos x="466" y="239"/>
              </a:cxn>
              <a:cxn ang="0">
                <a:pos x="346" y="224"/>
              </a:cxn>
              <a:cxn ang="0">
                <a:pos x="312" y="184"/>
              </a:cxn>
              <a:cxn ang="0">
                <a:pos x="269" y="141"/>
              </a:cxn>
              <a:cxn ang="0">
                <a:pos x="220" y="93"/>
              </a:cxn>
              <a:cxn ang="0">
                <a:pos x="197" y="107"/>
              </a:cxn>
              <a:cxn ang="0">
                <a:pos x="158" y="137"/>
              </a:cxn>
              <a:cxn ang="0">
                <a:pos x="126" y="171"/>
              </a:cxn>
              <a:cxn ang="0">
                <a:pos x="111" y="212"/>
              </a:cxn>
              <a:cxn ang="0">
                <a:pos x="74" y="252"/>
              </a:cxn>
              <a:cxn ang="0">
                <a:pos x="23" y="265"/>
              </a:cxn>
              <a:cxn ang="0">
                <a:pos x="16" y="305"/>
              </a:cxn>
              <a:cxn ang="0">
                <a:pos x="57" y="359"/>
              </a:cxn>
              <a:cxn ang="0">
                <a:pos x="89" y="386"/>
              </a:cxn>
              <a:cxn ang="0">
                <a:pos x="74" y="416"/>
              </a:cxn>
              <a:cxn ang="0">
                <a:pos x="110" y="454"/>
              </a:cxn>
              <a:cxn ang="0">
                <a:pos x="183" y="488"/>
              </a:cxn>
              <a:cxn ang="0">
                <a:pos x="232" y="501"/>
              </a:cxn>
              <a:cxn ang="0">
                <a:pos x="279" y="498"/>
              </a:cxn>
              <a:cxn ang="0">
                <a:pos x="332" y="474"/>
              </a:cxn>
              <a:cxn ang="0">
                <a:pos x="369" y="488"/>
              </a:cxn>
              <a:cxn ang="0">
                <a:pos x="363" y="550"/>
              </a:cxn>
              <a:cxn ang="0">
                <a:pos x="385" y="578"/>
              </a:cxn>
              <a:cxn ang="0">
                <a:pos x="410" y="605"/>
              </a:cxn>
              <a:cxn ang="0">
                <a:pos x="426" y="591"/>
              </a:cxn>
              <a:cxn ang="0">
                <a:pos x="460" y="587"/>
              </a:cxn>
              <a:cxn ang="0">
                <a:pos x="507" y="587"/>
              </a:cxn>
              <a:cxn ang="0">
                <a:pos x="544" y="604"/>
              </a:cxn>
              <a:cxn ang="0">
                <a:pos x="564" y="626"/>
              </a:cxn>
              <a:cxn ang="0">
                <a:pos x="632" y="588"/>
              </a:cxn>
              <a:cxn ang="0">
                <a:pos x="690" y="557"/>
              </a:cxn>
              <a:cxn ang="0">
                <a:pos x="716" y="530"/>
              </a:cxn>
              <a:cxn ang="0">
                <a:pos x="744" y="490"/>
              </a:cxn>
              <a:cxn ang="0">
                <a:pos x="752" y="458"/>
              </a:cxn>
              <a:cxn ang="0">
                <a:pos x="754" y="443"/>
              </a:cxn>
              <a:cxn ang="0">
                <a:pos x="753" y="427"/>
              </a:cxn>
              <a:cxn ang="0">
                <a:pos x="715" y="375"/>
              </a:cxn>
              <a:cxn ang="0">
                <a:pos x="737" y="340"/>
              </a:cxn>
              <a:cxn ang="0">
                <a:pos x="742" y="319"/>
              </a:cxn>
              <a:cxn ang="0">
                <a:pos x="697" y="312"/>
              </a:cxn>
              <a:cxn ang="0">
                <a:pos x="712" y="282"/>
              </a:cxn>
              <a:cxn ang="0">
                <a:pos x="749" y="279"/>
              </a:cxn>
              <a:cxn ang="0">
                <a:pos x="791" y="278"/>
              </a:cxn>
              <a:cxn ang="0">
                <a:pos x="858" y="247"/>
              </a:cxn>
              <a:cxn ang="0">
                <a:pos x="884" y="218"/>
              </a:cxn>
              <a:cxn ang="0">
                <a:pos x="904" y="183"/>
              </a:cxn>
              <a:cxn ang="0">
                <a:pos x="941" y="164"/>
              </a:cxn>
              <a:cxn ang="0">
                <a:pos x="725" y="574"/>
              </a:cxn>
              <a:cxn ang="0">
                <a:pos x="732" y="555"/>
              </a:cxn>
              <a:cxn ang="0">
                <a:pos x="567" y="653"/>
              </a:cxn>
            </a:cxnLst>
            <a:rect l="0" t="0" r="r" b="b"/>
            <a:pathLst>
              <a:path w="961" h="660">
                <a:moveTo>
                  <a:pt x="959" y="118"/>
                </a:moveTo>
                <a:lnTo>
                  <a:pt x="959" y="118"/>
                </a:lnTo>
                <a:lnTo>
                  <a:pt x="958" y="116"/>
                </a:lnTo>
                <a:lnTo>
                  <a:pt x="958" y="113"/>
                </a:lnTo>
                <a:lnTo>
                  <a:pt x="954" y="113"/>
                </a:lnTo>
                <a:lnTo>
                  <a:pt x="949" y="113"/>
                </a:lnTo>
                <a:lnTo>
                  <a:pt x="946" y="114"/>
                </a:lnTo>
                <a:lnTo>
                  <a:pt x="946" y="114"/>
                </a:lnTo>
                <a:lnTo>
                  <a:pt x="942" y="116"/>
                </a:lnTo>
                <a:lnTo>
                  <a:pt x="938" y="116"/>
                </a:lnTo>
                <a:lnTo>
                  <a:pt x="934" y="117"/>
                </a:lnTo>
                <a:lnTo>
                  <a:pt x="931" y="120"/>
                </a:lnTo>
                <a:lnTo>
                  <a:pt x="931" y="120"/>
                </a:lnTo>
                <a:lnTo>
                  <a:pt x="928" y="123"/>
                </a:lnTo>
                <a:lnTo>
                  <a:pt x="925" y="124"/>
                </a:lnTo>
                <a:lnTo>
                  <a:pt x="917" y="124"/>
                </a:lnTo>
                <a:lnTo>
                  <a:pt x="917" y="124"/>
                </a:lnTo>
                <a:lnTo>
                  <a:pt x="911" y="124"/>
                </a:lnTo>
                <a:lnTo>
                  <a:pt x="905" y="123"/>
                </a:lnTo>
                <a:lnTo>
                  <a:pt x="901" y="120"/>
                </a:lnTo>
                <a:lnTo>
                  <a:pt x="901" y="117"/>
                </a:lnTo>
                <a:lnTo>
                  <a:pt x="901" y="117"/>
                </a:lnTo>
                <a:lnTo>
                  <a:pt x="899" y="114"/>
                </a:lnTo>
                <a:lnTo>
                  <a:pt x="898" y="111"/>
                </a:lnTo>
                <a:lnTo>
                  <a:pt x="897" y="107"/>
                </a:lnTo>
                <a:lnTo>
                  <a:pt x="897" y="104"/>
                </a:lnTo>
                <a:lnTo>
                  <a:pt x="897" y="104"/>
                </a:lnTo>
                <a:lnTo>
                  <a:pt x="897" y="101"/>
                </a:lnTo>
                <a:lnTo>
                  <a:pt x="894" y="100"/>
                </a:lnTo>
                <a:lnTo>
                  <a:pt x="890" y="99"/>
                </a:lnTo>
                <a:lnTo>
                  <a:pt x="885" y="96"/>
                </a:lnTo>
                <a:lnTo>
                  <a:pt x="885" y="96"/>
                </a:lnTo>
                <a:lnTo>
                  <a:pt x="881" y="93"/>
                </a:lnTo>
                <a:lnTo>
                  <a:pt x="877" y="90"/>
                </a:lnTo>
                <a:lnTo>
                  <a:pt x="872" y="89"/>
                </a:lnTo>
                <a:lnTo>
                  <a:pt x="870" y="89"/>
                </a:lnTo>
                <a:lnTo>
                  <a:pt x="870" y="89"/>
                </a:lnTo>
                <a:lnTo>
                  <a:pt x="867" y="89"/>
                </a:lnTo>
                <a:lnTo>
                  <a:pt x="864" y="87"/>
                </a:lnTo>
                <a:lnTo>
                  <a:pt x="860" y="84"/>
                </a:lnTo>
                <a:lnTo>
                  <a:pt x="854" y="83"/>
                </a:lnTo>
                <a:lnTo>
                  <a:pt x="854" y="83"/>
                </a:lnTo>
                <a:lnTo>
                  <a:pt x="850" y="82"/>
                </a:lnTo>
                <a:lnTo>
                  <a:pt x="847" y="80"/>
                </a:lnTo>
                <a:lnTo>
                  <a:pt x="847" y="77"/>
                </a:lnTo>
                <a:lnTo>
                  <a:pt x="848" y="74"/>
                </a:lnTo>
                <a:lnTo>
                  <a:pt x="848" y="74"/>
                </a:lnTo>
                <a:lnTo>
                  <a:pt x="847" y="70"/>
                </a:lnTo>
                <a:lnTo>
                  <a:pt x="844" y="66"/>
                </a:lnTo>
                <a:lnTo>
                  <a:pt x="840" y="54"/>
                </a:lnTo>
                <a:lnTo>
                  <a:pt x="840" y="54"/>
                </a:lnTo>
                <a:lnTo>
                  <a:pt x="838" y="52"/>
                </a:lnTo>
                <a:lnTo>
                  <a:pt x="835" y="47"/>
                </a:lnTo>
                <a:lnTo>
                  <a:pt x="833" y="43"/>
                </a:lnTo>
                <a:lnTo>
                  <a:pt x="830" y="36"/>
                </a:lnTo>
                <a:lnTo>
                  <a:pt x="830" y="36"/>
                </a:lnTo>
                <a:lnTo>
                  <a:pt x="828" y="29"/>
                </a:lnTo>
                <a:lnTo>
                  <a:pt x="826" y="26"/>
                </a:lnTo>
                <a:lnTo>
                  <a:pt x="823" y="25"/>
                </a:lnTo>
                <a:lnTo>
                  <a:pt x="823" y="22"/>
                </a:lnTo>
                <a:lnTo>
                  <a:pt x="823" y="22"/>
                </a:lnTo>
                <a:lnTo>
                  <a:pt x="823" y="19"/>
                </a:lnTo>
                <a:lnTo>
                  <a:pt x="821" y="17"/>
                </a:lnTo>
                <a:lnTo>
                  <a:pt x="818" y="15"/>
                </a:lnTo>
                <a:lnTo>
                  <a:pt x="816" y="12"/>
                </a:lnTo>
                <a:lnTo>
                  <a:pt x="813" y="9"/>
                </a:lnTo>
                <a:lnTo>
                  <a:pt x="813" y="9"/>
                </a:lnTo>
                <a:lnTo>
                  <a:pt x="808" y="8"/>
                </a:lnTo>
                <a:lnTo>
                  <a:pt x="804" y="6"/>
                </a:lnTo>
                <a:lnTo>
                  <a:pt x="798" y="6"/>
                </a:lnTo>
                <a:lnTo>
                  <a:pt x="793" y="3"/>
                </a:lnTo>
                <a:lnTo>
                  <a:pt x="793" y="3"/>
                </a:lnTo>
                <a:lnTo>
                  <a:pt x="787" y="2"/>
                </a:lnTo>
                <a:lnTo>
                  <a:pt x="783" y="2"/>
                </a:lnTo>
                <a:lnTo>
                  <a:pt x="779" y="2"/>
                </a:lnTo>
                <a:lnTo>
                  <a:pt x="774" y="0"/>
                </a:lnTo>
                <a:lnTo>
                  <a:pt x="774" y="0"/>
                </a:lnTo>
                <a:lnTo>
                  <a:pt x="769" y="0"/>
                </a:lnTo>
                <a:lnTo>
                  <a:pt x="762" y="0"/>
                </a:lnTo>
                <a:lnTo>
                  <a:pt x="752" y="3"/>
                </a:lnTo>
                <a:lnTo>
                  <a:pt x="752" y="3"/>
                </a:lnTo>
                <a:lnTo>
                  <a:pt x="743" y="3"/>
                </a:lnTo>
                <a:lnTo>
                  <a:pt x="736" y="5"/>
                </a:lnTo>
                <a:lnTo>
                  <a:pt x="733" y="6"/>
                </a:lnTo>
                <a:lnTo>
                  <a:pt x="730" y="9"/>
                </a:lnTo>
                <a:lnTo>
                  <a:pt x="730" y="9"/>
                </a:lnTo>
                <a:lnTo>
                  <a:pt x="727" y="15"/>
                </a:lnTo>
                <a:lnTo>
                  <a:pt x="727" y="17"/>
                </a:lnTo>
                <a:lnTo>
                  <a:pt x="730" y="17"/>
                </a:lnTo>
                <a:lnTo>
                  <a:pt x="732" y="17"/>
                </a:lnTo>
                <a:lnTo>
                  <a:pt x="732" y="17"/>
                </a:lnTo>
                <a:lnTo>
                  <a:pt x="733" y="19"/>
                </a:lnTo>
                <a:lnTo>
                  <a:pt x="734" y="22"/>
                </a:lnTo>
                <a:lnTo>
                  <a:pt x="737" y="29"/>
                </a:lnTo>
                <a:lnTo>
                  <a:pt x="737" y="29"/>
                </a:lnTo>
                <a:lnTo>
                  <a:pt x="736" y="32"/>
                </a:lnTo>
                <a:lnTo>
                  <a:pt x="734" y="35"/>
                </a:lnTo>
                <a:lnTo>
                  <a:pt x="730" y="37"/>
                </a:lnTo>
                <a:lnTo>
                  <a:pt x="730" y="37"/>
                </a:lnTo>
                <a:lnTo>
                  <a:pt x="727" y="39"/>
                </a:lnTo>
                <a:lnTo>
                  <a:pt x="725" y="43"/>
                </a:lnTo>
                <a:lnTo>
                  <a:pt x="720" y="53"/>
                </a:lnTo>
                <a:lnTo>
                  <a:pt x="720" y="53"/>
                </a:lnTo>
                <a:lnTo>
                  <a:pt x="715" y="62"/>
                </a:lnTo>
                <a:lnTo>
                  <a:pt x="713" y="66"/>
                </a:lnTo>
                <a:lnTo>
                  <a:pt x="712" y="69"/>
                </a:lnTo>
                <a:lnTo>
                  <a:pt x="712" y="69"/>
                </a:lnTo>
                <a:lnTo>
                  <a:pt x="712" y="72"/>
                </a:lnTo>
                <a:lnTo>
                  <a:pt x="710" y="73"/>
                </a:lnTo>
                <a:lnTo>
                  <a:pt x="705" y="76"/>
                </a:lnTo>
                <a:lnTo>
                  <a:pt x="705" y="76"/>
                </a:lnTo>
                <a:lnTo>
                  <a:pt x="697" y="80"/>
                </a:lnTo>
                <a:lnTo>
                  <a:pt x="690" y="84"/>
                </a:lnTo>
                <a:lnTo>
                  <a:pt x="690" y="84"/>
                </a:lnTo>
                <a:lnTo>
                  <a:pt x="682" y="84"/>
                </a:lnTo>
                <a:lnTo>
                  <a:pt x="676" y="82"/>
                </a:lnTo>
                <a:lnTo>
                  <a:pt x="675" y="80"/>
                </a:lnTo>
                <a:lnTo>
                  <a:pt x="675" y="80"/>
                </a:lnTo>
                <a:lnTo>
                  <a:pt x="673" y="79"/>
                </a:lnTo>
                <a:lnTo>
                  <a:pt x="670" y="77"/>
                </a:lnTo>
                <a:lnTo>
                  <a:pt x="658" y="103"/>
                </a:lnTo>
                <a:lnTo>
                  <a:pt x="656" y="111"/>
                </a:lnTo>
                <a:lnTo>
                  <a:pt x="656" y="111"/>
                </a:lnTo>
                <a:lnTo>
                  <a:pt x="653" y="113"/>
                </a:lnTo>
                <a:lnTo>
                  <a:pt x="652" y="116"/>
                </a:lnTo>
                <a:lnTo>
                  <a:pt x="655" y="120"/>
                </a:lnTo>
                <a:lnTo>
                  <a:pt x="655" y="120"/>
                </a:lnTo>
                <a:lnTo>
                  <a:pt x="659" y="123"/>
                </a:lnTo>
                <a:lnTo>
                  <a:pt x="662" y="123"/>
                </a:lnTo>
                <a:lnTo>
                  <a:pt x="665" y="121"/>
                </a:lnTo>
                <a:lnTo>
                  <a:pt x="670" y="120"/>
                </a:lnTo>
                <a:lnTo>
                  <a:pt x="670" y="120"/>
                </a:lnTo>
                <a:lnTo>
                  <a:pt x="678" y="121"/>
                </a:lnTo>
                <a:lnTo>
                  <a:pt x="682" y="124"/>
                </a:lnTo>
                <a:lnTo>
                  <a:pt x="685" y="124"/>
                </a:lnTo>
                <a:lnTo>
                  <a:pt x="686" y="124"/>
                </a:lnTo>
                <a:lnTo>
                  <a:pt x="686" y="123"/>
                </a:lnTo>
                <a:lnTo>
                  <a:pt x="686" y="123"/>
                </a:lnTo>
                <a:lnTo>
                  <a:pt x="689" y="118"/>
                </a:lnTo>
                <a:lnTo>
                  <a:pt x="693" y="117"/>
                </a:lnTo>
                <a:lnTo>
                  <a:pt x="697" y="117"/>
                </a:lnTo>
                <a:lnTo>
                  <a:pt x="702" y="120"/>
                </a:lnTo>
                <a:lnTo>
                  <a:pt x="702" y="120"/>
                </a:lnTo>
                <a:lnTo>
                  <a:pt x="707" y="126"/>
                </a:lnTo>
                <a:lnTo>
                  <a:pt x="715" y="131"/>
                </a:lnTo>
                <a:lnTo>
                  <a:pt x="720" y="137"/>
                </a:lnTo>
                <a:lnTo>
                  <a:pt x="722" y="140"/>
                </a:lnTo>
                <a:lnTo>
                  <a:pt x="723" y="143"/>
                </a:lnTo>
                <a:lnTo>
                  <a:pt x="723" y="143"/>
                </a:lnTo>
                <a:lnTo>
                  <a:pt x="722" y="144"/>
                </a:lnTo>
                <a:lnTo>
                  <a:pt x="720" y="146"/>
                </a:lnTo>
                <a:lnTo>
                  <a:pt x="716" y="146"/>
                </a:lnTo>
                <a:lnTo>
                  <a:pt x="712" y="146"/>
                </a:lnTo>
                <a:lnTo>
                  <a:pt x="706" y="144"/>
                </a:lnTo>
                <a:lnTo>
                  <a:pt x="706" y="144"/>
                </a:lnTo>
                <a:lnTo>
                  <a:pt x="702" y="144"/>
                </a:lnTo>
                <a:lnTo>
                  <a:pt x="696" y="146"/>
                </a:lnTo>
                <a:lnTo>
                  <a:pt x="690" y="147"/>
                </a:lnTo>
                <a:lnTo>
                  <a:pt x="686" y="148"/>
                </a:lnTo>
                <a:lnTo>
                  <a:pt x="686" y="148"/>
                </a:lnTo>
                <a:lnTo>
                  <a:pt x="680" y="148"/>
                </a:lnTo>
                <a:lnTo>
                  <a:pt x="676" y="150"/>
                </a:lnTo>
                <a:lnTo>
                  <a:pt x="670" y="153"/>
                </a:lnTo>
                <a:lnTo>
                  <a:pt x="666" y="157"/>
                </a:lnTo>
                <a:lnTo>
                  <a:pt x="666" y="157"/>
                </a:lnTo>
                <a:lnTo>
                  <a:pt x="662" y="161"/>
                </a:lnTo>
                <a:lnTo>
                  <a:pt x="661" y="165"/>
                </a:lnTo>
                <a:lnTo>
                  <a:pt x="656" y="168"/>
                </a:lnTo>
                <a:lnTo>
                  <a:pt x="652" y="170"/>
                </a:lnTo>
                <a:lnTo>
                  <a:pt x="652" y="170"/>
                </a:lnTo>
                <a:lnTo>
                  <a:pt x="641" y="171"/>
                </a:lnTo>
                <a:lnTo>
                  <a:pt x="635" y="174"/>
                </a:lnTo>
                <a:lnTo>
                  <a:pt x="628" y="177"/>
                </a:lnTo>
                <a:lnTo>
                  <a:pt x="628" y="177"/>
                </a:lnTo>
                <a:lnTo>
                  <a:pt x="619" y="181"/>
                </a:lnTo>
                <a:lnTo>
                  <a:pt x="612" y="183"/>
                </a:lnTo>
                <a:lnTo>
                  <a:pt x="606" y="181"/>
                </a:lnTo>
                <a:lnTo>
                  <a:pt x="602" y="180"/>
                </a:lnTo>
                <a:lnTo>
                  <a:pt x="602" y="180"/>
                </a:lnTo>
                <a:lnTo>
                  <a:pt x="598" y="178"/>
                </a:lnTo>
                <a:lnTo>
                  <a:pt x="594" y="178"/>
                </a:lnTo>
                <a:lnTo>
                  <a:pt x="589" y="180"/>
                </a:lnTo>
                <a:lnTo>
                  <a:pt x="587" y="184"/>
                </a:lnTo>
                <a:lnTo>
                  <a:pt x="587" y="184"/>
                </a:lnTo>
                <a:lnTo>
                  <a:pt x="585" y="185"/>
                </a:lnTo>
                <a:lnTo>
                  <a:pt x="585" y="188"/>
                </a:lnTo>
                <a:lnTo>
                  <a:pt x="588" y="192"/>
                </a:lnTo>
                <a:lnTo>
                  <a:pt x="589" y="197"/>
                </a:lnTo>
                <a:lnTo>
                  <a:pt x="591" y="202"/>
                </a:lnTo>
                <a:lnTo>
                  <a:pt x="591" y="202"/>
                </a:lnTo>
                <a:lnTo>
                  <a:pt x="589" y="205"/>
                </a:lnTo>
                <a:lnTo>
                  <a:pt x="588" y="207"/>
                </a:lnTo>
                <a:lnTo>
                  <a:pt x="584" y="210"/>
                </a:lnTo>
                <a:lnTo>
                  <a:pt x="577" y="212"/>
                </a:lnTo>
                <a:lnTo>
                  <a:pt x="571" y="218"/>
                </a:lnTo>
                <a:lnTo>
                  <a:pt x="571" y="218"/>
                </a:lnTo>
                <a:lnTo>
                  <a:pt x="564" y="224"/>
                </a:lnTo>
                <a:lnTo>
                  <a:pt x="557" y="228"/>
                </a:lnTo>
                <a:lnTo>
                  <a:pt x="548" y="229"/>
                </a:lnTo>
                <a:lnTo>
                  <a:pt x="542" y="229"/>
                </a:lnTo>
                <a:lnTo>
                  <a:pt x="542" y="229"/>
                </a:lnTo>
                <a:lnTo>
                  <a:pt x="527" y="228"/>
                </a:lnTo>
                <a:lnTo>
                  <a:pt x="515" y="228"/>
                </a:lnTo>
                <a:lnTo>
                  <a:pt x="511" y="229"/>
                </a:lnTo>
                <a:lnTo>
                  <a:pt x="505" y="231"/>
                </a:lnTo>
                <a:lnTo>
                  <a:pt x="505" y="231"/>
                </a:lnTo>
                <a:lnTo>
                  <a:pt x="497" y="237"/>
                </a:lnTo>
                <a:lnTo>
                  <a:pt x="488" y="241"/>
                </a:lnTo>
                <a:lnTo>
                  <a:pt x="483" y="245"/>
                </a:lnTo>
                <a:lnTo>
                  <a:pt x="478" y="245"/>
                </a:lnTo>
                <a:lnTo>
                  <a:pt x="478" y="245"/>
                </a:lnTo>
                <a:lnTo>
                  <a:pt x="474" y="244"/>
                </a:lnTo>
                <a:lnTo>
                  <a:pt x="473" y="242"/>
                </a:lnTo>
                <a:lnTo>
                  <a:pt x="470" y="239"/>
                </a:lnTo>
                <a:lnTo>
                  <a:pt x="466" y="239"/>
                </a:lnTo>
                <a:lnTo>
                  <a:pt x="466" y="239"/>
                </a:lnTo>
                <a:lnTo>
                  <a:pt x="460" y="239"/>
                </a:lnTo>
                <a:lnTo>
                  <a:pt x="457" y="239"/>
                </a:lnTo>
                <a:lnTo>
                  <a:pt x="449" y="235"/>
                </a:lnTo>
                <a:lnTo>
                  <a:pt x="449" y="235"/>
                </a:lnTo>
                <a:lnTo>
                  <a:pt x="446" y="234"/>
                </a:lnTo>
                <a:lnTo>
                  <a:pt x="441" y="234"/>
                </a:lnTo>
                <a:lnTo>
                  <a:pt x="437" y="234"/>
                </a:lnTo>
                <a:lnTo>
                  <a:pt x="431" y="231"/>
                </a:lnTo>
                <a:lnTo>
                  <a:pt x="431" y="231"/>
                </a:lnTo>
                <a:lnTo>
                  <a:pt x="424" y="228"/>
                </a:lnTo>
                <a:lnTo>
                  <a:pt x="416" y="227"/>
                </a:lnTo>
                <a:lnTo>
                  <a:pt x="403" y="225"/>
                </a:lnTo>
                <a:lnTo>
                  <a:pt x="403" y="225"/>
                </a:lnTo>
                <a:lnTo>
                  <a:pt x="385" y="224"/>
                </a:lnTo>
                <a:lnTo>
                  <a:pt x="365" y="224"/>
                </a:lnTo>
                <a:lnTo>
                  <a:pt x="365" y="224"/>
                </a:lnTo>
                <a:lnTo>
                  <a:pt x="352" y="224"/>
                </a:lnTo>
                <a:lnTo>
                  <a:pt x="346" y="224"/>
                </a:lnTo>
                <a:lnTo>
                  <a:pt x="345" y="222"/>
                </a:lnTo>
                <a:lnTo>
                  <a:pt x="343" y="222"/>
                </a:lnTo>
                <a:lnTo>
                  <a:pt x="343" y="222"/>
                </a:lnTo>
                <a:lnTo>
                  <a:pt x="342" y="218"/>
                </a:lnTo>
                <a:lnTo>
                  <a:pt x="339" y="215"/>
                </a:lnTo>
                <a:lnTo>
                  <a:pt x="336" y="211"/>
                </a:lnTo>
                <a:lnTo>
                  <a:pt x="335" y="205"/>
                </a:lnTo>
                <a:lnTo>
                  <a:pt x="335" y="205"/>
                </a:lnTo>
                <a:lnTo>
                  <a:pt x="332" y="200"/>
                </a:lnTo>
                <a:lnTo>
                  <a:pt x="329" y="195"/>
                </a:lnTo>
                <a:lnTo>
                  <a:pt x="326" y="192"/>
                </a:lnTo>
                <a:lnTo>
                  <a:pt x="322" y="192"/>
                </a:lnTo>
                <a:lnTo>
                  <a:pt x="322" y="192"/>
                </a:lnTo>
                <a:lnTo>
                  <a:pt x="319" y="190"/>
                </a:lnTo>
                <a:lnTo>
                  <a:pt x="316" y="188"/>
                </a:lnTo>
                <a:lnTo>
                  <a:pt x="315" y="185"/>
                </a:lnTo>
                <a:lnTo>
                  <a:pt x="312" y="184"/>
                </a:lnTo>
                <a:lnTo>
                  <a:pt x="312" y="184"/>
                </a:lnTo>
                <a:lnTo>
                  <a:pt x="309" y="184"/>
                </a:lnTo>
                <a:lnTo>
                  <a:pt x="308" y="181"/>
                </a:lnTo>
                <a:lnTo>
                  <a:pt x="303" y="178"/>
                </a:lnTo>
                <a:lnTo>
                  <a:pt x="299" y="177"/>
                </a:lnTo>
                <a:lnTo>
                  <a:pt x="299" y="177"/>
                </a:lnTo>
                <a:lnTo>
                  <a:pt x="292" y="177"/>
                </a:lnTo>
                <a:lnTo>
                  <a:pt x="281" y="175"/>
                </a:lnTo>
                <a:lnTo>
                  <a:pt x="269" y="173"/>
                </a:lnTo>
                <a:lnTo>
                  <a:pt x="265" y="171"/>
                </a:lnTo>
                <a:lnTo>
                  <a:pt x="264" y="168"/>
                </a:lnTo>
                <a:lnTo>
                  <a:pt x="264" y="168"/>
                </a:lnTo>
                <a:lnTo>
                  <a:pt x="262" y="165"/>
                </a:lnTo>
                <a:lnTo>
                  <a:pt x="264" y="163"/>
                </a:lnTo>
                <a:lnTo>
                  <a:pt x="266" y="158"/>
                </a:lnTo>
                <a:lnTo>
                  <a:pt x="266" y="155"/>
                </a:lnTo>
                <a:lnTo>
                  <a:pt x="266" y="155"/>
                </a:lnTo>
                <a:lnTo>
                  <a:pt x="269" y="146"/>
                </a:lnTo>
                <a:lnTo>
                  <a:pt x="269" y="141"/>
                </a:lnTo>
                <a:lnTo>
                  <a:pt x="268" y="140"/>
                </a:lnTo>
                <a:lnTo>
                  <a:pt x="268" y="140"/>
                </a:lnTo>
                <a:lnTo>
                  <a:pt x="262" y="134"/>
                </a:lnTo>
                <a:lnTo>
                  <a:pt x="261" y="131"/>
                </a:lnTo>
                <a:lnTo>
                  <a:pt x="259" y="127"/>
                </a:lnTo>
                <a:lnTo>
                  <a:pt x="259" y="127"/>
                </a:lnTo>
                <a:lnTo>
                  <a:pt x="258" y="123"/>
                </a:lnTo>
                <a:lnTo>
                  <a:pt x="254" y="120"/>
                </a:lnTo>
                <a:lnTo>
                  <a:pt x="249" y="117"/>
                </a:lnTo>
                <a:lnTo>
                  <a:pt x="245" y="116"/>
                </a:lnTo>
                <a:lnTo>
                  <a:pt x="245" y="116"/>
                </a:lnTo>
                <a:lnTo>
                  <a:pt x="242" y="116"/>
                </a:lnTo>
                <a:lnTo>
                  <a:pt x="238" y="113"/>
                </a:lnTo>
                <a:lnTo>
                  <a:pt x="231" y="109"/>
                </a:lnTo>
                <a:lnTo>
                  <a:pt x="231" y="109"/>
                </a:lnTo>
                <a:lnTo>
                  <a:pt x="224" y="103"/>
                </a:lnTo>
                <a:lnTo>
                  <a:pt x="222" y="100"/>
                </a:lnTo>
                <a:lnTo>
                  <a:pt x="220" y="93"/>
                </a:lnTo>
                <a:lnTo>
                  <a:pt x="220" y="93"/>
                </a:lnTo>
                <a:lnTo>
                  <a:pt x="220" y="91"/>
                </a:lnTo>
                <a:lnTo>
                  <a:pt x="220" y="91"/>
                </a:lnTo>
                <a:lnTo>
                  <a:pt x="214" y="90"/>
                </a:lnTo>
                <a:lnTo>
                  <a:pt x="214" y="90"/>
                </a:lnTo>
                <a:lnTo>
                  <a:pt x="211" y="90"/>
                </a:lnTo>
                <a:lnTo>
                  <a:pt x="210" y="87"/>
                </a:lnTo>
                <a:lnTo>
                  <a:pt x="210" y="87"/>
                </a:lnTo>
                <a:lnTo>
                  <a:pt x="208" y="91"/>
                </a:lnTo>
                <a:lnTo>
                  <a:pt x="205" y="93"/>
                </a:lnTo>
                <a:lnTo>
                  <a:pt x="204" y="96"/>
                </a:lnTo>
                <a:lnTo>
                  <a:pt x="204" y="99"/>
                </a:lnTo>
                <a:lnTo>
                  <a:pt x="204" y="99"/>
                </a:lnTo>
                <a:lnTo>
                  <a:pt x="202" y="101"/>
                </a:lnTo>
                <a:lnTo>
                  <a:pt x="202" y="104"/>
                </a:lnTo>
                <a:lnTo>
                  <a:pt x="200" y="106"/>
                </a:lnTo>
                <a:lnTo>
                  <a:pt x="197" y="107"/>
                </a:lnTo>
                <a:lnTo>
                  <a:pt x="197" y="107"/>
                </a:lnTo>
                <a:lnTo>
                  <a:pt x="192" y="107"/>
                </a:lnTo>
                <a:lnTo>
                  <a:pt x="190" y="110"/>
                </a:lnTo>
                <a:lnTo>
                  <a:pt x="187" y="114"/>
                </a:lnTo>
                <a:lnTo>
                  <a:pt x="185" y="120"/>
                </a:lnTo>
                <a:lnTo>
                  <a:pt x="185" y="120"/>
                </a:lnTo>
                <a:lnTo>
                  <a:pt x="187" y="124"/>
                </a:lnTo>
                <a:lnTo>
                  <a:pt x="188" y="127"/>
                </a:lnTo>
                <a:lnTo>
                  <a:pt x="188" y="130"/>
                </a:lnTo>
                <a:lnTo>
                  <a:pt x="188" y="133"/>
                </a:lnTo>
                <a:lnTo>
                  <a:pt x="188" y="133"/>
                </a:lnTo>
                <a:lnTo>
                  <a:pt x="185" y="134"/>
                </a:lnTo>
                <a:lnTo>
                  <a:pt x="181" y="137"/>
                </a:lnTo>
                <a:lnTo>
                  <a:pt x="177" y="138"/>
                </a:lnTo>
                <a:lnTo>
                  <a:pt x="173" y="137"/>
                </a:lnTo>
                <a:lnTo>
                  <a:pt x="173" y="137"/>
                </a:lnTo>
                <a:lnTo>
                  <a:pt x="167" y="137"/>
                </a:lnTo>
                <a:lnTo>
                  <a:pt x="158" y="137"/>
                </a:lnTo>
                <a:lnTo>
                  <a:pt x="158" y="137"/>
                </a:lnTo>
                <a:lnTo>
                  <a:pt x="154" y="136"/>
                </a:lnTo>
                <a:lnTo>
                  <a:pt x="151" y="133"/>
                </a:lnTo>
                <a:lnTo>
                  <a:pt x="150" y="133"/>
                </a:lnTo>
                <a:lnTo>
                  <a:pt x="147" y="137"/>
                </a:lnTo>
                <a:lnTo>
                  <a:pt x="147" y="137"/>
                </a:lnTo>
                <a:lnTo>
                  <a:pt x="141" y="154"/>
                </a:lnTo>
                <a:lnTo>
                  <a:pt x="138" y="163"/>
                </a:lnTo>
                <a:lnTo>
                  <a:pt x="137" y="165"/>
                </a:lnTo>
                <a:lnTo>
                  <a:pt x="138" y="167"/>
                </a:lnTo>
                <a:lnTo>
                  <a:pt x="138" y="167"/>
                </a:lnTo>
                <a:lnTo>
                  <a:pt x="140" y="170"/>
                </a:lnTo>
                <a:lnTo>
                  <a:pt x="140" y="171"/>
                </a:lnTo>
                <a:lnTo>
                  <a:pt x="140" y="174"/>
                </a:lnTo>
                <a:lnTo>
                  <a:pt x="138" y="174"/>
                </a:lnTo>
                <a:lnTo>
                  <a:pt x="138" y="174"/>
                </a:lnTo>
                <a:lnTo>
                  <a:pt x="131" y="174"/>
                </a:lnTo>
                <a:lnTo>
                  <a:pt x="126" y="171"/>
                </a:lnTo>
                <a:lnTo>
                  <a:pt x="126" y="171"/>
                </a:lnTo>
                <a:lnTo>
                  <a:pt x="124" y="171"/>
                </a:lnTo>
                <a:lnTo>
                  <a:pt x="120" y="173"/>
                </a:lnTo>
                <a:lnTo>
                  <a:pt x="116" y="174"/>
                </a:lnTo>
                <a:lnTo>
                  <a:pt x="111" y="174"/>
                </a:lnTo>
                <a:lnTo>
                  <a:pt x="111" y="174"/>
                </a:lnTo>
                <a:lnTo>
                  <a:pt x="104" y="177"/>
                </a:lnTo>
                <a:lnTo>
                  <a:pt x="101" y="180"/>
                </a:lnTo>
                <a:lnTo>
                  <a:pt x="101" y="180"/>
                </a:lnTo>
                <a:lnTo>
                  <a:pt x="101" y="181"/>
                </a:lnTo>
                <a:lnTo>
                  <a:pt x="101" y="181"/>
                </a:lnTo>
                <a:lnTo>
                  <a:pt x="104" y="184"/>
                </a:lnTo>
                <a:lnTo>
                  <a:pt x="106" y="187"/>
                </a:lnTo>
                <a:lnTo>
                  <a:pt x="106" y="195"/>
                </a:lnTo>
                <a:lnTo>
                  <a:pt x="106" y="195"/>
                </a:lnTo>
                <a:lnTo>
                  <a:pt x="107" y="198"/>
                </a:lnTo>
                <a:lnTo>
                  <a:pt x="109" y="204"/>
                </a:lnTo>
                <a:lnTo>
                  <a:pt x="111" y="210"/>
                </a:lnTo>
                <a:lnTo>
                  <a:pt x="111" y="212"/>
                </a:lnTo>
                <a:lnTo>
                  <a:pt x="111" y="212"/>
                </a:lnTo>
                <a:lnTo>
                  <a:pt x="110" y="215"/>
                </a:lnTo>
                <a:lnTo>
                  <a:pt x="107" y="218"/>
                </a:lnTo>
                <a:lnTo>
                  <a:pt x="104" y="221"/>
                </a:lnTo>
                <a:lnTo>
                  <a:pt x="103" y="225"/>
                </a:lnTo>
                <a:lnTo>
                  <a:pt x="103" y="225"/>
                </a:lnTo>
                <a:lnTo>
                  <a:pt x="104" y="231"/>
                </a:lnTo>
                <a:lnTo>
                  <a:pt x="103" y="234"/>
                </a:lnTo>
                <a:lnTo>
                  <a:pt x="103" y="235"/>
                </a:lnTo>
                <a:lnTo>
                  <a:pt x="103" y="235"/>
                </a:lnTo>
                <a:lnTo>
                  <a:pt x="96" y="238"/>
                </a:lnTo>
                <a:lnTo>
                  <a:pt x="89" y="242"/>
                </a:lnTo>
                <a:lnTo>
                  <a:pt x="89" y="242"/>
                </a:lnTo>
                <a:lnTo>
                  <a:pt x="82" y="245"/>
                </a:lnTo>
                <a:lnTo>
                  <a:pt x="77" y="247"/>
                </a:lnTo>
                <a:lnTo>
                  <a:pt x="76" y="249"/>
                </a:lnTo>
                <a:lnTo>
                  <a:pt x="76" y="249"/>
                </a:lnTo>
                <a:lnTo>
                  <a:pt x="74" y="252"/>
                </a:lnTo>
                <a:lnTo>
                  <a:pt x="72" y="255"/>
                </a:lnTo>
                <a:lnTo>
                  <a:pt x="67" y="256"/>
                </a:lnTo>
                <a:lnTo>
                  <a:pt x="63" y="256"/>
                </a:lnTo>
                <a:lnTo>
                  <a:pt x="63" y="256"/>
                </a:lnTo>
                <a:lnTo>
                  <a:pt x="54" y="255"/>
                </a:lnTo>
                <a:lnTo>
                  <a:pt x="52" y="256"/>
                </a:lnTo>
                <a:lnTo>
                  <a:pt x="49" y="261"/>
                </a:lnTo>
                <a:lnTo>
                  <a:pt x="49" y="261"/>
                </a:lnTo>
                <a:lnTo>
                  <a:pt x="45" y="264"/>
                </a:lnTo>
                <a:lnTo>
                  <a:pt x="43" y="265"/>
                </a:lnTo>
                <a:lnTo>
                  <a:pt x="39" y="266"/>
                </a:lnTo>
                <a:lnTo>
                  <a:pt x="39" y="266"/>
                </a:lnTo>
                <a:lnTo>
                  <a:pt x="36" y="268"/>
                </a:lnTo>
                <a:lnTo>
                  <a:pt x="33" y="266"/>
                </a:lnTo>
                <a:lnTo>
                  <a:pt x="29" y="264"/>
                </a:lnTo>
                <a:lnTo>
                  <a:pt x="29" y="264"/>
                </a:lnTo>
                <a:lnTo>
                  <a:pt x="26" y="264"/>
                </a:lnTo>
                <a:lnTo>
                  <a:pt x="23" y="265"/>
                </a:lnTo>
                <a:lnTo>
                  <a:pt x="19" y="266"/>
                </a:lnTo>
                <a:lnTo>
                  <a:pt x="19" y="266"/>
                </a:lnTo>
                <a:lnTo>
                  <a:pt x="17" y="268"/>
                </a:lnTo>
                <a:lnTo>
                  <a:pt x="15" y="269"/>
                </a:lnTo>
                <a:lnTo>
                  <a:pt x="13" y="271"/>
                </a:lnTo>
                <a:lnTo>
                  <a:pt x="10" y="272"/>
                </a:lnTo>
                <a:lnTo>
                  <a:pt x="10" y="272"/>
                </a:lnTo>
                <a:lnTo>
                  <a:pt x="5" y="274"/>
                </a:lnTo>
                <a:lnTo>
                  <a:pt x="3" y="275"/>
                </a:lnTo>
                <a:lnTo>
                  <a:pt x="3" y="276"/>
                </a:lnTo>
                <a:lnTo>
                  <a:pt x="3" y="276"/>
                </a:lnTo>
                <a:lnTo>
                  <a:pt x="2" y="281"/>
                </a:lnTo>
                <a:lnTo>
                  <a:pt x="0" y="285"/>
                </a:lnTo>
                <a:lnTo>
                  <a:pt x="0" y="285"/>
                </a:lnTo>
                <a:lnTo>
                  <a:pt x="3" y="299"/>
                </a:lnTo>
                <a:lnTo>
                  <a:pt x="3" y="299"/>
                </a:lnTo>
                <a:lnTo>
                  <a:pt x="10" y="302"/>
                </a:lnTo>
                <a:lnTo>
                  <a:pt x="16" y="305"/>
                </a:lnTo>
                <a:lnTo>
                  <a:pt x="17" y="306"/>
                </a:lnTo>
                <a:lnTo>
                  <a:pt x="19" y="309"/>
                </a:lnTo>
                <a:lnTo>
                  <a:pt x="19" y="309"/>
                </a:lnTo>
                <a:lnTo>
                  <a:pt x="22" y="330"/>
                </a:lnTo>
                <a:lnTo>
                  <a:pt x="22" y="330"/>
                </a:lnTo>
                <a:lnTo>
                  <a:pt x="22" y="330"/>
                </a:lnTo>
                <a:lnTo>
                  <a:pt x="22" y="330"/>
                </a:lnTo>
                <a:lnTo>
                  <a:pt x="32" y="338"/>
                </a:lnTo>
                <a:lnTo>
                  <a:pt x="35" y="340"/>
                </a:lnTo>
                <a:lnTo>
                  <a:pt x="36" y="342"/>
                </a:lnTo>
                <a:lnTo>
                  <a:pt x="36" y="342"/>
                </a:lnTo>
                <a:lnTo>
                  <a:pt x="37" y="348"/>
                </a:lnTo>
                <a:lnTo>
                  <a:pt x="40" y="350"/>
                </a:lnTo>
                <a:lnTo>
                  <a:pt x="45" y="355"/>
                </a:lnTo>
                <a:lnTo>
                  <a:pt x="45" y="355"/>
                </a:lnTo>
                <a:lnTo>
                  <a:pt x="57" y="360"/>
                </a:lnTo>
                <a:lnTo>
                  <a:pt x="57" y="360"/>
                </a:lnTo>
                <a:lnTo>
                  <a:pt x="57" y="359"/>
                </a:lnTo>
                <a:lnTo>
                  <a:pt x="64" y="359"/>
                </a:lnTo>
                <a:lnTo>
                  <a:pt x="64" y="359"/>
                </a:lnTo>
                <a:lnTo>
                  <a:pt x="67" y="362"/>
                </a:lnTo>
                <a:lnTo>
                  <a:pt x="67" y="362"/>
                </a:lnTo>
                <a:lnTo>
                  <a:pt x="70" y="357"/>
                </a:lnTo>
                <a:lnTo>
                  <a:pt x="74" y="355"/>
                </a:lnTo>
                <a:lnTo>
                  <a:pt x="80" y="352"/>
                </a:lnTo>
                <a:lnTo>
                  <a:pt x="86" y="352"/>
                </a:lnTo>
                <a:lnTo>
                  <a:pt x="86" y="352"/>
                </a:lnTo>
                <a:lnTo>
                  <a:pt x="91" y="353"/>
                </a:lnTo>
                <a:lnTo>
                  <a:pt x="97" y="357"/>
                </a:lnTo>
                <a:lnTo>
                  <a:pt x="103" y="363"/>
                </a:lnTo>
                <a:lnTo>
                  <a:pt x="104" y="365"/>
                </a:lnTo>
                <a:lnTo>
                  <a:pt x="104" y="366"/>
                </a:lnTo>
                <a:lnTo>
                  <a:pt x="104" y="366"/>
                </a:lnTo>
                <a:lnTo>
                  <a:pt x="97" y="377"/>
                </a:lnTo>
                <a:lnTo>
                  <a:pt x="93" y="383"/>
                </a:lnTo>
                <a:lnTo>
                  <a:pt x="89" y="386"/>
                </a:lnTo>
                <a:lnTo>
                  <a:pt x="89" y="386"/>
                </a:lnTo>
                <a:lnTo>
                  <a:pt x="82" y="386"/>
                </a:lnTo>
                <a:lnTo>
                  <a:pt x="82" y="386"/>
                </a:lnTo>
                <a:lnTo>
                  <a:pt x="80" y="392"/>
                </a:lnTo>
                <a:lnTo>
                  <a:pt x="80" y="392"/>
                </a:lnTo>
                <a:lnTo>
                  <a:pt x="82" y="394"/>
                </a:lnTo>
                <a:lnTo>
                  <a:pt x="83" y="399"/>
                </a:lnTo>
                <a:lnTo>
                  <a:pt x="89" y="406"/>
                </a:lnTo>
                <a:lnTo>
                  <a:pt x="89" y="406"/>
                </a:lnTo>
                <a:lnTo>
                  <a:pt x="90" y="409"/>
                </a:lnTo>
                <a:lnTo>
                  <a:pt x="90" y="410"/>
                </a:lnTo>
                <a:lnTo>
                  <a:pt x="87" y="413"/>
                </a:lnTo>
                <a:lnTo>
                  <a:pt x="83" y="413"/>
                </a:lnTo>
                <a:lnTo>
                  <a:pt x="80" y="412"/>
                </a:lnTo>
                <a:lnTo>
                  <a:pt x="80" y="412"/>
                </a:lnTo>
                <a:lnTo>
                  <a:pt x="77" y="412"/>
                </a:lnTo>
                <a:lnTo>
                  <a:pt x="74" y="413"/>
                </a:lnTo>
                <a:lnTo>
                  <a:pt x="74" y="416"/>
                </a:lnTo>
                <a:lnTo>
                  <a:pt x="76" y="419"/>
                </a:lnTo>
                <a:lnTo>
                  <a:pt x="76" y="419"/>
                </a:lnTo>
                <a:lnTo>
                  <a:pt x="77" y="422"/>
                </a:lnTo>
                <a:lnTo>
                  <a:pt x="77" y="426"/>
                </a:lnTo>
                <a:lnTo>
                  <a:pt x="79" y="430"/>
                </a:lnTo>
                <a:lnTo>
                  <a:pt x="82" y="431"/>
                </a:lnTo>
                <a:lnTo>
                  <a:pt x="82" y="431"/>
                </a:lnTo>
                <a:lnTo>
                  <a:pt x="84" y="433"/>
                </a:lnTo>
                <a:lnTo>
                  <a:pt x="87" y="437"/>
                </a:lnTo>
                <a:lnTo>
                  <a:pt x="91" y="440"/>
                </a:lnTo>
                <a:lnTo>
                  <a:pt x="94" y="441"/>
                </a:lnTo>
                <a:lnTo>
                  <a:pt x="94" y="441"/>
                </a:lnTo>
                <a:lnTo>
                  <a:pt x="99" y="443"/>
                </a:lnTo>
                <a:lnTo>
                  <a:pt x="101" y="446"/>
                </a:lnTo>
                <a:lnTo>
                  <a:pt x="104" y="449"/>
                </a:lnTo>
                <a:lnTo>
                  <a:pt x="104" y="449"/>
                </a:lnTo>
                <a:lnTo>
                  <a:pt x="107" y="451"/>
                </a:lnTo>
                <a:lnTo>
                  <a:pt x="110" y="454"/>
                </a:lnTo>
                <a:lnTo>
                  <a:pt x="111" y="456"/>
                </a:lnTo>
                <a:lnTo>
                  <a:pt x="111" y="456"/>
                </a:lnTo>
                <a:lnTo>
                  <a:pt x="111" y="457"/>
                </a:lnTo>
                <a:lnTo>
                  <a:pt x="111" y="457"/>
                </a:lnTo>
                <a:lnTo>
                  <a:pt x="117" y="456"/>
                </a:lnTo>
                <a:lnTo>
                  <a:pt x="120" y="456"/>
                </a:lnTo>
                <a:lnTo>
                  <a:pt x="121" y="454"/>
                </a:lnTo>
                <a:lnTo>
                  <a:pt x="121" y="454"/>
                </a:lnTo>
                <a:lnTo>
                  <a:pt x="123" y="453"/>
                </a:lnTo>
                <a:lnTo>
                  <a:pt x="126" y="453"/>
                </a:lnTo>
                <a:lnTo>
                  <a:pt x="130" y="454"/>
                </a:lnTo>
                <a:lnTo>
                  <a:pt x="134" y="457"/>
                </a:lnTo>
                <a:lnTo>
                  <a:pt x="134" y="457"/>
                </a:lnTo>
                <a:lnTo>
                  <a:pt x="148" y="468"/>
                </a:lnTo>
                <a:lnTo>
                  <a:pt x="167" y="480"/>
                </a:lnTo>
                <a:lnTo>
                  <a:pt x="167" y="480"/>
                </a:lnTo>
                <a:lnTo>
                  <a:pt x="174" y="486"/>
                </a:lnTo>
                <a:lnTo>
                  <a:pt x="183" y="488"/>
                </a:lnTo>
                <a:lnTo>
                  <a:pt x="191" y="491"/>
                </a:lnTo>
                <a:lnTo>
                  <a:pt x="197" y="493"/>
                </a:lnTo>
                <a:lnTo>
                  <a:pt x="197" y="493"/>
                </a:lnTo>
                <a:lnTo>
                  <a:pt x="202" y="494"/>
                </a:lnTo>
                <a:lnTo>
                  <a:pt x="207" y="495"/>
                </a:lnTo>
                <a:lnTo>
                  <a:pt x="212" y="497"/>
                </a:lnTo>
                <a:lnTo>
                  <a:pt x="218" y="497"/>
                </a:lnTo>
                <a:lnTo>
                  <a:pt x="218" y="497"/>
                </a:lnTo>
                <a:lnTo>
                  <a:pt x="222" y="497"/>
                </a:lnTo>
                <a:lnTo>
                  <a:pt x="222" y="497"/>
                </a:lnTo>
                <a:lnTo>
                  <a:pt x="224" y="495"/>
                </a:lnTo>
                <a:lnTo>
                  <a:pt x="227" y="493"/>
                </a:lnTo>
                <a:lnTo>
                  <a:pt x="227" y="493"/>
                </a:lnTo>
                <a:lnTo>
                  <a:pt x="229" y="491"/>
                </a:lnTo>
                <a:lnTo>
                  <a:pt x="231" y="494"/>
                </a:lnTo>
                <a:lnTo>
                  <a:pt x="232" y="497"/>
                </a:lnTo>
                <a:lnTo>
                  <a:pt x="232" y="501"/>
                </a:lnTo>
                <a:lnTo>
                  <a:pt x="232" y="501"/>
                </a:lnTo>
                <a:lnTo>
                  <a:pt x="232" y="505"/>
                </a:lnTo>
                <a:lnTo>
                  <a:pt x="234" y="508"/>
                </a:lnTo>
                <a:lnTo>
                  <a:pt x="234" y="508"/>
                </a:lnTo>
                <a:lnTo>
                  <a:pt x="237" y="501"/>
                </a:lnTo>
                <a:lnTo>
                  <a:pt x="237" y="501"/>
                </a:lnTo>
                <a:lnTo>
                  <a:pt x="239" y="497"/>
                </a:lnTo>
                <a:lnTo>
                  <a:pt x="242" y="494"/>
                </a:lnTo>
                <a:lnTo>
                  <a:pt x="248" y="491"/>
                </a:lnTo>
                <a:lnTo>
                  <a:pt x="248" y="491"/>
                </a:lnTo>
                <a:lnTo>
                  <a:pt x="251" y="490"/>
                </a:lnTo>
                <a:lnTo>
                  <a:pt x="254" y="490"/>
                </a:lnTo>
                <a:lnTo>
                  <a:pt x="261" y="494"/>
                </a:lnTo>
                <a:lnTo>
                  <a:pt x="261" y="494"/>
                </a:lnTo>
                <a:lnTo>
                  <a:pt x="265" y="494"/>
                </a:lnTo>
                <a:lnTo>
                  <a:pt x="269" y="494"/>
                </a:lnTo>
                <a:lnTo>
                  <a:pt x="274" y="494"/>
                </a:lnTo>
                <a:lnTo>
                  <a:pt x="279" y="498"/>
                </a:lnTo>
                <a:lnTo>
                  <a:pt x="279" y="498"/>
                </a:lnTo>
                <a:lnTo>
                  <a:pt x="285" y="497"/>
                </a:lnTo>
                <a:lnTo>
                  <a:pt x="285" y="497"/>
                </a:lnTo>
                <a:lnTo>
                  <a:pt x="289" y="494"/>
                </a:lnTo>
                <a:lnTo>
                  <a:pt x="293" y="490"/>
                </a:lnTo>
                <a:lnTo>
                  <a:pt x="293" y="490"/>
                </a:lnTo>
                <a:lnTo>
                  <a:pt x="296" y="486"/>
                </a:lnTo>
                <a:lnTo>
                  <a:pt x="298" y="484"/>
                </a:lnTo>
                <a:lnTo>
                  <a:pt x="299" y="484"/>
                </a:lnTo>
                <a:lnTo>
                  <a:pt x="299" y="484"/>
                </a:lnTo>
                <a:lnTo>
                  <a:pt x="302" y="483"/>
                </a:lnTo>
                <a:lnTo>
                  <a:pt x="305" y="481"/>
                </a:lnTo>
                <a:lnTo>
                  <a:pt x="308" y="478"/>
                </a:lnTo>
                <a:lnTo>
                  <a:pt x="313" y="474"/>
                </a:lnTo>
                <a:lnTo>
                  <a:pt x="313" y="474"/>
                </a:lnTo>
                <a:lnTo>
                  <a:pt x="319" y="473"/>
                </a:lnTo>
                <a:lnTo>
                  <a:pt x="325" y="474"/>
                </a:lnTo>
                <a:lnTo>
                  <a:pt x="329" y="474"/>
                </a:lnTo>
                <a:lnTo>
                  <a:pt x="332" y="474"/>
                </a:lnTo>
                <a:lnTo>
                  <a:pt x="332" y="474"/>
                </a:lnTo>
                <a:lnTo>
                  <a:pt x="338" y="471"/>
                </a:lnTo>
                <a:lnTo>
                  <a:pt x="339" y="471"/>
                </a:lnTo>
                <a:lnTo>
                  <a:pt x="340" y="473"/>
                </a:lnTo>
                <a:lnTo>
                  <a:pt x="340" y="473"/>
                </a:lnTo>
                <a:lnTo>
                  <a:pt x="342" y="476"/>
                </a:lnTo>
                <a:lnTo>
                  <a:pt x="343" y="478"/>
                </a:lnTo>
                <a:lnTo>
                  <a:pt x="346" y="484"/>
                </a:lnTo>
                <a:lnTo>
                  <a:pt x="346" y="484"/>
                </a:lnTo>
                <a:lnTo>
                  <a:pt x="349" y="486"/>
                </a:lnTo>
                <a:lnTo>
                  <a:pt x="352" y="487"/>
                </a:lnTo>
                <a:lnTo>
                  <a:pt x="356" y="488"/>
                </a:lnTo>
                <a:lnTo>
                  <a:pt x="356" y="488"/>
                </a:lnTo>
                <a:lnTo>
                  <a:pt x="359" y="487"/>
                </a:lnTo>
                <a:lnTo>
                  <a:pt x="359" y="487"/>
                </a:lnTo>
                <a:lnTo>
                  <a:pt x="362" y="486"/>
                </a:lnTo>
                <a:lnTo>
                  <a:pt x="366" y="487"/>
                </a:lnTo>
                <a:lnTo>
                  <a:pt x="369" y="488"/>
                </a:lnTo>
                <a:lnTo>
                  <a:pt x="369" y="491"/>
                </a:lnTo>
                <a:lnTo>
                  <a:pt x="369" y="491"/>
                </a:lnTo>
                <a:lnTo>
                  <a:pt x="370" y="497"/>
                </a:lnTo>
                <a:lnTo>
                  <a:pt x="372" y="500"/>
                </a:lnTo>
                <a:lnTo>
                  <a:pt x="373" y="500"/>
                </a:lnTo>
                <a:lnTo>
                  <a:pt x="373" y="500"/>
                </a:lnTo>
                <a:lnTo>
                  <a:pt x="375" y="500"/>
                </a:lnTo>
                <a:lnTo>
                  <a:pt x="377" y="501"/>
                </a:lnTo>
                <a:lnTo>
                  <a:pt x="379" y="504"/>
                </a:lnTo>
                <a:lnTo>
                  <a:pt x="379" y="508"/>
                </a:lnTo>
                <a:lnTo>
                  <a:pt x="379" y="508"/>
                </a:lnTo>
                <a:lnTo>
                  <a:pt x="380" y="520"/>
                </a:lnTo>
                <a:lnTo>
                  <a:pt x="379" y="527"/>
                </a:lnTo>
                <a:lnTo>
                  <a:pt x="376" y="531"/>
                </a:lnTo>
                <a:lnTo>
                  <a:pt x="376" y="531"/>
                </a:lnTo>
                <a:lnTo>
                  <a:pt x="370" y="538"/>
                </a:lnTo>
                <a:lnTo>
                  <a:pt x="366" y="544"/>
                </a:lnTo>
                <a:lnTo>
                  <a:pt x="363" y="550"/>
                </a:lnTo>
                <a:lnTo>
                  <a:pt x="362" y="554"/>
                </a:lnTo>
                <a:lnTo>
                  <a:pt x="362" y="554"/>
                </a:lnTo>
                <a:lnTo>
                  <a:pt x="363" y="557"/>
                </a:lnTo>
                <a:lnTo>
                  <a:pt x="362" y="561"/>
                </a:lnTo>
                <a:lnTo>
                  <a:pt x="363" y="562"/>
                </a:lnTo>
                <a:lnTo>
                  <a:pt x="365" y="562"/>
                </a:lnTo>
                <a:lnTo>
                  <a:pt x="365" y="562"/>
                </a:lnTo>
                <a:lnTo>
                  <a:pt x="370" y="561"/>
                </a:lnTo>
                <a:lnTo>
                  <a:pt x="375" y="561"/>
                </a:lnTo>
                <a:lnTo>
                  <a:pt x="379" y="562"/>
                </a:lnTo>
                <a:lnTo>
                  <a:pt x="380" y="564"/>
                </a:lnTo>
                <a:lnTo>
                  <a:pt x="380" y="565"/>
                </a:lnTo>
                <a:lnTo>
                  <a:pt x="380" y="565"/>
                </a:lnTo>
                <a:lnTo>
                  <a:pt x="379" y="568"/>
                </a:lnTo>
                <a:lnTo>
                  <a:pt x="380" y="572"/>
                </a:lnTo>
                <a:lnTo>
                  <a:pt x="382" y="577"/>
                </a:lnTo>
                <a:lnTo>
                  <a:pt x="385" y="578"/>
                </a:lnTo>
                <a:lnTo>
                  <a:pt x="385" y="578"/>
                </a:lnTo>
                <a:lnTo>
                  <a:pt x="387" y="578"/>
                </a:lnTo>
                <a:lnTo>
                  <a:pt x="390" y="579"/>
                </a:lnTo>
                <a:lnTo>
                  <a:pt x="392" y="582"/>
                </a:lnTo>
                <a:lnTo>
                  <a:pt x="390" y="585"/>
                </a:lnTo>
                <a:lnTo>
                  <a:pt x="390" y="585"/>
                </a:lnTo>
                <a:lnTo>
                  <a:pt x="389" y="592"/>
                </a:lnTo>
                <a:lnTo>
                  <a:pt x="389" y="595"/>
                </a:lnTo>
                <a:lnTo>
                  <a:pt x="390" y="595"/>
                </a:lnTo>
                <a:lnTo>
                  <a:pt x="390" y="595"/>
                </a:lnTo>
                <a:lnTo>
                  <a:pt x="397" y="596"/>
                </a:lnTo>
                <a:lnTo>
                  <a:pt x="399" y="598"/>
                </a:lnTo>
                <a:lnTo>
                  <a:pt x="400" y="599"/>
                </a:lnTo>
                <a:lnTo>
                  <a:pt x="400" y="599"/>
                </a:lnTo>
                <a:lnTo>
                  <a:pt x="400" y="604"/>
                </a:lnTo>
                <a:lnTo>
                  <a:pt x="402" y="605"/>
                </a:lnTo>
                <a:lnTo>
                  <a:pt x="404" y="606"/>
                </a:lnTo>
                <a:lnTo>
                  <a:pt x="410" y="605"/>
                </a:lnTo>
                <a:lnTo>
                  <a:pt x="410" y="605"/>
                </a:lnTo>
                <a:lnTo>
                  <a:pt x="414" y="604"/>
                </a:lnTo>
                <a:lnTo>
                  <a:pt x="416" y="604"/>
                </a:lnTo>
                <a:lnTo>
                  <a:pt x="417" y="604"/>
                </a:lnTo>
                <a:lnTo>
                  <a:pt x="417" y="604"/>
                </a:lnTo>
                <a:lnTo>
                  <a:pt x="419" y="605"/>
                </a:lnTo>
                <a:lnTo>
                  <a:pt x="420" y="606"/>
                </a:lnTo>
                <a:lnTo>
                  <a:pt x="422" y="609"/>
                </a:lnTo>
                <a:lnTo>
                  <a:pt x="424" y="611"/>
                </a:lnTo>
                <a:lnTo>
                  <a:pt x="424" y="611"/>
                </a:lnTo>
                <a:lnTo>
                  <a:pt x="426" y="611"/>
                </a:lnTo>
                <a:lnTo>
                  <a:pt x="427" y="611"/>
                </a:lnTo>
                <a:lnTo>
                  <a:pt x="427" y="606"/>
                </a:lnTo>
                <a:lnTo>
                  <a:pt x="427" y="602"/>
                </a:lnTo>
                <a:lnTo>
                  <a:pt x="426" y="599"/>
                </a:lnTo>
                <a:lnTo>
                  <a:pt x="426" y="599"/>
                </a:lnTo>
                <a:lnTo>
                  <a:pt x="424" y="596"/>
                </a:lnTo>
                <a:lnTo>
                  <a:pt x="426" y="594"/>
                </a:lnTo>
                <a:lnTo>
                  <a:pt x="426" y="591"/>
                </a:lnTo>
                <a:lnTo>
                  <a:pt x="427" y="591"/>
                </a:lnTo>
                <a:lnTo>
                  <a:pt x="427" y="591"/>
                </a:lnTo>
                <a:lnTo>
                  <a:pt x="430" y="591"/>
                </a:lnTo>
                <a:lnTo>
                  <a:pt x="433" y="591"/>
                </a:lnTo>
                <a:lnTo>
                  <a:pt x="436" y="589"/>
                </a:lnTo>
                <a:lnTo>
                  <a:pt x="439" y="587"/>
                </a:lnTo>
                <a:lnTo>
                  <a:pt x="439" y="587"/>
                </a:lnTo>
                <a:lnTo>
                  <a:pt x="440" y="585"/>
                </a:lnTo>
                <a:lnTo>
                  <a:pt x="441" y="585"/>
                </a:lnTo>
                <a:lnTo>
                  <a:pt x="444" y="587"/>
                </a:lnTo>
                <a:lnTo>
                  <a:pt x="449" y="587"/>
                </a:lnTo>
                <a:lnTo>
                  <a:pt x="450" y="587"/>
                </a:lnTo>
                <a:lnTo>
                  <a:pt x="450" y="585"/>
                </a:lnTo>
                <a:lnTo>
                  <a:pt x="450" y="585"/>
                </a:lnTo>
                <a:lnTo>
                  <a:pt x="451" y="584"/>
                </a:lnTo>
                <a:lnTo>
                  <a:pt x="453" y="584"/>
                </a:lnTo>
                <a:lnTo>
                  <a:pt x="457" y="585"/>
                </a:lnTo>
                <a:lnTo>
                  <a:pt x="460" y="587"/>
                </a:lnTo>
                <a:lnTo>
                  <a:pt x="464" y="585"/>
                </a:lnTo>
                <a:lnTo>
                  <a:pt x="464" y="585"/>
                </a:lnTo>
                <a:lnTo>
                  <a:pt x="468" y="584"/>
                </a:lnTo>
                <a:lnTo>
                  <a:pt x="471" y="585"/>
                </a:lnTo>
                <a:lnTo>
                  <a:pt x="473" y="585"/>
                </a:lnTo>
                <a:lnTo>
                  <a:pt x="476" y="584"/>
                </a:lnTo>
                <a:lnTo>
                  <a:pt x="476" y="584"/>
                </a:lnTo>
                <a:lnTo>
                  <a:pt x="478" y="579"/>
                </a:lnTo>
                <a:lnTo>
                  <a:pt x="481" y="577"/>
                </a:lnTo>
                <a:lnTo>
                  <a:pt x="486" y="575"/>
                </a:lnTo>
                <a:lnTo>
                  <a:pt x="488" y="575"/>
                </a:lnTo>
                <a:lnTo>
                  <a:pt x="488" y="575"/>
                </a:lnTo>
                <a:lnTo>
                  <a:pt x="491" y="579"/>
                </a:lnTo>
                <a:lnTo>
                  <a:pt x="495" y="581"/>
                </a:lnTo>
                <a:lnTo>
                  <a:pt x="501" y="582"/>
                </a:lnTo>
                <a:lnTo>
                  <a:pt x="501" y="582"/>
                </a:lnTo>
                <a:lnTo>
                  <a:pt x="507" y="584"/>
                </a:lnTo>
                <a:lnTo>
                  <a:pt x="507" y="587"/>
                </a:lnTo>
                <a:lnTo>
                  <a:pt x="505" y="592"/>
                </a:lnTo>
                <a:lnTo>
                  <a:pt x="505" y="592"/>
                </a:lnTo>
                <a:lnTo>
                  <a:pt x="507" y="595"/>
                </a:lnTo>
                <a:lnTo>
                  <a:pt x="513" y="599"/>
                </a:lnTo>
                <a:lnTo>
                  <a:pt x="517" y="602"/>
                </a:lnTo>
                <a:lnTo>
                  <a:pt x="521" y="604"/>
                </a:lnTo>
                <a:lnTo>
                  <a:pt x="521" y="604"/>
                </a:lnTo>
                <a:lnTo>
                  <a:pt x="525" y="606"/>
                </a:lnTo>
                <a:lnTo>
                  <a:pt x="525" y="606"/>
                </a:lnTo>
                <a:lnTo>
                  <a:pt x="528" y="606"/>
                </a:lnTo>
                <a:lnTo>
                  <a:pt x="531" y="606"/>
                </a:lnTo>
                <a:lnTo>
                  <a:pt x="532" y="605"/>
                </a:lnTo>
                <a:lnTo>
                  <a:pt x="535" y="604"/>
                </a:lnTo>
                <a:lnTo>
                  <a:pt x="535" y="604"/>
                </a:lnTo>
                <a:lnTo>
                  <a:pt x="537" y="602"/>
                </a:lnTo>
                <a:lnTo>
                  <a:pt x="538" y="601"/>
                </a:lnTo>
                <a:lnTo>
                  <a:pt x="541" y="602"/>
                </a:lnTo>
                <a:lnTo>
                  <a:pt x="544" y="604"/>
                </a:lnTo>
                <a:lnTo>
                  <a:pt x="544" y="604"/>
                </a:lnTo>
                <a:lnTo>
                  <a:pt x="545" y="606"/>
                </a:lnTo>
                <a:lnTo>
                  <a:pt x="547" y="606"/>
                </a:lnTo>
                <a:lnTo>
                  <a:pt x="550" y="606"/>
                </a:lnTo>
                <a:lnTo>
                  <a:pt x="552" y="604"/>
                </a:lnTo>
                <a:lnTo>
                  <a:pt x="552" y="604"/>
                </a:lnTo>
                <a:lnTo>
                  <a:pt x="554" y="604"/>
                </a:lnTo>
                <a:lnTo>
                  <a:pt x="555" y="604"/>
                </a:lnTo>
                <a:lnTo>
                  <a:pt x="558" y="605"/>
                </a:lnTo>
                <a:lnTo>
                  <a:pt x="558" y="608"/>
                </a:lnTo>
                <a:lnTo>
                  <a:pt x="557" y="611"/>
                </a:lnTo>
                <a:lnTo>
                  <a:pt x="557" y="611"/>
                </a:lnTo>
                <a:lnTo>
                  <a:pt x="555" y="614"/>
                </a:lnTo>
                <a:lnTo>
                  <a:pt x="555" y="616"/>
                </a:lnTo>
                <a:lnTo>
                  <a:pt x="558" y="621"/>
                </a:lnTo>
                <a:lnTo>
                  <a:pt x="561" y="625"/>
                </a:lnTo>
                <a:lnTo>
                  <a:pt x="561" y="625"/>
                </a:lnTo>
                <a:lnTo>
                  <a:pt x="564" y="626"/>
                </a:lnTo>
                <a:lnTo>
                  <a:pt x="565" y="625"/>
                </a:lnTo>
                <a:lnTo>
                  <a:pt x="565" y="622"/>
                </a:lnTo>
                <a:lnTo>
                  <a:pt x="565" y="618"/>
                </a:lnTo>
                <a:lnTo>
                  <a:pt x="565" y="618"/>
                </a:lnTo>
                <a:lnTo>
                  <a:pt x="565" y="615"/>
                </a:lnTo>
                <a:lnTo>
                  <a:pt x="569" y="612"/>
                </a:lnTo>
                <a:lnTo>
                  <a:pt x="578" y="608"/>
                </a:lnTo>
                <a:lnTo>
                  <a:pt x="588" y="605"/>
                </a:lnTo>
                <a:lnTo>
                  <a:pt x="588" y="605"/>
                </a:lnTo>
                <a:lnTo>
                  <a:pt x="598" y="599"/>
                </a:lnTo>
                <a:lnTo>
                  <a:pt x="608" y="594"/>
                </a:lnTo>
                <a:lnTo>
                  <a:pt x="615" y="589"/>
                </a:lnTo>
                <a:lnTo>
                  <a:pt x="619" y="587"/>
                </a:lnTo>
                <a:lnTo>
                  <a:pt x="619" y="587"/>
                </a:lnTo>
                <a:lnTo>
                  <a:pt x="621" y="585"/>
                </a:lnTo>
                <a:lnTo>
                  <a:pt x="625" y="587"/>
                </a:lnTo>
                <a:lnTo>
                  <a:pt x="629" y="588"/>
                </a:lnTo>
                <a:lnTo>
                  <a:pt x="632" y="588"/>
                </a:lnTo>
                <a:lnTo>
                  <a:pt x="635" y="587"/>
                </a:lnTo>
                <a:lnTo>
                  <a:pt x="635" y="587"/>
                </a:lnTo>
                <a:lnTo>
                  <a:pt x="641" y="584"/>
                </a:lnTo>
                <a:lnTo>
                  <a:pt x="648" y="584"/>
                </a:lnTo>
                <a:lnTo>
                  <a:pt x="662" y="582"/>
                </a:lnTo>
                <a:lnTo>
                  <a:pt x="662" y="582"/>
                </a:lnTo>
                <a:lnTo>
                  <a:pt x="665" y="581"/>
                </a:lnTo>
                <a:lnTo>
                  <a:pt x="666" y="579"/>
                </a:lnTo>
                <a:lnTo>
                  <a:pt x="672" y="574"/>
                </a:lnTo>
                <a:lnTo>
                  <a:pt x="672" y="574"/>
                </a:lnTo>
                <a:lnTo>
                  <a:pt x="676" y="569"/>
                </a:lnTo>
                <a:lnTo>
                  <a:pt x="678" y="568"/>
                </a:lnTo>
                <a:lnTo>
                  <a:pt x="680" y="567"/>
                </a:lnTo>
                <a:lnTo>
                  <a:pt x="680" y="567"/>
                </a:lnTo>
                <a:lnTo>
                  <a:pt x="685" y="564"/>
                </a:lnTo>
                <a:lnTo>
                  <a:pt x="688" y="562"/>
                </a:lnTo>
                <a:lnTo>
                  <a:pt x="689" y="559"/>
                </a:lnTo>
                <a:lnTo>
                  <a:pt x="690" y="557"/>
                </a:lnTo>
                <a:lnTo>
                  <a:pt x="690" y="557"/>
                </a:lnTo>
                <a:lnTo>
                  <a:pt x="692" y="555"/>
                </a:lnTo>
                <a:lnTo>
                  <a:pt x="696" y="554"/>
                </a:lnTo>
                <a:lnTo>
                  <a:pt x="699" y="551"/>
                </a:lnTo>
                <a:lnTo>
                  <a:pt x="702" y="550"/>
                </a:lnTo>
                <a:lnTo>
                  <a:pt x="702" y="550"/>
                </a:lnTo>
                <a:lnTo>
                  <a:pt x="702" y="548"/>
                </a:lnTo>
                <a:lnTo>
                  <a:pt x="705" y="547"/>
                </a:lnTo>
                <a:lnTo>
                  <a:pt x="707" y="544"/>
                </a:lnTo>
                <a:lnTo>
                  <a:pt x="709" y="542"/>
                </a:lnTo>
                <a:lnTo>
                  <a:pt x="709" y="542"/>
                </a:lnTo>
                <a:lnTo>
                  <a:pt x="710" y="540"/>
                </a:lnTo>
                <a:lnTo>
                  <a:pt x="712" y="538"/>
                </a:lnTo>
                <a:lnTo>
                  <a:pt x="715" y="538"/>
                </a:lnTo>
                <a:lnTo>
                  <a:pt x="716" y="535"/>
                </a:lnTo>
                <a:lnTo>
                  <a:pt x="716" y="535"/>
                </a:lnTo>
                <a:lnTo>
                  <a:pt x="717" y="532"/>
                </a:lnTo>
                <a:lnTo>
                  <a:pt x="716" y="530"/>
                </a:lnTo>
                <a:lnTo>
                  <a:pt x="716" y="525"/>
                </a:lnTo>
                <a:lnTo>
                  <a:pt x="719" y="524"/>
                </a:lnTo>
                <a:lnTo>
                  <a:pt x="719" y="524"/>
                </a:lnTo>
                <a:lnTo>
                  <a:pt x="719" y="523"/>
                </a:lnTo>
                <a:lnTo>
                  <a:pt x="719" y="520"/>
                </a:lnTo>
                <a:lnTo>
                  <a:pt x="716" y="515"/>
                </a:lnTo>
                <a:lnTo>
                  <a:pt x="716" y="515"/>
                </a:lnTo>
                <a:lnTo>
                  <a:pt x="717" y="514"/>
                </a:lnTo>
                <a:lnTo>
                  <a:pt x="720" y="514"/>
                </a:lnTo>
                <a:lnTo>
                  <a:pt x="727" y="511"/>
                </a:lnTo>
                <a:lnTo>
                  <a:pt x="727" y="511"/>
                </a:lnTo>
                <a:lnTo>
                  <a:pt x="732" y="505"/>
                </a:lnTo>
                <a:lnTo>
                  <a:pt x="734" y="500"/>
                </a:lnTo>
                <a:lnTo>
                  <a:pt x="734" y="500"/>
                </a:lnTo>
                <a:lnTo>
                  <a:pt x="736" y="495"/>
                </a:lnTo>
                <a:lnTo>
                  <a:pt x="739" y="493"/>
                </a:lnTo>
                <a:lnTo>
                  <a:pt x="744" y="490"/>
                </a:lnTo>
                <a:lnTo>
                  <a:pt x="744" y="490"/>
                </a:lnTo>
                <a:lnTo>
                  <a:pt x="747" y="488"/>
                </a:lnTo>
                <a:lnTo>
                  <a:pt x="749" y="484"/>
                </a:lnTo>
                <a:lnTo>
                  <a:pt x="749" y="477"/>
                </a:lnTo>
                <a:lnTo>
                  <a:pt x="749" y="477"/>
                </a:lnTo>
                <a:lnTo>
                  <a:pt x="749" y="474"/>
                </a:lnTo>
                <a:lnTo>
                  <a:pt x="750" y="473"/>
                </a:lnTo>
                <a:lnTo>
                  <a:pt x="752" y="471"/>
                </a:lnTo>
                <a:lnTo>
                  <a:pt x="752" y="470"/>
                </a:lnTo>
                <a:lnTo>
                  <a:pt x="752" y="470"/>
                </a:lnTo>
                <a:lnTo>
                  <a:pt x="750" y="468"/>
                </a:lnTo>
                <a:lnTo>
                  <a:pt x="752" y="466"/>
                </a:lnTo>
                <a:lnTo>
                  <a:pt x="754" y="463"/>
                </a:lnTo>
                <a:lnTo>
                  <a:pt x="757" y="461"/>
                </a:lnTo>
                <a:lnTo>
                  <a:pt x="757" y="461"/>
                </a:lnTo>
                <a:lnTo>
                  <a:pt x="760" y="460"/>
                </a:lnTo>
                <a:lnTo>
                  <a:pt x="757" y="458"/>
                </a:lnTo>
                <a:lnTo>
                  <a:pt x="754" y="458"/>
                </a:lnTo>
                <a:lnTo>
                  <a:pt x="752" y="458"/>
                </a:lnTo>
                <a:lnTo>
                  <a:pt x="752" y="458"/>
                </a:lnTo>
                <a:lnTo>
                  <a:pt x="750" y="460"/>
                </a:lnTo>
                <a:lnTo>
                  <a:pt x="749" y="458"/>
                </a:lnTo>
                <a:lnTo>
                  <a:pt x="746" y="457"/>
                </a:lnTo>
                <a:lnTo>
                  <a:pt x="744" y="454"/>
                </a:lnTo>
                <a:lnTo>
                  <a:pt x="743" y="454"/>
                </a:lnTo>
                <a:lnTo>
                  <a:pt x="742" y="456"/>
                </a:lnTo>
                <a:lnTo>
                  <a:pt x="742" y="456"/>
                </a:lnTo>
                <a:lnTo>
                  <a:pt x="739" y="457"/>
                </a:lnTo>
                <a:lnTo>
                  <a:pt x="736" y="456"/>
                </a:lnTo>
                <a:lnTo>
                  <a:pt x="734" y="454"/>
                </a:lnTo>
                <a:lnTo>
                  <a:pt x="734" y="453"/>
                </a:lnTo>
                <a:lnTo>
                  <a:pt x="736" y="453"/>
                </a:lnTo>
                <a:lnTo>
                  <a:pt x="736" y="453"/>
                </a:lnTo>
                <a:lnTo>
                  <a:pt x="746" y="449"/>
                </a:lnTo>
                <a:lnTo>
                  <a:pt x="753" y="444"/>
                </a:lnTo>
                <a:lnTo>
                  <a:pt x="753" y="444"/>
                </a:lnTo>
                <a:lnTo>
                  <a:pt x="754" y="443"/>
                </a:lnTo>
                <a:lnTo>
                  <a:pt x="753" y="441"/>
                </a:lnTo>
                <a:lnTo>
                  <a:pt x="752" y="439"/>
                </a:lnTo>
                <a:lnTo>
                  <a:pt x="747" y="436"/>
                </a:lnTo>
                <a:lnTo>
                  <a:pt x="743" y="436"/>
                </a:lnTo>
                <a:lnTo>
                  <a:pt x="743" y="436"/>
                </a:lnTo>
                <a:lnTo>
                  <a:pt x="740" y="434"/>
                </a:lnTo>
                <a:lnTo>
                  <a:pt x="736" y="430"/>
                </a:lnTo>
                <a:lnTo>
                  <a:pt x="733" y="426"/>
                </a:lnTo>
                <a:lnTo>
                  <a:pt x="729" y="424"/>
                </a:lnTo>
                <a:lnTo>
                  <a:pt x="729" y="424"/>
                </a:lnTo>
                <a:lnTo>
                  <a:pt x="727" y="424"/>
                </a:lnTo>
                <a:lnTo>
                  <a:pt x="730" y="423"/>
                </a:lnTo>
                <a:lnTo>
                  <a:pt x="733" y="423"/>
                </a:lnTo>
                <a:lnTo>
                  <a:pt x="739" y="424"/>
                </a:lnTo>
                <a:lnTo>
                  <a:pt x="739" y="424"/>
                </a:lnTo>
                <a:lnTo>
                  <a:pt x="746" y="427"/>
                </a:lnTo>
                <a:lnTo>
                  <a:pt x="750" y="429"/>
                </a:lnTo>
                <a:lnTo>
                  <a:pt x="753" y="427"/>
                </a:lnTo>
                <a:lnTo>
                  <a:pt x="753" y="427"/>
                </a:lnTo>
                <a:lnTo>
                  <a:pt x="753" y="426"/>
                </a:lnTo>
                <a:lnTo>
                  <a:pt x="752" y="424"/>
                </a:lnTo>
                <a:lnTo>
                  <a:pt x="749" y="420"/>
                </a:lnTo>
                <a:lnTo>
                  <a:pt x="739" y="412"/>
                </a:lnTo>
                <a:lnTo>
                  <a:pt x="739" y="412"/>
                </a:lnTo>
                <a:lnTo>
                  <a:pt x="737" y="409"/>
                </a:lnTo>
                <a:lnTo>
                  <a:pt x="737" y="406"/>
                </a:lnTo>
                <a:lnTo>
                  <a:pt x="737" y="404"/>
                </a:lnTo>
                <a:lnTo>
                  <a:pt x="736" y="402"/>
                </a:lnTo>
                <a:lnTo>
                  <a:pt x="736" y="402"/>
                </a:lnTo>
                <a:lnTo>
                  <a:pt x="733" y="399"/>
                </a:lnTo>
                <a:lnTo>
                  <a:pt x="730" y="394"/>
                </a:lnTo>
                <a:lnTo>
                  <a:pt x="726" y="383"/>
                </a:lnTo>
                <a:lnTo>
                  <a:pt x="726" y="383"/>
                </a:lnTo>
                <a:lnTo>
                  <a:pt x="723" y="379"/>
                </a:lnTo>
                <a:lnTo>
                  <a:pt x="719" y="377"/>
                </a:lnTo>
                <a:lnTo>
                  <a:pt x="715" y="375"/>
                </a:lnTo>
                <a:lnTo>
                  <a:pt x="712" y="373"/>
                </a:lnTo>
                <a:lnTo>
                  <a:pt x="712" y="373"/>
                </a:lnTo>
                <a:lnTo>
                  <a:pt x="710" y="369"/>
                </a:lnTo>
                <a:lnTo>
                  <a:pt x="712" y="365"/>
                </a:lnTo>
                <a:lnTo>
                  <a:pt x="715" y="360"/>
                </a:lnTo>
                <a:lnTo>
                  <a:pt x="719" y="357"/>
                </a:lnTo>
                <a:lnTo>
                  <a:pt x="719" y="357"/>
                </a:lnTo>
                <a:lnTo>
                  <a:pt x="723" y="355"/>
                </a:lnTo>
                <a:lnTo>
                  <a:pt x="725" y="352"/>
                </a:lnTo>
                <a:lnTo>
                  <a:pt x="725" y="350"/>
                </a:lnTo>
                <a:lnTo>
                  <a:pt x="727" y="349"/>
                </a:lnTo>
                <a:lnTo>
                  <a:pt x="727" y="349"/>
                </a:lnTo>
                <a:lnTo>
                  <a:pt x="729" y="349"/>
                </a:lnTo>
                <a:lnTo>
                  <a:pt x="732" y="349"/>
                </a:lnTo>
                <a:lnTo>
                  <a:pt x="733" y="346"/>
                </a:lnTo>
                <a:lnTo>
                  <a:pt x="736" y="343"/>
                </a:lnTo>
                <a:lnTo>
                  <a:pt x="736" y="343"/>
                </a:lnTo>
                <a:lnTo>
                  <a:pt x="737" y="340"/>
                </a:lnTo>
                <a:lnTo>
                  <a:pt x="740" y="339"/>
                </a:lnTo>
                <a:lnTo>
                  <a:pt x="743" y="339"/>
                </a:lnTo>
                <a:lnTo>
                  <a:pt x="746" y="338"/>
                </a:lnTo>
                <a:lnTo>
                  <a:pt x="746" y="338"/>
                </a:lnTo>
                <a:lnTo>
                  <a:pt x="749" y="336"/>
                </a:lnTo>
                <a:lnTo>
                  <a:pt x="754" y="335"/>
                </a:lnTo>
                <a:lnTo>
                  <a:pt x="759" y="335"/>
                </a:lnTo>
                <a:lnTo>
                  <a:pt x="763" y="333"/>
                </a:lnTo>
                <a:lnTo>
                  <a:pt x="763" y="333"/>
                </a:lnTo>
                <a:lnTo>
                  <a:pt x="764" y="332"/>
                </a:lnTo>
                <a:lnTo>
                  <a:pt x="764" y="329"/>
                </a:lnTo>
                <a:lnTo>
                  <a:pt x="763" y="326"/>
                </a:lnTo>
                <a:lnTo>
                  <a:pt x="759" y="323"/>
                </a:lnTo>
                <a:lnTo>
                  <a:pt x="754" y="322"/>
                </a:lnTo>
                <a:lnTo>
                  <a:pt x="754" y="322"/>
                </a:lnTo>
                <a:lnTo>
                  <a:pt x="750" y="323"/>
                </a:lnTo>
                <a:lnTo>
                  <a:pt x="746" y="322"/>
                </a:lnTo>
                <a:lnTo>
                  <a:pt x="742" y="319"/>
                </a:lnTo>
                <a:lnTo>
                  <a:pt x="739" y="316"/>
                </a:lnTo>
                <a:lnTo>
                  <a:pt x="739" y="316"/>
                </a:lnTo>
                <a:lnTo>
                  <a:pt x="737" y="315"/>
                </a:lnTo>
                <a:lnTo>
                  <a:pt x="734" y="315"/>
                </a:lnTo>
                <a:lnTo>
                  <a:pt x="729" y="319"/>
                </a:lnTo>
                <a:lnTo>
                  <a:pt x="723" y="326"/>
                </a:lnTo>
                <a:lnTo>
                  <a:pt x="717" y="330"/>
                </a:lnTo>
                <a:lnTo>
                  <a:pt x="717" y="330"/>
                </a:lnTo>
                <a:lnTo>
                  <a:pt x="715" y="330"/>
                </a:lnTo>
                <a:lnTo>
                  <a:pt x="712" y="330"/>
                </a:lnTo>
                <a:lnTo>
                  <a:pt x="709" y="328"/>
                </a:lnTo>
                <a:lnTo>
                  <a:pt x="706" y="322"/>
                </a:lnTo>
                <a:lnTo>
                  <a:pt x="707" y="318"/>
                </a:lnTo>
                <a:lnTo>
                  <a:pt x="707" y="318"/>
                </a:lnTo>
                <a:lnTo>
                  <a:pt x="707" y="315"/>
                </a:lnTo>
                <a:lnTo>
                  <a:pt x="707" y="313"/>
                </a:lnTo>
                <a:lnTo>
                  <a:pt x="705" y="312"/>
                </a:lnTo>
                <a:lnTo>
                  <a:pt x="697" y="312"/>
                </a:lnTo>
                <a:lnTo>
                  <a:pt x="690" y="312"/>
                </a:lnTo>
                <a:lnTo>
                  <a:pt x="690" y="312"/>
                </a:lnTo>
                <a:lnTo>
                  <a:pt x="688" y="311"/>
                </a:lnTo>
                <a:lnTo>
                  <a:pt x="685" y="309"/>
                </a:lnTo>
                <a:lnTo>
                  <a:pt x="685" y="306"/>
                </a:lnTo>
                <a:lnTo>
                  <a:pt x="685" y="302"/>
                </a:lnTo>
                <a:lnTo>
                  <a:pt x="686" y="295"/>
                </a:lnTo>
                <a:lnTo>
                  <a:pt x="688" y="293"/>
                </a:lnTo>
                <a:lnTo>
                  <a:pt x="690" y="292"/>
                </a:lnTo>
                <a:lnTo>
                  <a:pt x="690" y="292"/>
                </a:lnTo>
                <a:lnTo>
                  <a:pt x="696" y="292"/>
                </a:lnTo>
                <a:lnTo>
                  <a:pt x="702" y="293"/>
                </a:lnTo>
                <a:lnTo>
                  <a:pt x="705" y="292"/>
                </a:lnTo>
                <a:lnTo>
                  <a:pt x="706" y="292"/>
                </a:lnTo>
                <a:lnTo>
                  <a:pt x="709" y="289"/>
                </a:lnTo>
                <a:lnTo>
                  <a:pt x="710" y="286"/>
                </a:lnTo>
                <a:lnTo>
                  <a:pt x="710" y="286"/>
                </a:lnTo>
                <a:lnTo>
                  <a:pt x="712" y="282"/>
                </a:lnTo>
                <a:lnTo>
                  <a:pt x="713" y="281"/>
                </a:lnTo>
                <a:lnTo>
                  <a:pt x="717" y="279"/>
                </a:lnTo>
                <a:lnTo>
                  <a:pt x="723" y="278"/>
                </a:lnTo>
                <a:lnTo>
                  <a:pt x="726" y="276"/>
                </a:lnTo>
                <a:lnTo>
                  <a:pt x="729" y="272"/>
                </a:lnTo>
                <a:lnTo>
                  <a:pt x="729" y="272"/>
                </a:lnTo>
                <a:lnTo>
                  <a:pt x="736" y="266"/>
                </a:lnTo>
                <a:lnTo>
                  <a:pt x="743" y="261"/>
                </a:lnTo>
                <a:lnTo>
                  <a:pt x="747" y="259"/>
                </a:lnTo>
                <a:lnTo>
                  <a:pt x="750" y="259"/>
                </a:lnTo>
                <a:lnTo>
                  <a:pt x="753" y="261"/>
                </a:lnTo>
                <a:lnTo>
                  <a:pt x="756" y="262"/>
                </a:lnTo>
                <a:lnTo>
                  <a:pt x="756" y="262"/>
                </a:lnTo>
                <a:lnTo>
                  <a:pt x="759" y="265"/>
                </a:lnTo>
                <a:lnTo>
                  <a:pt x="759" y="268"/>
                </a:lnTo>
                <a:lnTo>
                  <a:pt x="757" y="271"/>
                </a:lnTo>
                <a:lnTo>
                  <a:pt x="754" y="274"/>
                </a:lnTo>
                <a:lnTo>
                  <a:pt x="749" y="279"/>
                </a:lnTo>
                <a:lnTo>
                  <a:pt x="746" y="284"/>
                </a:lnTo>
                <a:lnTo>
                  <a:pt x="746" y="284"/>
                </a:lnTo>
                <a:lnTo>
                  <a:pt x="744" y="288"/>
                </a:lnTo>
                <a:lnTo>
                  <a:pt x="744" y="291"/>
                </a:lnTo>
                <a:lnTo>
                  <a:pt x="744" y="293"/>
                </a:lnTo>
                <a:lnTo>
                  <a:pt x="743" y="296"/>
                </a:lnTo>
                <a:lnTo>
                  <a:pt x="743" y="296"/>
                </a:lnTo>
                <a:lnTo>
                  <a:pt x="742" y="299"/>
                </a:lnTo>
                <a:lnTo>
                  <a:pt x="743" y="301"/>
                </a:lnTo>
                <a:lnTo>
                  <a:pt x="747" y="299"/>
                </a:lnTo>
                <a:lnTo>
                  <a:pt x="754" y="296"/>
                </a:lnTo>
                <a:lnTo>
                  <a:pt x="754" y="296"/>
                </a:lnTo>
                <a:lnTo>
                  <a:pt x="769" y="286"/>
                </a:lnTo>
                <a:lnTo>
                  <a:pt x="784" y="279"/>
                </a:lnTo>
                <a:lnTo>
                  <a:pt x="784" y="279"/>
                </a:lnTo>
                <a:lnTo>
                  <a:pt x="787" y="278"/>
                </a:lnTo>
                <a:lnTo>
                  <a:pt x="791" y="278"/>
                </a:lnTo>
                <a:lnTo>
                  <a:pt x="791" y="278"/>
                </a:lnTo>
                <a:lnTo>
                  <a:pt x="794" y="274"/>
                </a:lnTo>
                <a:lnTo>
                  <a:pt x="796" y="271"/>
                </a:lnTo>
                <a:lnTo>
                  <a:pt x="796" y="271"/>
                </a:lnTo>
                <a:lnTo>
                  <a:pt x="813" y="264"/>
                </a:lnTo>
                <a:lnTo>
                  <a:pt x="821" y="259"/>
                </a:lnTo>
                <a:lnTo>
                  <a:pt x="826" y="255"/>
                </a:lnTo>
                <a:lnTo>
                  <a:pt x="826" y="255"/>
                </a:lnTo>
                <a:lnTo>
                  <a:pt x="831" y="248"/>
                </a:lnTo>
                <a:lnTo>
                  <a:pt x="834" y="245"/>
                </a:lnTo>
                <a:lnTo>
                  <a:pt x="837" y="244"/>
                </a:lnTo>
                <a:lnTo>
                  <a:pt x="837" y="244"/>
                </a:lnTo>
                <a:lnTo>
                  <a:pt x="838" y="244"/>
                </a:lnTo>
                <a:lnTo>
                  <a:pt x="841" y="245"/>
                </a:lnTo>
                <a:lnTo>
                  <a:pt x="843" y="247"/>
                </a:lnTo>
                <a:lnTo>
                  <a:pt x="847" y="248"/>
                </a:lnTo>
                <a:lnTo>
                  <a:pt x="847" y="248"/>
                </a:lnTo>
                <a:lnTo>
                  <a:pt x="855" y="248"/>
                </a:lnTo>
                <a:lnTo>
                  <a:pt x="858" y="247"/>
                </a:lnTo>
                <a:lnTo>
                  <a:pt x="857" y="245"/>
                </a:lnTo>
                <a:lnTo>
                  <a:pt x="857" y="245"/>
                </a:lnTo>
                <a:lnTo>
                  <a:pt x="855" y="241"/>
                </a:lnTo>
                <a:lnTo>
                  <a:pt x="857" y="239"/>
                </a:lnTo>
                <a:lnTo>
                  <a:pt x="864" y="238"/>
                </a:lnTo>
                <a:lnTo>
                  <a:pt x="864" y="238"/>
                </a:lnTo>
                <a:lnTo>
                  <a:pt x="867" y="237"/>
                </a:lnTo>
                <a:lnTo>
                  <a:pt x="870" y="234"/>
                </a:lnTo>
                <a:lnTo>
                  <a:pt x="871" y="231"/>
                </a:lnTo>
                <a:lnTo>
                  <a:pt x="874" y="229"/>
                </a:lnTo>
                <a:lnTo>
                  <a:pt x="874" y="229"/>
                </a:lnTo>
                <a:lnTo>
                  <a:pt x="877" y="229"/>
                </a:lnTo>
                <a:lnTo>
                  <a:pt x="878" y="228"/>
                </a:lnTo>
                <a:lnTo>
                  <a:pt x="880" y="224"/>
                </a:lnTo>
                <a:lnTo>
                  <a:pt x="881" y="219"/>
                </a:lnTo>
                <a:lnTo>
                  <a:pt x="882" y="218"/>
                </a:lnTo>
                <a:lnTo>
                  <a:pt x="884" y="218"/>
                </a:lnTo>
                <a:lnTo>
                  <a:pt x="884" y="218"/>
                </a:lnTo>
                <a:lnTo>
                  <a:pt x="887" y="218"/>
                </a:lnTo>
                <a:lnTo>
                  <a:pt x="890" y="221"/>
                </a:lnTo>
                <a:lnTo>
                  <a:pt x="894" y="222"/>
                </a:lnTo>
                <a:lnTo>
                  <a:pt x="897" y="222"/>
                </a:lnTo>
                <a:lnTo>
                  <a:pt x="897" y="222"/>
                </a:lnTo>
                <a:lnTo>
                  <a:pt x="902" y="224"/>
                </a:lnTo>
                <a:lnTo>
                  <a:pt x="902" y="224"/>
                </a:lnTo>
                <a:lnTo>
                  <a:pt x="905" y="221"/>
                </a:lnTo>
                <a:lnTo>
                  <a:pt x="905" y="221"/>
                </a:lnTo>
                <a:lnTo>
                  <a:pt x="905" y="211"/>
                </a:lnTo>
                <a:lnTo>
                  <a:pt x="905" y="205"/>
                </a:lnTo>
                <a:lnTo>
                  <a:pt x="905" y="205"/>
                </a:lnTo>
                <a:lnTo>
                  <a:pt x="904" y="201"/>
                </a:lnTo>
                <a:lnTo>
                  <a:pt x="904" y="198"/>
                </a:lnTo>
                <a:lnTo>
                  <a:pt x="904" y="192"/>
                </a:lnTo>
                <a:lnTo>
                  <a:pt x="904" y="192"/>
                </a:lnTo>
                <a:lnTo>
                  <a:pt x="902" y="185"/>
                </a:lnTo>
                <a:lnTo>
                  <a:pt x="904" y="183"/>
                </a:lnTo>
                <a:lnTo>
                  <a:pt x="907" y="181"/>
                </a:lnTo>
                <a:lnTo>
                  <a:pt x="907" y="181"/>
                </a:lnTo>
                <a:lnTo>
                  <a:pt x="909" y="180"/>
                </a:lnTo>
                <a:lnTo>
                  <a:pt x="912" y="177"/>
                </a:lnTo>
                <a:lnTo>
                  <a:pt x="915" y="174"/>
                </a:lnTo>
                <a:lnTo>
                  <a:pt x="918" y="174"/>
                </a:lnTo>
                <a:lnTo>
                  <a:pt x="919" y="174"/>
                </a:lnTo>
                <a:lnTo>
                  <a:pt x="919" y="174"/>
                </a:lnTo>
                <a:lnTo>
                  <a:pt x="924" y="177"/>
                </a:lnTo>
                <a:lnTo>
                  <a:pt x="928" y="177"/>
                </a:lnTo>
                <a:lnTo>
                  <a:pt x="932" y="177"/>
                </a:lnTo>
                <a:lnTo>
                  <a:pt x="934" y="175"/>
                </a:lnTo>
                <a:lnTo>
                  <a:pt x="934" y="174"/>
                </a:lnTo>
                <a:lnTo>
                  <a:pt x="934" y="174"/>
                </a:lnTo>
                <a:lnTo>
                  <a:pt x="935" y="171"/>
                </a:lnTo>
                <a:lnTo>
                  <a:pt x="936" y="170"/>
                </a:lnTo>
                <a:lnTo>
                  <a:pt x="939" y="167"/>
                </a:lnTo>
                <a:lnTo>
                  <a:pt x="941" y="164"/>
                </a:lnTo>
                <a:lnTo>
                  <a:pt x="941" y="164"/>
                </a:lnTo>
                <a:lnTo>
                  <a:pt x="942" y="160"/>
                </a:lnTo>
                <a:lnTo>
                  <a:pt x="945" y="157"/>
                </a:lnTo>
                <a:lnTo>
                  <a:pt x="948" y="155"/>
                </a:lnTo>
                <a:lnTo>
                  <a:pt x="951" y="151"/>
                </a:lnTo>
                <a:lnTo>
                  <a:pt x="951" y="151"/>
                </a:lnTo>
                <a:lnTo>
                  <a:pt x="954" y="140"/>
                </a:lnTo>
                <a:lnTo>
                  <a:pt x="956" y="134"/>
                </a:lnTo>
                <a:lnTo>
                  <a:pt x="959" y="131"/>
                </a:lnTo>
                <a:lnTo>
                  <a:pt x="959" y="131"/>
                </a:lnTo>
                <a:lnTo>
                  <a:pt x="961" y="128"/>
                </a:lnTo>
                <a:lnTo>
                  <a:pt x="961" y="127"/>
                </a:lnTo>
                <a:lnTo>
                  <a:pt x="959" y="123"/>
                </a:lnTo>
                <a:lnTo>
                  <a:pt x="959" y="118"/>
                </a:lnTo>
                <a:lnTo>
                  <a:pt x="959" y="118"/>
                </a:lnTo>
                <a:close/>
                <a:moveTo>
                  <a:pt x="726" y="567"/>
                </a:moveTo>
                <a:lnTo>
                  <a:pt x="726" y="567"/>
                </a:lnTo>
                <a:lnTo>
                  <a:pt x="725" y="574"/>
                </a:lnTo>
                <a:lnTo>
                  <a:pt x="725" y="579"/>
                </a:lnTo>
                <a:lnTo>
                  <a:pt x="726" y="584"/>
                </a:lnTo>
                <a:lnTo>
                  <a:pt x="727" y="588"/>
                </a:lnTo>
                <a:lnTo>
                  <a:pt x="732" y="594"/>
                </a:lnTo>
                <a:lnTo>
                  <a:pt x="734" y="595"/>
                </a:lnTo>
                <a:lnTo>
                  <a:pt x="734" y="595"/>
                </a:lnTo>
                <a:lnTo>
                  <a:pt x="740" y="587"/>
                </a:lnTo>
                <a:lnTo>
                  <a:pt x="749" y="571"/>
                </a:lnTo>
                <a:lnTo>
                  <a:pt x="754" y="554"/>
                </a:lnTo>
                <a:lnTo>
                  <a:pt x="756" y="548"/>
                </a:lnTo>
                <a:lnTo>
                  <a:pt x="754" y="545"/>
                </a:lnTo>
                <a:lnTo>
                  <a:pt x="754" y="545"/>
                </a:lnTo>
                <a:lnTo>
                  <a:pt x="753" y="544"/>
                </a:lnTo>
                <a:lnTo>
                  <a:pt x="749" y="542"/>
                </a:lnTo>
                <a:lnTo>
                  <a:pt x="744" y="544"/>
                </a:lnTo>
                <a:lnTo>
                  <a:pt x="740" y="547"/>
                </a:lnTo>
                <a:lnTo>
                  <a:pt x="736" y="550"/>
                </a:lnTo>
                <a:lnTo>
                  <a:pt x="732" y="555"/>
                </a:lnTo>
                <a:lnTo>
                  <a:pt x="729" y="561"/>
                </a:lnTo>
                <a:lnTo>
                  <a:pt x="726" y="567"/>
                </a:lnTo>
                <a:lnTo>
                  <a:pt x="726" y="567"/>
                </a:lnTo>
                <a:close/>
                <a:moveTo>
                  <a:pt x="557" y="632"/>
                </a:moveTo>
                <a:lnTo>
                  <a:pt x="557" y="632"/>
                </a:lnTo>
                <a:lnTo>
                  <a:pt x="551" y="633"/>
                </a:lnTo>
                <a:lnTo>
                  <a:pt x="544" y="638"/>
                </a:lnTo>
                <a:lnTo>
                  <a:pt x="542" y="641"/>
                </a:lnTo>
                <a:lnTo>
                  <a:pt x="540" y="645"/>
                </a:lnTo>
                <a:lnTo>
                  <a:pt x="540" y="649"/>
                </a:lnTo>
                <a:lnTo>
                  <a:pt x="541" y="653"/>
                </a:lnTo>
                <a:lnTo>
                  <a:pt x="541" y="653"/>
                </a:lnTo>
                <a:lnTo>
                  <a:pt x="544" y="658"/>
                </a:lnTo>
                <a:lnTo>
                  <a:pt x="548" y="659"/>
                </a:lnTo>
                <a:lnTo>
                  <a:pt x="552" y="660"/>
                </a:lnTo>
                <a:lnTo>
                  <a:pt x="557" y="659"/>
                </a:lnTo>
                <a:lnTo>
                  <a:pt x="565" y="656"/>
                </a:lnTo>
                <a:lnTo>
                  <a:pt x="567" y="653"/>
                </a:lnTo>
                <a:lnTo>
                  <a:pt x="568" y="652"/>
                </a:lnTo>
                <a:lnTo>
                  <a:pt x="568" y="652"/>
                </a:lnTo>
                <a:lnTo>
                  <a:pt x="569" y="648"/>
                </a:lnTo>
                <a:lnTo>
                  <a:pt x="574" y="642"/>
                </a:lnTo>
                <a:lnTo>
                  <a:pt x="577" y="636"/>
                </a:lnTo>
                <a:lnTo>
                  <a:pt x="577" y="633"/>
                </a:lnTo>
                <a:lnTo>
                  <a:pt x="577" y="633"/>
                </a:lnTo>
                <a:lnTo>
                  <a:pt x="577" y="632"/>
                </a:lnTo>
                <a:lnTo>
                  <a:pt x="574" y="631"/>
                </a:lnTo>
                <a:lnTo>
                  <a:pt x="569" y="631"/>
                </a:lnTo>
                <a:lnTo>
                  <a:pt x="557" y="632"/>
                </a:lnTo>
                <a:lnTo>
                  <a:pt x="557" y="632"/>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42" name="Freeform 330">
            <a:extLst>
              <a:ext uri="{FF2B5EF4-FFF2-40B4-BE49-F238E27FC236}">
                <a16:creationId xmlns:a16="http://schemas.microsoft.com/office/drawing/2014/main" id="{96BC06CC-20EA-DDA8-50DD-F13E813080A8}"/>
              </a:ext>
            </a:extLst>
          </p:cNvPr>
          <p:cNvSpPr>
            <a:spLocks noEditPoints="1"/>
          </p:cNvSpPr>
          <p:nvPr userDrawn="1"/>
        </p:nvSpPr>
        <p:spPr bwMode="gray">
          <a:xfrm>
            <a:off x="6776361" y="2959699"/>
            <a:ext cx="193776" cy="277008"/>
          </a:xfrm>
          <a:custGeom>
            <a:avLst/>
            <a:gdLst/>
            <a:ahLst/>
            <a:cxnLst>
              <a:cxn ang="0">
                <a:pos x="94" y="85"/>
              </a:cxn>
              <a:cxn ang="0">
                <a:pos x="100" y="98"/>
              </a:cxn>
              <a:cxn ang="0">
                <a:pos x="105" y="108"/>
              </a:cxn>
              <a:cxn ang="0">
                <a:pos x="111" y="115"/>
              </a:cxn>
              <a:cxn ang="0">
                <a:pos x="119" y="135"/>
              </a:cxn>
              <a:cxn ang="0">
                <a:pos x="125" y="131"/>
              </a:cxn>
              <a:cxn ang="0">
                <a:pos x="132" y="122"/>
              </a:cxn>
              <a:cxn ang="0">
                <a:pos x="128" y="102"/>
              </a:cxn>
              <a:cxn ang="0">
                <a:pos x="110" y="92"/>
              </a:cxn>
              <a:cxn ang="0">
                <a:pos x="104" y="81"/>
              </a:cxn>
              <a:cxn ang="0">
                <a:pos x="95" y="72"/>
              </a:cxn>
              <a:cxn ang="0">
                <a:pos x="74" y="72"/>
              </a:cxn>
              <a:cxn ang="0">
                <a:pos x="68" y="57"/>
              </a:cxn>
              <a:cxn ang="0">
                <a:pos x="74" y="39"/>
              </a:cxn>
              <a:cxn ang="0">
                <a:pos x="81" y="20"/>
              </a:cxn>
              <a:cxn ang="0">
                <a:pos x="77" y="1"/>
              </a:cxn>
              <a:cxn ang="0">
                <a:pos x="58" y="0"/>
              </a:cxn>
              <a:cxn ang="0">
                <a:pos x="50" y="7"/>
              </a:cxn>
              <a:cxn ang="0">
                <a:pos x="48" y="38"/>
              </a:cxn>
              <a:cxn ang="0">
                <a:pos x="41" y="35"/>
              </a:cxn>
              <a:cxn ang="0">
                <a:pos x="46" y="58"/>
              </a:cxn>
              <a:cxn ang="0">
                <a:pos x="50" y="69"/>
              </a:cxn>
              <a:cxn ang="0">
                <a:pos x="60" y="76"/>
              </a:cxn>
              <a:cxn ang="0">
                <a:pos x="73" y="76"/>
              </a:cxn>
              <a:cxn ang="0">
                <a:pos x="50" y="84"/>
              </a:cxn>
              <a:cxn ang="0">
                <a:pos x="58" y="101"/>
              </a:cxn>
              <a:cxn ang="0">
                <a:pos x="67" y="96"/>
              </a:cxn>
              <a:cxn ang="0">
                <a:pos x="50" y="84"/>
              </a:cxn>
              <a:cxn ang="0">
                <a:pos x="84" y="128"/>
              </a:cxn>
              <a:cxn ang="0">
                <a:pos x="88" y="128"/>
              </a:cxn>
              <a:cxn ang="0">
                <a:pos x="84" y="142"/>
              </a:cxn>
              <a:cxn ang="0">
                <a:pos x="90" y="156"/>
              </a:cxn>
              <a:cxn ang="0">
                <a:pos x="107" y="132"/>
              </a:cxn>
              <a:cxn ang="0">
                <a:pos x="101" y="129"/>
              </a:cxn>
              <a:cxn ang="0">
                <a:pos x="98" y="122"/>
              </a:cxn>
              <a:cxn ang="0">
                <a:pos x="75" y="108"/>
              </a:cxn>
              <a:cxn ang="0">
                <a:pos x="74" y="129"/>
              </a:cxn>
              <a:cxn ang="0">
                <a:pos x="7" y="153"/>
              </a:cxn>
              <a:cxn ang="0">
                <a:pos x="1" y="166"/>
              </a:cxn>
              <a:cxn ang="0">
                <a:pos x="30" y="139"/>
              </a:cxn>
              <a:cxn ang="0">
                <a:pos x="34" y="122"/>
              </a:cxn>
              <a:cxn ang="0">
                <a:pos x="21" y="139"/>
              </a:cxn>
              <a:cxn ang="0">
                <a:pos x="108" y="150"/>
              </a:cxn>
              <a:cxn ang="0">
                <a:pos x="117" y="140"/>
              </a:cxn>
              <a:cxn ang="0">
                <a:pos x="105" y="149"/>
              </a:cxn>
              <a:cxn ang="0">
                <a:pos x="149" y="179"/>
              </a:cxn>
              <a:cxn ang="0">
                <a:pos x="144" y="146"/>
              </a:cxn>
              <a:cxn ang="0">
                <a:pos x="132" y="145"/>
              </a:cxn>
              <a:cxn ang="0">
                <a:pos x="134" y="152"/>
              </a:cxn>
              <a:cxn ang="0">
                <a:pos x="124" y="158"/>
              </a:cxn>
              <a:cxn ang="0">
                <a:pos x="114" y="163"/>
              </a:cxn>
              <a:cxn ang="0">
                <a:pos x="110" y="166"/>
              </a:cxn>
              <a:cxn ang="0">
                <a:pos x="91" y="165"/>
              </a:cxn>
              <a:cxn ang="0">
                <a:pos x="77" y="176"/>
              </a:cxn>
              <a:cxn ang="0">
                <a:pos x="75" y="189"/>
              </a:cxn>
              <a:cxn ang="0">
                <a:pos x="90" y="182"/>
              </a:cxn>
              <a:cxn ang="0">
                <a:pos x="101" y="177"/>
              </a:cxn>
              <a:cxn ang="0">
                <a:pos x="111" y="203"/>
              </a:cxn>
              <a:cxn ang="0">
                <a:pos x="128" y="212"/>
              </a:cxn>
              <a:cxn ang="0">
                <a:pos x="132" y="205"/>
              </a:cxn>
              <a:cxn ang="0">
                <a:pos x="132" y="190"/>
              </a:cxn>
              <a:cxn ang="0">
                <a:pos x="148" y="186"/>
              </a:cxn>
            </a:cxnLst>
            <a:rect l="0" t="0" r="r" b="b"/>
            <a:pathLst>
              <a:path w="149" h="213">
                <a:moveTo>
                  <a:pt x="81" y="79"/>
                </a:moveTo>
                <a:lnTo>
                  <a:pt x="81" y="79"/>
                </a:lnTo>
                <a:lnTo>
                  <a:pt x="84" y="79"/>
                </a:lnTo>
                <a:lnTo>
                  <a:pt x="88" y="81"/>
                </a:lnTo>
                <a:lnTo>
                  <a:pt x="94" y="85"/>
                </a:lnTo>
                <a:lnTo>
                  <a:pt x="98" y="89"/>
                </a:lnTo>
                <a:lnTo>
                  <a:pt x="100" y="92"/>
                </a:lnTo>
                <a:lnTo>
                  <a:pt x="100" y="94"/>
                </a:lnTo>
                <a:lnTo>
                  <a:pt x="100" y="94"/>
                </a:lnTo>
                <a:lnTo>
                  <a:pt x="100" y="98"/>
                </a:lnTo>
                <a:lnTo>
                  <a:pt x="100" y="103"/>
                </a:lnTo>
                <a:lnTo>
                  <a:pt x="102" y="108"/>
                </a:lnTo>
                <a:lnTo>
                  <a:pt x="102" y="109"/>
                </a:lnTo>
                <a:lnTo>
                  <a:pt x="105" y="108"/>
                </a:lnTo>
                <a:lnTo>
                  <a:pt x="105" y="108"/>
                </a:lnTo>
                <a:lnTo>
                  <a:pt x="108" y="106"/>
                </a:lnTo>
                <a:lnTo>
                  <a:pt x="111" y="108"/>
                </a:lnTo>
                <a:lnTo>
                  <a:pt x="112" y="111"/>
                </a:lnTo>
                <a:lnTo>
                  <a:pt x="111" y="115"/>
                </a:lnTo>
                <a:lnTo>
                  <a:pt x="111" y="115"/>
                </a:lnTo>
                <a:lnTo>
                  <a:pt x="111" y="118"/>
                </a:lnTo>
                <a:lnTo>
                  <a:pt x="111" y="121"/>
                </a:lnTo>
                <a:lnTo>
                  <a:pt x="114" y="125"/>
                </a:lnTo>
                <a:lnTo>
                  <a:pt x="117" y="129"/>
                </a:lnTo>
                <a:lnTo>
                  <a:pt x="119" y="135"/>
                </a:lnTo>
                <a:lnTo>
                  <a:pt x="119" y="135"/>
                </a:lnTo>
                <a:lnTo>
                  <a:pt x="121" y="139"/>
                </a:lnTo>
                <a:lnTo>
                  <a:pt x="122" y="138"/>
                </a:lnTo>
                <a:lnTo>
                  <a:pt x="124" y="135"/>
                </a:lnTo>
                <a:lnTo>
                  <a:pt x="125" y="131"/>
                </a:lnTo>
                <a:lnTo>
                  <a:pt x="125" y="131"/>
                </a:lnTo>
                <a:lnTo>
                  <a:pt x="124" y="128"/>
                </a:lnTo>
                <a:lnTo>
                  <a:pt x="125" y="126"/>
                </a:lnTo>
                <a:lnTo>
                  <a:pt x="132" y="122"/>
                </a:lnTo>
                <a:lnTo>
                  <a:pt x="132" y="122"/>
                </a:lnTo>
                <a:lnTo>
                  <a:pt x="134" y="119"/>
                </a:lnTo>
                <a:lnTo>
                  <a:pt x="134" y="118"/>
                </a:lnTo>
                <a:lnTo>
                  <a:pt x="134" y="113"/>
                </a:lnTo>
                <a:lnTo>
                  <a:pt x="128" y="102"/>
                </a:lnTo>
                <a:lnTo>
                  <a:pt x="128" y="102"/>
                </a:lnTo>
                <a:lnTo>
                  <a:pt x="125" y="99"/>
                </a:lnTo>
                <a:lnTo>
                  <a:pt x="122" y="98"/>
                </a:lnTo>
                <a:lnTo>
                  <a:pt x="117" y="95"/>
                </a:lnTo>
                <a:lnTo>
                  <a:pt x="111" y="94"/>
                </a:lnTo>
                <a:lnTo>
                  <a:pt x="110" y="92"/>
                </a:lnTo>
                <a:lnTo>
                  <a:pt x="110" y="89"/>
                </a:lnTo>
                <a:lnTo>
                  <a:pt x="110" y="89"/>
                </a:lnTo>
                <a:lnTo>
                  <a:pt x="110" y="86"/>
                </a:lnTo>
                <a:lnTo>
                  <a:pt x="108" y="85"/>
                </a:lnTo>
                <a:lnTo>
                  <a:pt x="104" y="81"/>
                </a:lnTo>
                <a:lnTo>
                  <a:pt x="101" y="78"/>
                </a:lnTo>
                <a:lnTo>
                  <a:pt x="98" y="75"/>
                </a:lnTo>
                <a:lnTo>
                  <a:pt x="98" y="75"/>
                </a:lnTo>
                <a:lnTo>
                  <a:pt x="98" y="74"/>
                </a:lnTo>
                <a:lnTo>
                  <a:pt x="95" y="72"/>
                </a:lnTo>
                <a:lnTo>
                  <a:pt x="90" y="69"/>
                </a:lnTo>
                <a:lnTo>
                  <a:pt x="83" y="69"/>
                </a:lnTo>
                <a:lnTo>
                  <a:pt x="77" y="71"/>
                </a:lnTo>
                <a:lnTo>
                  <a:pt x="77" y="71"/>
                </a:lnTo>
                <a:lnTo>
                  <a:pt x="74" y="72"/>
                </a:lnTo>
                <a:lnTo>
                  <a:pt x="73" y="72"/>
                </a:lnTo>
                <a:lnTo>
                  <a:pt x="71" y="68"/>
                </a:lnTo>
                <a:lnTo>
                  <a:pt x="71" y="62"/>
                </a:lnTo>
                <a:lnTo>
                  <a:pt x="70" y="59"/>
                </a:lnTo>
                <a:lnTo>
                  <a:pt x="68" y="57"/>
                </a:lnTo>
                <a:lnTo>
                  <a:pt x="68" y="57"/>
                </a:lnTo>
                <a:lnTo>
                  <a:pt x="67" y="54"/>
                </a:lnTo>
                <a:lnTo>
                  <a:pt x="67" y="51"/>
                </a:lnTo>
                <a:lnTo>
                  <a:pt x="68" y="45"/>
                </a:lnTo>
                <a:lnTo>
                  <a:pt x="74" y="39"/>
                </a:lnTo>
                <a:lnTo>
                  <a:pt x="80" y="34"/>
                </a:lnTo>
                <a:lnTo>
                  <a:pt x="80" y="34"/>
                </a:lnTo>
                <a:lnTo>
                  <a:pt x="81" y="31"/>
                </a:lnTo>
                <a:lnTo>
                  <a:pt x="81" y="27"/>
                </a:lnTo>
                <a:lnTo>
                  <a:pt x="81" y="20"/>
                </a:lnTo>
                <a:lnTo>
                  <a:pt x="78" y="12"/>
                </a:lnTo>
                <a:lnTo>
                  <a:pt x="78" y="8"/>
                </a:lnTo>
                <a:lnTo>
                  <a:pt x="78" y="8"/>
                </a:lnTo>
                <a:lnTo>
                  <a:pt x="78" y="2"/>
                </a:lnTo>
                <a:lnTo>
                  <a:pt x="77" y="1"/>
                </a:lnTo>
                <a:lnTo>
                  <a:pt x="75" y="2"/>
                </a:lnTo>
                <a:lnTo>
                  <a:pt x="75" y="2"/>
                </a:lnTo>
                <a:lnTo>
                  <a:pt x="71" y="2"/>
                </a:lnTo>
                <a:lnTo>
                  <a:pt x="64" y="0"/>
                </a:lnTo>
                <a:lnTo>
                  <a:pt x="58" y="0"/>
                </a:lnTo>
                <a:lnTo>
                  <a:pt x="54" y="0"/>
                </a:lnTo>
                <a:lnTo>
                  <a:pt x="53" y="0"/>
                </a:lnTo>
                <a:lnTo>
                  <a:pt x="53" y="0"/>
                </a:lnTo>
                <a:lnTo>
                  <a:pt x="50" y="2"/>
                </a:lnTo>
                <a:lnTo>
                  <a:pt x="50" y="7"/>
                </a:lnTo>
                <a:lnTo>
                  <a:pt x="48" y="20"/>
                </a:lnTo>
                <a:lnTo>
                  <a:pt x="50" y="31"/>
                </a:lnTo>
                <a:lnTo>
                  <a:pt x="50" y="35"/>
                </a:lnTo>
                <a:lnTo>
                  <a:pt x="48" y="38"/>
                </a:lnTo>
                <a:lnTo>
                  <a:pt x="48" y="38"/>
                </a:lnTo>
                <a:lnTo>
                  <a:pt x="47" y="38"/>
                </a:lnTo>
                <a:lnTo>
                  <a:pt x="44" y="37"/>
                </a:lnTo>
                <a:lnTo>
                  <a:pt x="43" y="35"/>
                </a:lnTo>
                <a:lnTo>
                  <a:pt x="41" y="35"/>
                </a:lnTo>
                <a:lnTo>
                  <a:pt x="41" y="35"/>
                </a:lnTo>
                <a:lnTo>
                  <a:pt x="41" y="41"/>
                </a:lnTo>
                <a:lnTo>
                  <a:pt x="41" y="48"/>
                </a:lnTo>
                <a:lnTo>
                  <a:pt x="43" y="55"/>
                </a:lnTo>
                <a:lnTo>
                  <a:pt x="44" y="57"/>
                </a:lnTo>
                <a:lnTo>
                  <a:pt x="46" y="58"/>
                </a:lnTo>
                <a:lnTo>
                  <a:pt x="46" y="58"/>
                </a:lnTo>
                <a:lnTo>
                  <a:pt x="48" y="58"/>
                </a:lnTo>
                <a:lnTo>
                  <a:pt x="50" y="61"/>
                </a:lnTo>
                <a:lnTo>
                  <a:pt x="50" y="65"/>
                </a:lnTo>
                <a:lnTo>
                  <a:pt x="50" y="69"/>
                </a:lnTo>
                <a:lnTo>
                  <a:pt x="50" y="69"/>
                </a:lnTo>
                <a:lnTo>
                  <a:pt x="50" y="72"/>
                </a:lnTo>
                <a:lnTo>
                  <a:pt x="50" y="74"/>
                </a:lnTo>
                <a:lnTo>
                  <a:pt x="54" y="76"/>
                </a:lnTo>
                <a:lnTo>
                  <a:pt x="60" y="76"/>
                </a:lnTo>
                <a:lnTo>
                  <a:pt x="65" y="75"/>
                </a:lnTo>
                <a:lnTo>
                  <a:pt x="65" y="75"/>
                </a:lnTo>
                <a:lnTo>
                  <a:pt x="68" y="74"/>
                </a:lnTo>
                <a:lnTo>
                  <a:pt x="71" y="75"/>
                </a:lnTo>
                <a:lnTo>
                  <a:pt x="73" y="76"/>
                </a:lnTo>
                <a:lnTo>
                  <a:pt x="75" y="79"/>
                </a:lnTo>
                <a:lnTo>
                  <a:pt x="78" y="79"/>
                </a:lnTo>
                <a:lnTo>
                  <a:pt x="81" y="79"/>
                </a:lnTo>
                <a:lnTo>
                  <a:pt x="81" y="79"/>
                </a:lnTo>
                <a:close/>
                <a:moveTo>
                  <a:pt x="50" y="84"/>
                </a:moveTo>
                <a:lnTo>
                  <a:pt x="50" y="84"/>
                </a:lnTo>
                <a:lnTo>
                  <a:pt x="51" y="89"/>
                </a:lnTo>
                <a:lnTo>
                  <a:pt x="54" y="96"/>
                </a:lnTo>
                <a:lnTo>
                  <a:pt x="57" y="99"/>
                </a:lnTo>
                <a:lnTo>
                  <a:pt x="58" y="101"/>
                </a:lnTo>
                <a:lnTo>
                  <a:pt x="61" y="102"/>
                </a:lnTo>
                <a:lnTo>
                  <a:pt x="65" y="101"/>
                </a:lnTo>
                <a:lnTo>
                  <a:pt x="65" y="101"/>
                </a:lnTo>
                <a:lnTo>
                  <a:pt x="67" y="99"/>
                </a:lnTo>
                <a:lnTo>
                  <a:pt x="67" y="96"/>
                </a:lnTo>
                <a:lnTo>
                  <a:pt x="65" y="94"/>
                </a:lnTo>
                <a:lnTo>
                  <a:pt x="61" y="89"/>
                </a:lnTo>
                <a:lnTo>
                  <a:pt x="54" y="84"/>
                </a:lnTo>
                <a:lnTo>
                  <a:pt x="51" y="84"/>
                </a:lnTo>
                <a:lnTo>
                  <a:pt x="50" y="84"/>
                </a:lnTo>
                <a:lnTo>
                  <a:pt x="50" y="84"/>
                </a:lnTo>
                <a:close/>
                <a:moveTo>
                  <a:pt x="77" y="131"/>
                </a:moveTo>
                <a:lnTo>
                  <a:pt x="77" y="131"/>
                </a:lnTo>
                <a:lnTo>
                  <a:pt x="81" y="129"/>
                </a:lnTo>
                <a:lnTo>
                  <a:pt x="84" y="128"/>
                </a:lnTo>
                <a:lnTo>
                  <a:pt x="85" y="125"/>
                </a:lnTo>
                <a:lnTo>
                  <a:pt x="85" y="125"/>
                </a:lnTo>
                <a:lnTo>
                  <a:pt x="85" y="125"/>
                </a:lnTo>
                <a:lnTo>
                  <a:pt x="87" y="125"/>
                </a:lnTo>
                <a:lnTo>
                  <a:pt x="88" y="128"/>
                </a:lnTo>
                <a:lnTo>
                  <a:pt x="88" y="133"/>
                </a:lnTo>
                <a:lnTo>
                  <a:pt x="88" y="136"/>
                </a:lnTo>
                <a:lnTo>
                  <a:pt x="87" y="138"/>
                </a:lnTo>
                <a:lnTo>
                  <a:pt x="87" y="138"/>
                </a:lnTo>
                <a:lnTo>
                  <a:pt x="84" y="142"/>
                </a:lnTo>
                <a:lnTo>
                  <a:pt x="84" y="148"/>
                </a:lnTo>
                <a:lnTo>
                  <a:pt x="85" y="153"/>
                </a:lnTo>
                <a:lnTo>
                  <a:pt x="87" y="155"/>
                </a:lnTo>
                <a:lnTo>
                  <a:pt x="90" y="156"/>
                </a:lnTo>
                <a:lnTo>
                  <a:pt x="90" y="156"/>
                </a:lnTo>
                <a:lnTo>
                  <a:pt x="91" y="155"/>
                </a:lnTo>
                <a:lnTo>
                  <a:pt x="95" y="153"/>
                </a:lnTo>
                <a:lnTo>
                  <a:pt x="101" y="145"/>
                </a:lnTo>
                <a:lnTo>
                  <a:pt x="105" y="136"/>
                </a:lnTo>
                <a:lnTo>
                  <a:pt x="107" y="132"/>
                </a:lnTo>
                <a:lnTo>
                  <a:pt x="107" y="131"/>
                </a:lnTo>
                <a:lnTo>
                  <a:pt x="107" y="131"/>
                </a:lnTo>
                <a:lnTo>
                  <a:pt x="105" y="129"/>
                </a:lnTo>
                <a:lnTo>
                  <a:pt x="104" y="129"/>
                </a:lnTo>
                <a:lnTo>
                  <a:pt x="101" y="129"/>
                </a:lnTo>
                <a:lnTo>
                  <a:pt x="100" y="129"/>
                </a:lnTo>
                <a:lnTo>
                  <a:pt x="100" y="128"/>
                </a:lnTo>
                <a:lnTo>
                  <a:pt x="100" y="128"/>
                </a:lnTo>
                <a:lnTo>
                  <a:pt x="100" y="125"/>
                </a:lnTo>
                <a:lnTo>
                  <a:pt x="98" y="122"/>
                </a:lnTo>
                <a:lnTo>
                  <a:pt x="91" y="115"/>
                </a:lnTo>
                <a:lnTo>
                  <a:pt x="83" y="109"/>
                </a:lnTo>
                <a:lnTo>
                  <a:pt x="78" y="108"/>
                </a:lnTo>
                <a:lnTo>
                  <a:pt x="75" y="108"/>
                </a:lnTo>
                <a:lnTo>
                  <a:pt x="75" y="108"/>
                </a:lnTo>
                <a:lnTo>
                  <a:pt x="74" y="109"/>
                </a:lnTo>
                <a:lnTo>
                  <a:pt x="73" y="112"/>
                </a:lnTo>
                <a:lnTo>
                  <a:pt x="71" y="121"/>
                </a:lnTo>
                <a:lnTo>
                  <a:pt x="73" y="128"/>
                </a:lnTo>
                <a:lnTo>
                  <a:pt x="74" y="129"/>
                </a:lnTo>
                <a:lnTo>
                  <a:pt x="77" y="131"/>
                </a:lnTo>
                <a:lnTo>
                  <a:pt x="77" y="131"/>
                </a:lnTo>
                <a:close/>
                <a:moveTo>
                  <a:pt x="21" y="139"/>
                </a:moveTo>
                <a:lnTo>
                  <a:pt x="21" y="139"/>
                </a:lnTo>
                <a:lnTo>
                  <a:pt x="7" y="153"/>
                </a:lnTo>
                <a:lnTo>
                  <a:pt x="1" y="160"/>
                </a:lnTo>
                <a:lnTo>
                  <a:pt x="0" y="163"/>
                </a:lnTo>
                <a:lnTo>
                  <a:pt x="0" y="166"/>
                </a:lnTo>
                <a:lnTo>
                  <a:pt x="0" y="166"/>
                </a:lnTo>
                <a:lnTo>
                  <a:pt x="1" y="166"/>
                </a:lnTo>
                <a:lnTo>
                  <a:pt x="4" y="165"/>
                </a:lnTo>
                <a:lnTo>
                  <a:pt x="13" y="156"/>
                </a:lnTo>
                <a:lnTo>
                  <a:pt x="21" y="146"/>
                </a:lnTo>
                <a:lnTo>
                  <a:pt x="30" y="139"/>
                </a:lnTo>
                <a:lnTo>
                  <a:pt x="30" y="139"/>
                </a:lnTo>
                <a:lnTo>
                  <a:pt x="34" y="133"/>
                </a:lnTo>
                <a:lnTo>
                  <a:pt x="36" y="129"/>
                </a:lnTo>
                <a:lnTo>
                  <a:pt x="36" y="126"/>
                </a:lnTo>
                <a:lnTo>
                  <a:pt x="34" y="122"/>
                </a:lnTo>
                <a:lnTo>
                  <a:pt x="34" y="122"/>
                </a:lnTo>
                <a:lnTo>
                  <a:pt x="33" y="121"/>
                </a:lnTo>
                <a:lnTo>
                  <a:pt x="31" y="121"/>
                </a:lnTo>
                <a:lnTo>
                  <a:pt x="28" y="125"/>
                </a:lnTo>
                <a:lnTo>
                  <a:pt x="26" y="132"/>
                </a:lnTo>
                <a:lnTo>
                  <a:pt x="21" y="139"/>
                </a:lnTo>
                <a:lnTo>
                  <a:pt x="21" y="139"/>
                </a:lnTo>
                <a:close/>
                <a:moveTo>
                  <a:pt x="105" y="149"/>
                </a:moveTo>
                <a:lnTo>
                  <a:pt x="105" y="149"/>
                </a:lnTo>
                <a:lnTo>
                  <a:pt x="107" y="149"/>
                </a:lnTo>
                <a:lnTo>
                  <a:pt x="108" y="150"/>
                </a:lnTo>
                <a:lnTo>
                  <a:pt x="114" y="148"/>
                </a:lnTo>
                <a:lnTo>
                  <a:pt x="117" y="145"/>
                </a:lnTo>
                <a:lnTo>
                  <a:pt x="118" y="143"/>
                </a:lnTo>
                <a:lnTo>
                  <a:pt x="117" y="140"/>
                </a:lnTo>
                <a:lnTo>
                  <a:pt x="117" y="140"/>
                </a:lnTo>
                <a:lnTo>
                  <a:pt x="115" y="139"/>
                </a:lnTo>
                <a:lnTo>
                  <a:pt x="114" y="139"/>
                </a:lnTo>
                <a:lnTo>
                  <a:pt x="110" y="142"/>
                </a:lnTo>
                <a:lnTo>
                  <a:pt x="105" y="145"/>
                </a:lnTo>
                <a:lnTo>
                  <a:pt x="105" y="149"/>
                </a:lnTo>
                <a:lnTo>
                  <a:pt x="105" y="149"/>
                </a:lnTo>
                <a:close/>
                <a:moveTo>
                  <a:pt x="148" y="186"/>
                </a:moveTo>
                <a:lnTo>
                  <a:pt x="148" y="186"/>
                </a:lnTo>
                <a:lnTo>
                  <a:pt x="149" y="182"/>
                </a:lnTo>
                <a:lnTo>
                  <a:pt x="149" y="179"/>
                </a:lnTo>
                <a:lnTo>
                  <a:pt x="148" y="169"/>
                </a:lnTo>
                <a:lnTo>
                  <a:pt x="145" y="159"/>
                </a:lnTo>
                <a:lnTo>
                  <a:pt x="144" y="150"/>
                </a:lnTo>
                <a:lnTo>
                  <a:pt x="144" y="150"/>
                </a:lnTo>
                <a:lnTo>
                  <a:pt x="144" y="146"/>
                </a:lnTo>
                <a:lnTo>
                  <a:pt x="142" y="143"/>
                </a:lnTo>
                <a:lnTo>
                  <a:pt x="139" y="143"/>
                </a:lnTo>
                <a:lnTo>
                  <a:pt x="137" y="142"/>
                </a:lnTo>
                <a:lnTo>
                  <a:pt x="134" y="143"/>
                </a:lnTo>
                <a:lnTo>
                  <a:pt x="132" y="145"/>
                </a:lnTo>
                <a:lnTo>
                  <a:pt x="132" y="146"/>
                </a:lnTo>
                <a:lnTo>
                  <a:pt x="132" y="149"/>
                </a:lnTo>
                <a:lnTo>
                  <a:pt x="132" y="149"/>
                </a:lnTo>
                <a:lnTo>
                  <a:pt x="134" y="150"/>
                </a:lnTo>
                <a:lnTo>
                  <a:pt x="134" y="152"/>
                </a:lnTo>
                <a:lnTo>
                  <a:pt x="129" y="153"/>
                </a:lnTo>
                <a:lnTo>
                  <a:pt x="127" y="155"/>
                </a:lnTo>
                <a:lnTo>
                  <a:pt x="124" y="155"/>
                </a:lnTo>
                <a:lnTo>
                  <a:pt x="124" y="158"/>
                </a:lnTo>
                <a:lnTo>
                  <a:pt x="124" y="158"/>
                </a:lnTo>
                <a:lnTo>
                  <a:pt x="122" y="159"/>
                </a:lnTo>
                <a:lnTo>
                  <a:pt x="121" y="160"/>
                </a:lnTo>
                <a:lnTo>
                  <a:pt x="118" y="162"/>
                </a:lnTo>
                <a:lnTo>
                  <a:pt x="115" y="162"/>
                </a:lnTo>
                <a:lnTo>
                  <a:pt x="114" y="163"/>
                </a:lnTo>
                <a:lnTo>
                  <a:pt x="114" y="165"/>
                </a:lnTo>
                <a:lnTo>
                  <a:pt x="114" y="165"/>
                </a:lnTo>
                <a:lnTo>
                  <a:pt x="114" y="166"/>
                </a:lnTo>
                <a:lnTo>
                  <a:pt x="112" y="168"/>
                </a:lnTo>
                <a:lnTo>
                  <a:pt x="110" y="166"/>
                </a:lnTo>
                <a:lnTo>
                  <a:pt x="100" y="162"/>
                </a:lnTo>
                <a:lnTo>
                  <a:pt x="100" y="162"/>
                </a:lnTo>
                <a:lnTo>
                  <a:pt x="98" y="160"/>
                </a:lnTo>
                <a:lnTo>
                  <a:pt x="95" y="162"/>
                </a:lnTo>
                <a:lnTo>
                  <a:pt x="91" y="165"/>
                </a:lnTo>
                <a:lnTo>
                  <a:pt x="87" y="169"/>
                </a:lnTo>
                <a:lnTo>
                  <a:pt x="81" y="172"/>
                </a:lnTo>
                <a:lnTo>
                  <a:pt x="81" y="172"/>
                </a:lnTo>
                <a:lnTo>
                  <a:pt x="78" y="173"/>
                </a:lnTo>
                <a:lnTo>
                  <a:pt x="77" y="176"/>
                </a:lnTo>
                <a:lnTo>
                  <a:pt x="74" y="182"/>
                </a:lnTo>
                <a:lnTo>
                  <a:pt x="73" y="186"/>
                </a:lnTo>
                <a:lnTo>
                  <a:pt x="74" y="189"/>
                </a:lnTo>
                <a:lnTo>
                  <a:pt x="75" y="189"/>
                </a:lnTo>
                <a:lnTo>
                  <a:pt x="75" y="189"/>
                </a:lnTo>
                <a:lnTo>
                  <a:pt x="80" y="187"/>
                </a:lnTo>
                <a:lnTo>
                  <a:pt x="83" y="185"/>
                </a:lnTo>
                <a:lnTo>
                  <a:pt x="85" y="182"/>
                </a:lnTo>
                <a:lnTo>
                  <a:pt x="90" y="182"/>
                </a:lnTo>
                <a:lnTo>
                  <a:pt x="90" y="182"/>
                </a:lnTo>
                <a:lnTo>
                  <a:pt x="92" y="180"/>
                </a:lnTo>
                <a:lnTo>
                  <a:pt x="94" y="179"/>
                </a:lnTo>
                <a:lnTo>
                  <a:pt x="97" y="177"/>
                </a:lnTo>
                <a:lnTo>
                  <a:pt x="101" y="177"/>
                </a:lnTo>
                <a:lnTo>
                  <a:pt x="101" y="177"/>
                </a:lnTo>
                <a:lnTo>
                  <a:pt x="104" y="179"/>
                </a:lnTo>
                <a:lnTo>
                  <a:pt x="105" y="182"/>
                </a:lnTo>
                <a:lnTo>
                  <a:pt x="107" y="190"/>
                </a:lnTo>
                <a:lnTo>
                  <a:pt x="110" y="199"/>
                </a:lnTo>
                <a:lnTo>
                  <a:pt x="111" y="203"/>
                </a:lnTo>
                <a:lnTo>
                  <a:pt x="115" y="205"/>
                </a:lnTo>
                <a:lnTo>
                  <a:pt x="115" y="205"/>
                </a:lnTo>
                <a:lnTo>
                  <a:pt x="121" y="206"/>
                </a:lnTo>
                <a:lnTo>
                  <a:pt x="125" y="209"/>
                </a:lnTo>
                <a:lnTo>
                  <a:pt x="128" y="212"/>
                </a:lnTo>
                <a:lnTo>
                  <a:pt x="131" y="213"/>
                </a:lnTo>
                <a:lnTo>
                  <a:pt x="131" y="213"/>
                </a:lnTo>
                <a:lnTo>
                  <a:pt x="132" y="212"/>
                </a:lnTo>
                <a:lnTo>
                  <a:pt x="134" y="210"/>
                </a:lnTo>
                <a:lnTo>
                  <a:pt x="132" y="205"/>
                </a:lnTo>
                <a:lnTo>
                  <a:pt x="131" y="197"/>
                </a:lnTo>
                <a:lnTo>
                  <a:pt x="131" y="193"/>
                </a:lnTo>
                <a:lnTo>
                  <a:pt x="131" y="193"/>
                </a:lnTo>
                <a:lnTo>
                  <a:pt x="131" y="192"/>
                </a:lnTo>
                <a:lnTo>
                  <a:pt x="132" y="190"/>
                </a:lnTo>
                <a:lnTo>
                  <a:pt x="137" y="189"/>
                </a:lnTo>
                <a:lnTo>
                  <a:pt x="142" y="189"/>
                </a:lnTo>
                <a:lnTo>
                  <a:pt x="145" y="187"/>
                </a:lnTo>
                <a:lnTo>
                  <a:pt x="148" y="186"/>
                </a:lnTo>
                <a:lnTo>
                  <a:pt x="148" y="186"/>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43" name="Freeform 331">
            <a:extLst>
              <a:ext uri="{FF2B5EF4-FFF2-40B4-BE49-F238E27FC236}">
                <a16:creationId xmlns:a16="http://schemas.microsoft.com/office/drawing/2014/main" id="{006940BE-000A-D362-8F72-7523FD6414C5}"/>
              </a:ext>
            </a:extLst>
          </p:cNvPr>
          <p:cNvSpPr>
            <a:spLocks noEditPoints="1"/>
          </p:cNvSpPr>
          <p:nvPr userDrawn="1"/>
        </p:nvSpPr>
        <p:spPr bwMode="gray">
          <a:xfrm>
            <a:off x="7271856" y="3408374"/>
            <a:ext cx="258802" cy="169066"/>
          </a:xfrm>
          <a:custGeom>
            <a:avLst/>
            <a:gdLst/>
            <a:ahLst/>
            <a:cxnLst>
              <a:cxn ang="0">
                <a:pos x="140" y="116"/>
              </a:cxn>
              <a:cxn ang="0">
                <a:pos x="135" y="110"/>
              </a:cxn>
              <a:cxn ang="0">
                <a:pos x="130" y="106"/>
              </a:cxn>
              <a:cxn ang="0">
                <a:pos x="120" y="101"/>
              </a:cxn>
              <a:cxn ang="0">
                <a:pos x="114" y="91"/>
              </a:cxn>
              <a:cxn ang="0">
                <a:pos x="108" y="80"/>
              </a:cxn>
              <a:cxn ang="0">
                <a:pos x="100" y="73"/>
              </a:cxn>
              <a:cxn ang="0">
                <a:pos x="101" y="67"/>
              </a:cxn>
              <a:cxn ang="0">
                <a:pos x="108" y="67"/>
              </a:cxn>
              <a:cxn ang="0">
                <a:pos x="107" y="57"/>
              </a:cxn>
              <a:cxn ang="0">
                <a:pos x="100" y="53"/>
              </a:cxn>
              <a:cxn ang="0">
                <a:pos x="77" y="42"/>
              </a:cxn>
              <a:cxn ang="0">
                <a:pos x="73" y="36"/>
              </a:cxn>
              <a:cxn ang="0">
                <a:pos x="30" y="10"/>
              </a:cxn>
              <a:cxn ang="0">
                <a:pos x="0" y="0"/>
              </a:cxn>
              <a:cxn ang="0">
                <a:pos x="7" y="106"/>
              </a:cxn>
              <a:cxn ang="0">
                <a:pos x="24" y="107"/>
              </a:cxn>
              <a:cxn ang="0">
                <a:pos x="34" y="103"/>
              </a:cxn>
              <a:cxn ang="0">
                <a:pos x="37" y="97"/>
              </a:cxn>
              <a:cxn ang="0">
                <a:pos x="42" y="93"/>
              </a:cxn>
              <a:cxn ang="0">
                <a:pos x="49" y="84"/>
              </a:cxn>
              <a:cxn ang="0">
                <a:pos x="71" y="87"/>
              </a:cxn>
              <a:cxn ang="0">
                <a:pos x="88" y="101"/>
              </a:cxn>
              <a:cxn ang="0">
                <a:pos x="111" y="124"/>
              </a:cxn>
              <a:cxn ang="0">
                <a:pos x="120" y="124"/>
              </a:cxn>
              <a:cxn ang="0">
                <a:pos x="141" y="128"/>
              </a:cxn>
              <a:cxn ang="0">
                <a:pos x="152" y="130"/>
              </a:cxn>
              <a:cxn ang="0">
                <a:pos x="152" y="126"/>
              </a:cxn>
              <a:cxn ang="0">
                <a:pos x="147" y="120"/>
              </a:cxn>
              <a:cxn ang="0">
                <a:pos x="172" y="39"/>
              </a:cxn>
              <a:cxn ang="0">
                <a:pos x="154" y="47"/>
              </a:cxn>
              <a:cxn ang="0">
                <a:pos x="133" y="47"/>
              </a:cxn>
              <a:cxn ang="0">
                <a:pos x="120" y="49"/>
              </a:cxn>
              <a:cxn ang="0">
                <a:pos x="123" y="52"/>
              </a:cxn>
              <a:cxn ang="0">
                <a:pos x="147" y="60"/>
              </a:cxn>
              <a:cxn ang="0">
                <a:pos x="157" y="59"/>
              </a:cxn>
              <a:cxn ang="0">
                <a:pos x="178" y="46"/>
              </a:cxn>
              <a:cxn ang="0">
                <a:pos x="181" y="40"/>
              </a:cxn>
              <a:cxn ang="0">
                <a:pos x="185" y="32"/>
              </a:cxn>
              <a:cxn ang="0">
                <a:pos x="181" y="29"/>
              </a:cxn>
              <a:cxn ang="0">
                <a:pos x="174" y="36"/>
              </a:cxn>
              <a:cxn ang="0">
                <a:pos x="189" y="17"/>
              </a:cxn>
              <a:cxn ang="0">
                <a:pos x="181" y="15"/>
              </a:cxn>
              <a:cxn ang="0">
                <a:pos x="189" y="25"/>
              </a:cxn>
              <a:cxn ang="0">
                <a:pos x="194" y="34"/>
              </a:cxn>
              <a:cxn ang="0">
                <a:pos x="198" y="33"/>
              </a:cxn>
              <a:cxn ang="0">
                <a:pos x="198" y="27"/>
              </a:cxn>
              <a:cxn ang="0">
                <a:pos x="189" y="17"/>
              </a:cxn>
            </a:cxnLst>
            <a:rect l="0" t="0" r="r" b="b"/>
            <a:pathLst>
              <a:path w="199" h="130">
                <a:moveTo>
                  <a:pt x="147" y="120"/>
                </a:moveTo>
                <a:lnTo>
                  <a:pt x="147" y="120"/>
                </a:lnTo>
                <a:lnTo>
                  <a:pt x="140" y="116"/>
                </a:lnTo>
                <a:lnTo>
                  <a:pt x="137" y="113"/>
                </a:lnTo>
                <a:lnTo>
                  <a:pt x="135" y="110"/>
                </a:lnTo>
                <a:lnTo>
                  <a:pt x="135" y="110"/>
                </a:lnTo>
                <a:lnTo>
                  <a:pt x="135" y="108"/>
                </a:lnTo>
                <a:lnTo>
                  <a:pt x="134" y="107"/>
                </a:lnTo>
                <a:lnTo>
                  <a:pt x="130" y="106"/>
                </a:lnTo>
                <a:lnTo>
                  <a:pt x="124" y="104"/>
                </a:lnTo>
                <a:lnTo>
                  <a:pt x="120" y="101"/>
                </a:lnTo>
                <a:lnTo>
                  <a:pt x="120" y="101"/>
                </a:lnTo>
                <a:lnTo>
                  <a:pt x="117" y="100"/>
                </a:lnTo>
                <a:lnTo>
                  <a:pt x="115" y="97"/>
                </a:lnTo>
                <a:lnTo>
                  <a:pt x="114" y="91"/>
                </a:lnTo>
                <a:lnTo>
                  <a:pt x="111" y="84"/>
                </a:lnTo>
                <a:lnTo>
                  <a:pt x="110" y="81"/>
                </a:lnTo>
                <a:lnTo>
                  <a:pt x="108" y="80"/>
                </a:lnTo>
                <a:lnTo>
                  <a:pt x="108" y="80"/>
                </a:lnTo>
                <a:lnTo>
                  <a:pt x="103" y="77"/>
                </a:lnTo>
                <a:lnTo>
                  <a:pt x="100" y="73"/>
                </a:lnTo>
                <a:lnTo>
                  <a:pt x="100" y="70"/>
                </a:lnTo>
                <a:lnTo>
                  <a:pt x="100" y="69"/>
                </a:lnTo>
                <a:lnTo>
                  <a:pt x="101" y="67"/>
                </a:lnTo>
                <a:lnTo>
                  <a:pt x="104" y="67"/>
                </a:lnTo>
                <a:lnTo>
                  <a:pt x="104" y="67"/>
                </a:lnTo>
                <a:lnTo>
                  <a:pt x="108" y="67"/>
                </a:lnTo>
                <a:lnTo>
                  <a:pt x="111" y="64"/>
                </a:lnTo>
                <a:lnTo>
                  <a:pt x="111" y="62"/>
                </a:lnTo>
                <a:lnTo>
                  <a:pt x="107" y="57"/>
                </a:lnTo>
                <a:lnTo>
                  <a:pt x="107" y="57"/>
                </a:lnTo>
                <a:lnTo>
                  <a:pt x="104" y="54"/>
                </a:lnTo>
                <a:lnTo>
                  <a:pt x="100" y="53"/>
                </a:lnTo>
                <a:lnTo>
                  <a:pt x="90" y="49"/>
                </a:lnTo>
                <a:lnTo>
                  <a:pt x="80" y="44"/>
                </a:lnTo>
                <a:lnTo>
                  <a:pt x="77" y="42"/>
                </a:lnTo>
                <a:lnTo>
                  <a:pt x="76" y="39"/>
                </a:lnTo>
                <a:lnTo>
                  <a:pt x="76" y="39"/>
                </a:lnTo>
                <a:lnTo>
                  <a:pt x="73" y="36"/>
                </a:lnTo>
                <a:lnTo>
                  <a:pt x="69" y="30"/>
                </a:lnTo>
                <a:lnTo>
                  <a:pt x="50" y="20"/>
                </a:lnTo>
                <a:lnTo>
                  <a:pt x="30" y="10"/>
                </a:lnTo>
                <a:lnTo>
                  <a:pt x="13" y="5"/>
                </a:lnTo>
                <a:lnTo>
                  <a:pt x="13" y="5"/>
                </a:lnTo>
                <a:lnTo>
                  <a:pt x="0" y="0"/>
                </a:lnTo>
                <a:lnTo>
                  <a:pt x="0" y="103"/>
                </a:lnTo>
                <a:lnTo>
                  <a:pt x="0" y="103"/>
                </a:lnTo>
                <a:lnTo>
                  <a:pt x="7" y="106"/>
                </a:lnTo>
                <a:lnTo>
                  <a:pt x="17" y="108"/>
                </a:lnTo>
                <a:lnTo>
                  <a:pt x="17" y="108"/>
                </a:lnTo>
                <a:lnTo>
                  <a:pt x="24" y="107"/>
                </a:lnTo>
                <a:lnTo>
                  <a:pt x="29" y="107"/>
                </a:lnTo>
                <a:lnTo>
                  <a:pt x="32" y="104"/>
                </a:lnTo>
                <a:lnTo>
                  <a:pt x="34" y="103"/>
                </a:lnTo>
                <a:lnTo>
                  <a:pt x="36" y="98"/>
                </a:lnTo>
                <a:lnTo>
                  <a:pt x="36" y="97"/>
                </a:lnTo>
                <a:lnTo>
                  <a:pt x="37" y="97"/>
                </a:lnTo>
                <a:lnTo>
                  <a:pt x="37" y="97"/>
                </a:lnTo>
                <a:lnTo>
                  <a:pt x="40" y="96"/>
                </a:lnTo>
                <a:lnTo>
                  <a:pt x="42" y="93"/>
                </a:lnTo>
                <a:lnTo>
                  <a:pt x="47" y="86"/>
                </a:lnTo>
                <a:lnTo>
                  <a:pt x="47" y="86"/>
                </a:lnTo>
                <a:lnTo>
                  <a:pt x="49" y="84"/>
                </a:lnTo>
                <a:lnTo>
                  <a:pt x="51" y="83"/>
                </a:lnTo>
                <a:lnTo>
                  <a:pt x="61" y="84"/>
                </a:lnTo>
                <a:lnTo>
                  <a:pt x="71" y="87"/>
                </a:lnTo>
                <a:lnTo>
                  <a:pt x="80" y="93"/>
                </a:lnTo>
                <a:lnTo>
                  <a:pt x="80" y="93"/>
                </a:lnTo>
                <a:lnTo>
                  <a:pt x="88" y="101"/>
                </a:lnTo>
                <a:lnTo>
                  <a:pt x="97" y="113"/>
                </a:lnTo>
                <a:lnTo>
                  <a:pt x="107" y="121"/>
                </a:lnTo>
                <a:lnTo>
                  <a:pt x="111" y="124"/>
                </a:lnTo>
                <a:lnTo>
                  <a:pt x="115" y="124"/>
                </a:lnTo>
                <a:lnTo>
                  <a:pt x="115" y="124"/>
                </a:lnTo>
                <a:lnTo>
                  <a:pt x="120" y="124"/>
                </a:lnTo>
                <a:lnTo>
                  <a:pt x="124" y="124"/>
                </a:lnTo>
                <a:lnTo>
                  <a:pt x="133" y="127"/>
                </a:lnTo>
                <a:lnTo>
                  <a:pt x="141" y="128"/>
                </a:lnTo>
                <a:lnTo>
                  <a:pt x="150" y="130"/>
                </a:lnTo>
                <a:lnTo>
                  <a:pt x="150" y="130"/>
                </a:lnTo>
                <a:lnTo>
                  <a:pt x="152" y="130"/>
                </a:lnTo>
                <a:lnTo>
                  <a:pt x="154" y="128"/>
                </a:lnTo>
                <a:lnTo>
                  <a:pt x="154" y="127"/>
                </a:lnTo>
                <a:lnTo>
                  <a:pt x="152" y="126"/>
                </a:lnTo>
                <a:lnTo>
                  <a:pt x="150" y="123"/>
                </a:lnTo>
                <a:lnTo>
                  <a:pt x="147" y="120"/>
                </a:lnTo>
                <a:lnTo>
                  <a:pt x="147" y="120"/>
                </a:lnTo>
                <a:close/>
                <a:moveTo>
                  <a:pt x="174" y="36"/>
                </a:moveTo>
                <a:lnTo>
                  <a:pt x="174" y="36"/>
                </a:lnTo>
                <a:lnTo>
                  <a:pt x="172" y="39"/>
                </a:lnTo>
                <a:lnTo>
                  <a:pt x="168" y="42"/>
                </a:lnTo>
                <a:lnTo>
                  <a:pt x="154" y="47"/>
                </a:lnTo>
                <a:lnTo>
                  <a:pt x="154" y="47"/>
                </a:lnTo>
                <a:lnTo>
                  <a:pt x="150" y="49"/>
                </a:lnTo>
                <a:lnTo>
                  <a:pt x="144" y="49"/>
                </a:lnTo>
                <a:lnTo>
                  <a:pt x="133" y="47"/>
                </a:lnTo>
                <a:lnTo>
                  <a:pt x="124" y="46"/>
                </a:lnTo>
                <a:lnTo>
                  <a:pt x="121" y="47"/>
                </a:lnTo>
                <a:lnTo>
                  <a:pt x="120" y="49"/>
                </a:lnTo>
                <a:lnTo>
                  <a:pt x="120" y="49"/>
                </a:lnTo>
                <a:lnTo>
                  <a:pt x="121" y="50"/>
                </a:lnTo>
                <a:lnTo>
                  <a:pt x="123" y="52"/>
                </a:lnTo>
                <a:lnTo>
                  <a:pt x="128" y="56"/>
                </a:lnTo>
                <a:lnTo>
                  <a:pt x="137" y="59"/>
                </a:lnTo>
                <a:lnTo>
                  <a:pt x="147" y="60"/>
                </a:lnTo>
                <a:lnTo>
                  <a:pt x="147" y="60"/>
                </a:lnTo>
                <a:lnTo>
                  <a:pt x="151" y="60"/>
                </a:lnTo>
                <a:lnTo>
                  <a:pt x="157" y="59"/>
                </a:lnTo>
                <a:lnTo>
                  <a:pt x="168" y="53"/>
                </a:lnTo>
                <a:lnTo>
                  <a:pt x="175" y="49"/>
                </a:lnTo>
                <a:lnTo>
                  <a:pt x="178" y="46"/>
                </a:lnTo>
                <a:lnTo>
                  <a:pt x="179" y="44"/>
                </a:lnTo>
                <a:lnTo>
                  <a:pt x="179" y="44"/>
                </a:lnTo>
                <a:lnTo>
                  <a:pt x="181" y="40"/>
                </a:lnTo>
                <a:lnTo>
                  <a:pt x="182" y="37"/>
                </a:lnTo>
                <a:lnTo>
                  <a:pt x="185" y="33"/>
                </a:lnTo>
                <a:lnTo>
                  <a:pt x="185" y="32"/>
                </a:lnTo>
                <a:lnTo>
                  <a:pt x="184" y="30"/>
                </a:lnTo>
                <a:lnTo>
                  <a:pt x="184" y="30"/>
                </a:lnTo>
                <a:lnTo>
                  <a:pt x="181" y="29"/>
                </a:lnTo>
                <a:lnTo>
                  <a:pt x="178" y="30"/>
                </a:lnTo>
                <a:lnTo>
                  <a:pt x="175" y="33"/>
                </a:lnTo>
                <a:lnTo>
                  <a:pt x="174" y="36"/>
                </a:lnTo>
                <a:lnTo>
                  <a:pt x="174" y="36"/>
                </a:lnTo>
                <a:close/>
                <a:moveTo>
                  <a:pt x="189" y="17"/>
                </a:moveTo>
                <a:lnTo>
                  <a:pt x="189" y="17"/>
                </a:lnTo>
                <a:lnTo>
                  <a:pt x="181" y="13"/>
                </a:lnTo>
                <a:lnTo>
                  <a:pt x="181" y="13"/>
                </a:lnTo>
                <a:lnTo>
                  <a:pt x="181" y="15"/>
                </a:lnTo>
                <a:lnTo>
                  <a:pt x="185" y="19"/>
                </a:lnTo>
                <a:lnTo>
                  <a:pt x="185" y="19"/>
                </a:lnTo>
                <a:lnTo>
                  <a:pt x="189" y="25"/>
                </a:lnTo>
                <a:lnTo>
                  <a:pt x="191" y="30"/>
                </a:lnTo>
                <a:lnTo>
                  <a:pt x="192" y="33"/>
                </a:lnTo>
                <a:lnTo>
                  <a:pt x="194" y="34"/>
                </a:lnTo>
                <a:lnTo>
                  <a:pt x="195" y="34"/>
                </a:lnTo>
                <a:lnTo>
                  <a:pt x="195" y="34"/>
                </a:lnTo>
                <a:lnTo>
                  <a:pt x="198" y="33"/>
                </a:lnTo>
                <a:lnTo>
                  <a:pt x="199" y="32"/>
                </a:lnTo>
                <a:lnTo>
                  <a:pt x="199" y="29"/>
                </a:lnTo>
                <a:lnTo>
                  <a:pt x="198" y="27"/>
                </a:lnTo>
                <a:lnTo>
                  <a:pt x="195" y="22"/>
                </a:lnTo>
                <a:lnTo>
                  <a:pt x="189" y="17"/>
                </a:lnTo>
                <a:lnTo>
                  <a:pt x="189" y="17"/>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44" name="Freeform 332">
            <a:extLst>
              <a:ext uri="{FF2B5EF4-FFF2-40B4-BE49-F238E27FC236}">
                <a16:creationId xmlns:a16="http://schemas.microsoft.com/office/drawing/2014/main" id="{AB6A1D22-775E-8CC9-1C1B-4FE5A9F0D60E}"/>
              </a:ext>
            </a:extLst>
          </p:cNvPr>
          <p:cNvSpPr>
            <a:spLocks/>
          </p:cNvSpPr>
          <p:nvPr userDrawn="1"/>
        </p:nvSpPr>
        <p:spPr bwMode="gray">
          <a:xfrm>
            <a:off x="6014264" y="3148272"/>
            <a:ext cx="42917" cy="79332"/>
          </a:xfrm>
          <a:custGeom>
            <a:avLst/>
            <a:gdLst/>
            <a:ahLst/>
            <a:cxnLst>
              <a:cxn ang="0">
                <a:pos x="7" y="0"/>
              </a:cxn>
              <a:cxn ang="0">
                <a:pos x="7" y="0"/>
              </a:cxn>
              <a:cxn ang="0">
                <a:pos x="4" y="1"/>
              </a:cxn>
              <a:cxn ang="0">
                <a:pos x="3" y="4"/>
              </a:cxn>
              <a:cxn ang="0">
                <a:pos x="1" y="14"/>
              </a:cxn>
              <a:cxn ang="0">
                <a:pos x="1" y="14"/>
              </a:cxn>
              <a:cxn ang="0">
                <a:pos x="0" y="20"/>
              </a:cxn>
              <a:cxn ang="0">
                <a:pos x="0" y="24"/>
              </a:cxn>
              <a:cxn ang="0">
                <a:pos x="0" y="35"/>
              </a:cxn>
              <a:cxn ang="0">
                <a:pos x="0" y="35"/>
              </a:cxn>
              <a:cxn ang="0">
                <a:pos x="1" y="50"/>
              </a:cxn>
              <a:cxn ang="0">
                <a:pos x="4" y="55"/>
              </a:cxn>
              <a:cxn ang="0">
                <a:pos x="8" y="60"/>
              </a:cxn>
              <a:cxn ang="0">
                <a:pos x="8" y="60"/>
              </a:cxn>
              <a:cxn ang="0">
                <a:pos x="11" y="61"/>
              </a:cxn>
              <a:cxn ang="0">
                <a:pos x="16" y="61"/>
              </a:cxn>
              <a:cxn ang="0">
                <a:pos x="20" y="58"/>
              </a:cxn>
              <a:cxn ang="0">
                <a:pos x="24" y="55"/>
              </a:cxn>
              <a:cxn ang="0">
                <a:pos x="27" y="51"/>
              </a:cxn>
              <a:cxn ang="0">
                <a:pos x="30" y="47"/>
              </a:cxn>
              <a:cxn ang="0">
                <a:pos x="33" y="41"/>
              </a:cxn>
              <a:cxn ang="0">
                <a:pos x="33" y="37"/>
              </a:cxn>
              <a:cxn ang="0">
                <a:pos x="33" y="37"/>
              </a:cxn>
              <a:cxn ang="0">
                <a:pos x="33" y="31"/>
              </a:cxn>
              <a:cxn ang="0">
                <a:pos x="30" y="25"/>
              </a:cxn>
              <a:cxn ang="0">
                <a:pos x="21" y="13"/>
              </a:cxn>
              <a:cxn ang="0">
                <a:pos x="13" y="3"/>
              </a:cxn>
              <a:cxn ang="0">
                <a:pos x="8" y="0"/>
              </a:cxn>
              <a:cxn ang="0">
                <a:pos x="7" y="0"/>
              </a:cxn>
              <a:cxn ang="0">
                <a:pos x="7" y="0"/>
              </a:cxn>
            </a:cxnLst>
            <a:rect l="0" t="0" r="r" b="b"/>
            <a:pathLst>
              <a:path w="33" h="61">
                <a:moveTo>
                  <a:pt x="7" y="0"/>
                </a:moveTo>
                <a:lnTo>
                  <a:pt x="7" y="0"/>
                </a:lnTo>
                <a:lnTo>
                  <a:pt x="4" y="1"/>
                </a:lnTo>
                <a:lnTo>
                  <a:pt x="3" y="4"/>
                </a:lnTo>
                <a:lnTo>
                  <a:pt x="1" y="14"/>
                </a:lnTo>
                <a:lnTo>
                  <a:pt x="1" y="14"/>
                </a:lnTo>
                <a:lnTo>
                  <a:pt x="0" y="20"/>
                </a:lnTo>
                <a:lnTo>
                  <a:pt x="0" y="24"/>
                </a:lnTo>
                <a:lnTo>
                  <a:pt x="0" y="35"/>
                </a:lnTo>
                <a:lnTo>
                  <a:pt x="0" y="35"/>
                </a:lnTo>
                <a:lnTo>
                  <a:pt x="1" y="50"/>
                </a:lnTo>
                <a:lnTo>
                  <a:pt x="4" y="55"/>
                </a:lnTo>
                <a:lnTo>
                  <a:pt x="8" y="60"/>
                </a:lnTo>
                <a:lnTo>
                  <a:pt x="8" y="60"/>
                </a:lnTo>
                <a:lnTo>
                  <a:pt x="11" y="61"/>
                </a:lnTo>
                <a:lnTo>
                  <a:pt x="16" y="61"/>
                </a:lnTo>
                <a:lnTo>
                  <a:pt x="20" y="58"/>
                </a:lnTo>
                <a:lnTo>
                  <a:pt x="24" y="55"/>
                </a:lnTo>
                <a:lnTo>
                  <a:pt x="27" y="51"/>
                </a:lnTo>
                <a:lnTo>
                  <a:pt x="30" y="47"/>
                </a:lnTo>
                <a:lnTo>
                  <a:pt x="33" y="41"/>
                </a:lnTo>
                <a:lnTo>
                  <a:pt x="33" y="37"/>
                </a:lnTo>
                <a:lnTo>
                  <a:pt x="33" y="37"/>
                </a:lnTo>
                <a:lnTo>
                  <a:pt x="33" y="31"/>
                </a:lnTo>
                <a:lnTo>
                  <a:pt x="30" y="25"/>
                </a:lnTo>
                <a:lnTo>
                  <a:pt x="21" y="13"/>
                </a:lnTo>
                <a:lnTo>
                  <a:pt x="13" y="3"/>
                </a:lnTo>
                <a:lnTo>
                  <a:pt x="8" y="0"/>
                </a:lnTo>
                <a:lnTo>
                  <a:pt x="7" y="0"/>
                </a:lnTo>
                <a:lnTo>
                  <a:pt x="7" y="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45" name="Freeform 333">
            <a:extLst>
              <a:ext uri="{FF2B5EF4-FFF2-40B4-BE49-F238E27FC236}">
                <a16:creationId xmlns:a16="http://schemas.microsoft.com/office/drawing/2014/main" id="{F33AE514-0A90-7382-35EB-1290C5865041}"/>
              </a:ext>
            </a:extLst>
          </p:cNvPr>
          <p:cNvSpPr>
            <a:spLocks/>
          </p:cNvSpPr>
          <p:nvPr userDrawn="1"/>
        </p:nvSpPr>
        <p:spPr bwMode="gray">
          <a:xfrm>
            <a:off x="5240460" y="3599549"/>
            <a:ext cx="149559" cy="295216"/>
          </a:xfrm>
          <a:custGeom>
            <a:avLst/>
            <a:gdLst/>
            <a:ahLst/>
            <a:cxnLst>
              <a:cxn ang="0">
                <a:pos x="98" y="3"/>
              </a:cxn>
              <a:cxn ang="0">
                <a:pos x="94" y="1"/>
              </a:cxn>
              <a:cxn ang="0">
                <a:pos x="93" y="7"/>
              </a:cxn>
              <a:cxn ang="0">
                <a:pos x="90" y="18"/>
              </a:cxn>
              <a:cxn ang="0">
                <a:pos x="88" y="21"/>
              </a:cxn>
              <a:cxn ang="0">
                <a:pos x="83" y="25"/>
              </a:cxn>
              <a:cxn ang="0">
                <a:pos x="80" y="25"/>
              </a:cxn>
              <a:cxn ang="0">
                <a:pos x="74" y="27"/>
              </a:cxn>
              <a:cxn ang="0">
                <a:pos x="73" y="33"/>
              </a:cxn>
              <a:cxn ang="0">
                <a:pos x="73" y="35"/>
              </a:cxn>
              <a:cxn ang="0">
                <a:pos x="71" y="38"/>
              </a:cxn>
              <a:cxn ang="0">
                <a:pos x="71" y="41"/>
              </a:cxn>
              <a:cxn ang="0">
                <a:pos x="69" y="47"/>
              </a:cxn>
              <a:cxn ang="0">
                <a:pos x="60" y="51"/>
              </a:cxn>
              <a:cxn ang="0">
                <a:pos x="54" y="52"/>
              </a:cxn>
              <a:cxn ang="0">
                <a:pos x="43" y="61"/>
              </a:cxn>
              <a:cxn ang="0">
                <a:pos x="37" y="62"/>
              </a:cxn>
              <a:cxn ang="0">
                <a:pos x="32" y="62"/>
              </a:cxn>
              <a:cxn ang="0">
                <a:pos x="22" y="65"/>
              </a:cxn>
              <a:cxn ang="0">
                <a:pos x="17" y="67"/>
              </a:cxn>
              <a:cxn ang="0">
                <a:pos x="14" y="68"/>
              </a:cxn>
              <a:cxn ang="0">
                <a:pos x="13" y="81"/>
              </a:cxn>
              <a:cxn ang="0">
                <a:pos x="10" y="88"/>
              </a:cxn>
              <a:cxn ang="0">
                <a:pos x="7" y="101"/>
              </a:cxn>
              <a:cxn ang="0">
                <a:pos x="13" y="117"/>
              </a:cxn>
              <a:cxn ang="0">
                <a:pos x="14" y="124"/>
              </a:cxn>
              <a:cxn ang="0">
                <a:pos x="16" y="135"/>
              </a:cxn>
              <a:cxn ang="0">
                <a:pos x="9" y="149"/>
              </a:cxn>
              <a:cxn ang="0">
                <a:pos x="5" y="155"/>
              </a:cxn>
              <a:cxn ang="0">
                <a:pos x="0" y="171"/>
              </a:cxn>
              <a:cxn ang="0">
                <a:pos x="3" y="188"/>
              </a:cxn>
              <a:cxn ang="0">
                <a:pos x="5" y="195"/>
              </a:cxn>
              <a:cxn ang="0">
                <a:pos x="9" y="212"/>
              </a:cxn>
              <a:cxn ang="0">
                <a:pos x="13" y="218"/>
              </a:cxn>
              <a:cxn ang="0">
                <a:pos x="27" y="226"/>
              </a:cxn>
              <a:cxn ang="0">
                <a:pos x="39" y="226"/>
              </a:cxn>
              <a:cxn ang="0">
                <a:pos x="42" y="225"/>
              </a:cxn>
              <a:cxn ang="0">
                <a:pos x="49" y="223"/>
              </a:cxn>
              <a:cxn ang="0">
                <a:pos x="59" y="219"/>
              </a:cxn>
              <a:cxn ang="0">
                <a:pos x="63" y="209"/>
              </a:cxn>
              <a:cxn ang="0">
                <a:pos x="81" y="152"/>
              </a:cxn>
              <a:cxn ang="0">
                <a:pos x="93" y="114"/>
              </a:cxn>
              <a:cxn ang="0">
                <a:pos x="98" y="89"/>
              </a:cxn>
              <a:cxn ang="0">
                <a:pos x="98" y="84"/>
              </a:cxn>
              <a:cxn ang="0">
                <a:pos x="103" y="75"/>
              </a:cxn>
              <a:cxn ang="0">
                <a:pos x="101" y="71"/>
              </a:cxn>
              <a:cxn ang="0">
                <a:pos x="101" y="61"/>
              </a:cxn>
              <a:cxn ang="0">
                <a:pos x="104" y="60"/>
              </a:cxn>
              <a:cxn ang="0">
                <a:pos x="106" y="61"/>
              </a:cxn>
              <a:cxn ang="0">
                <a:pos x="111" y="65"/>
              </a:cxn>
              <a:cxn ang="0">
                <a:pos x="115" y="60"/>
              </a:cxn>
              <a:cxn ang="0">
                <a:pos x="115" y="52"/>
              </a:cxn>
              <a:cxn ang="0">
                <a:pos x="110" y="37"/>
              </a:cxn>
              <a:cxn ang="0">
                <a:pos x="110" y="28"/>
              </a:cxn>
              <a:cxn ang="0">
                <a:pos x="104" y="13"/>
              </a:cxn>
              <a:cxn ang="0">
                <a:pos x="98" y="3"/>
              </a:cxn>
            </a:cxnLst>
            <a:rect l="0" t="0" r="r" b="b"/>
            <a:pathLst>
              <a:path w="115" h="227">
                <a:moveTo>
                  <a:pt x="98" y="3"/>
                </a:moveTo>
                <a:lnTo>
                  <a:pt x="98" y="3"/>
                </a:lnTo>
                <a:lnTo>
                  <a:pt x="96" y="0"/>
                </a:lnTo>
                <a:lnTo>
                  <a:pt x="94" y="1"/>
                </a:lnTo>
                <a:lnTo>
                  <a:pt x="93" y="7"/>
                </a:lnTo>
                <a:lnTo>
                  <a:pt x="93" y="7"/>
                </a:lnTo>
                <a:lnTo>
                  <a:pt x="90" y="11"/>
                </a:lnTo>
                <a:lnTo>
                  <a:pt x="90" y="18"/>
                </a:lnTo>
                <a:lnTo>
                  <a:pt x="90" y="18"/>
                </a:lnTo>
                <a:lnTo>
                  <a:pt x="88" y="21"/>
                </a:lnTo>
                <a:lnTo>
                  <a:pt x="87" y="24"/>
                </a:lnTo>
                <a:lnTo>
                  <a:pt x="83" y="25"/>
                </a:lnTo>
                <a:lnTo>
                  <a:pt x="80" y="25"/>
                </a:lnTo>
                <a:lnTo>
                  <a:pt x="80" y="25"/>
                </a:lnTo>
                <a:lnTo>
                  <a:pt x="77" y="25"/>
                </a:lnTo>
                <a:lnTo>
                  <a:pt x="74" y="27"/>
                </a:lnTo>
                <a:lnTo>
                  <a:pt x="71" y="30"/>
                </a:lnTo>
                <a:lnTo>
                  <a:pt x="73" y="33"/>
                </a:lnTo>
                <a:lnTo>
                  <a:pt x="73" y="33"/>
                </a:lnTo>
                <a:lnTo>
                  <a:pt x="73" y="35"/>
                </a:lnTo>
                <a:lnTo>
                  <a:pt x="71" y="37"/>
                </a:lnTo>
                <a:lnTo>
                  <a:pt x="71" y="38"/>
                </a:lnTo>
                <a:lnTo>
                  <a:pt x="71" y="41"/>
                </a:lnTo>
                <a:lnTo>
                  <a:pt x="71" y="41"/>
                </a:lnTo>
                <a:lnTo>
                  <a:pt x="71" y="44"/>
                </a:lnTo>
                <a:lnTo>
                  <a:pt x="69" y="47"/>
                </a:lnTo>
                <a:lnTo>
                  <a:pt x="64" y="50"/>
                </a:lnTo>
                <a:lnTo>
                  <a:pt x="60" y="51"/>
                </a:lnTo>
                <a:lnTo>
                  <a:pt x="60" y="51"/>
                </a:lnTo>
                <a:lnTo>
                  <a:pt x="54" y="52"/>
                </a:lnTo>
                <a:lnTo>
                  <a:pt x="49" y="57"/>
                </a:lnTo>
                <a:lnTo>
                  <a:pt x="43" y="61"/>
                </a:lnTo>
                <a:lnTo>
                  <a:pt x="40" y="62"/>
                </a:lnTo>
                <a:lnTo>
                  <a:pt x="37" y="62"/>
                </a:lnTo>
                <a:lnTo>
                  <a:pt x="37" y="62"/>
                </a:lnTo>
                <a:lnTo>
                  <a:pt x="32" y="62"/>
                </a:lnTo>
                <a:lnTo>
                  <a:pt x="27" y="64"/>
                </a:lnTo>
                <a:lnTo>
                  <a:pt x="22" y="65"/>
                </a:lnTo>
                <a:lnTo>
                  <a:pt x="17" y="67"/>
                </a:lnTo>
                <a:lnTo>
                  <a:pt x="17" y="67"/>
                </a:lnTo>
                <a:lnTo>
                  <a:pt x="16" y="67"/>
                </a:lnTo>
                <a:lnTo>
                  <a:pt x="14" y="68"/>
                </a:lnTo>
                <a:lnTo>
                  <a:pt x="13" y="74"/>
                </a:lnTo>
                <a:lnTo>
                  <a:pt x="13" y="81"/>
                </a:lnTo>
                <a:lnTo>
                  <a:pt x="10" y="88"/>
                </a:lnTo>
                <a:lnTo>
                  <a:pt x="10" y="88"/>
                </a:lnTo>
                <a:lnTo>
                  <a:pt x="9" y="94"/>
                </a:lnTo>
                <a:lnTo>
                  <a:pt x="7" y="101"/>
                </a:lnTo>
                <a:lnTo>
                  <a:pt x="10" y="108"/>
                </a:lnTo>
                <a:lnTo>
                  <a:pt x="13" y="117"/>
                </a:lnTo>
                <a:lnTo>
                  <a:pt x="13" y="117"/>
                </a:lnTo>
                <a:lnTo>
                  <a:pt x="14" y="124"/>
                </a:lnTo>
                <a:lnTo>
                  <a:pt x="16" y="132"/>
                </a:lnTo>
                <a:lnTo>
                  <a:pt x="16" y="135"/>
                </a:lnTo>
                <a:lnTo>
                  <a:pt x="14" y="139"/>
                </a:lnTo>
                <a:lnTo>
                  <a:pt x="9" y="149"/>
                </a:lnTo>
                <a:lnTo>
                  <a:pt x="9" y="149"/>
                </a:lnTo>
                <a:lnTo>
                  <a:pt x="5" y="155"/>
                </a:lnTo>
                <a:lnTo>
                  <a:pt x="2" y="159"/>
                </a:lnTo>
                <a:lnTo>
                  <a:pt x="0" y="171"/>
                </a:lnTo>
                <a:lnTo>
                  <a:pt x="0" y="179"/>
                </a:lnTo>
                <a:lnTo>
                  <a:pt x="3" y="188"/>
                </a:lnTo>
                <a:lnTo>
                  <a:pt x="3" y="188"/>
                </a:lnTo>
                <a:lnTo>
                  <a:pt x="5" y="195"/>
                </a:lnTo>
                <a:lnTo>
                  <a:pt x="7" y="203"/>
                </a:lnTo>
                <a:lnTo>
                  <a:pt x="9" y="212"/>
                </a:lnTo>
                <a:lnTo>
                  <a:pt x="13" y="218"/>
                </a:lnTo>
                <a:lnTo>
                  <a:pt x="13" y="218"/>
                </a:lnTo>
                <a:lnTo>
                  <a:pt x="19" y="223"/>
                </a:lnTo>
                <a:lnTo>
                  <a:pt x="27" y="226"/>
                </a:lnTo>
                <a:lnTo>
                  <a:pt x="36" y="227"/>
                </a:lnTo>
                <a:lnTo>
                  <a:pt x="39" y="226"/>
                </a:lnTo>
                <a:lnTo>
                  <a:pt x="42" y="225"/>
                </a:lnTo>
                <a:lnTo>
                  <a:pt x="42" y="225"/>
                </a:lnTo>
                <a:lnTo>
                  <a:pt x="46" y="223"/>
                </a:lnTo>
                <a:lnTo>
                  <a:pt x="49" y="223"/>
                </a:lnTo>
                <a:lnTo>
                  <a:pt x="53" y="222"/>
                </a:lnTo>
                <a:lnTo>
                  <a:pt x="59" y="219"/>
                </a:lnTo>
                <a:lnTo>
                  <a:pt x="59" y="219"/>
                </a:lnTo>
                <a:lnTo>
                  <a:pt x="63" y="209"/>
                </a:lnTo>
                <a:lnTo>
                  <a:pt x="69" y="192"/>
                </a:lnTo>
                <a:lnTo>
                  <a:pt x="81" y="152"/>
                </a:lnTo>
                <a:lnTo>
                  <a:pt x="81" y="152"/>
                </a:lnTo>
                <a:lnTo>
                  <a:pt x="93" y="114"/>
                </a:lnTo>
                <a:lnTo>
                  <a:pt x="97" y="98"/>
                </a:lnTo>
                <a:lnTo>
                  <a:pt x="98" y="89"/>
                </a:lnTo>
                <a:lnTo>
                  <a:pt x="98" y="89"/>
                </a:lnTo>
                <a:lnTo>
                  <a:pt x="98" y="84"/>
                </a:lnTo>
                <a:lnTo>
                  <a:pt x="101" y="80"/>
                </a:lnTo>
                <a:lnTo>
                  <a:pt x="103" y="75"/>
                </a:lnTo>
                <a:lnTo>
                  <a:pt x="101" y="71"/>
                </a:lnTo>
                <a:lnTo>
                  <a:pt x="101" y="71"/>
                </a:lnTo>
                <a:lnTo>
                  <a:pt x="100" y="65"/>
                </a:lnTo>
                <a:lnTo>
                  <a:pt x="101" y="61"/>
                </a:lnTo>
                <a:lnTo>
                  <a:pt x="103" y="60"/>
                </a:lnTo>
                <a:lnTo>
                  <a:pt x="104" y="60"/>
                </a:lnTo>
                <a:lnTo>
                  <a:pt x="106" y="61"/>
                </a:lnTo>
                <a:lnTo>
                  <a:pt x="106" y="61"/>
                </a:lnTo>
                <a:lnTo>
                  <a:pt x="108" y="64"/>
                </a:lnTo>
                <a:lnTo>
                  <a:pt x="111" y="65"/>
                </a:lnTo>
                <a:lnTo>
                  <a:pt x="114" y="64"/>
                </a:lnTo>
                <a:lnTo>
                  <a:pt x="115" y="60"/>
                </a:lnTo>
                <a:lnTo>
                  <a:pt x="115" y="60"/>
                </a:lnTo>
                <a:lnTo>
                  <a:pt x="115" y="52"/>
                </a:lnTo>
                <a:lnTo>
                  <a:pt x="113" y="45"/>
                </a:lnTo>
                <a:lnTo>
                  <a:pt x="110" y="37"/>
                </a:lnTo>
                <a:lnTo>
                  <a:pt x="110" y="28"/>
                </a:lnTo>
                <a:lnTo>
                  <a:pt x="110" y="28"/>
                </a:lnTo>
                <a:lnTo>
                  <a:pt x="107" y="21"/>
                </a:lnTo>
                <a:lnTo>
                  <a:pt x="104" y="13"/>
                </a:lnTo>
                <a:lnTo>
                  <a:pt x="100" y="7"/>
                </a:lnTo>
                <a:lnTo>
                  <a:pt x="98" y="3"/>
                </a:lnTo>
                <a:lnTo>
                  <a:pt x="98" y="3"/>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46" name="Freeform 334">
            <a:extLst>
              <a:ext uri="{FF2B5EF4-FFF2-40B4-BE49-F238E27FC236}">
                <a16:creationId xmlns:a16="http://schemas.microsoft.com/office/drawing/2014/main" id="{78867E0E-9197-82A0-196B-C7A6A6DDBA5B}"/>
              </a:ext>
            </a:extLst>
          </p:cNvPr>
          <p:cNvSpPr>
            <a:spLocks/>
          </p:cNvSpPr>
          <p:nvPr userDrawn="1"/>
        </p:nvSpPr>
        <p:spPr bwMode="gray">
          <a:xfrm>
            <a:off x="5231357" y="2942792"/>
            <a:ext cx="222387" cy="135253"/>
          </a:xfrm>
          <a:custGeom>
            <a:avLst/>
            <a:gdLst/>
            <a:ahLst/>
            <a:cxnLst>
              <a:cxn ang="0">
                <a:pos x="135" y="4"/>
              </a:cxn>
              <a:cxn ang="0">
                <a:pos x="117" y="6"/>
              </a:cxn>
              <a:cxn ang="0">
                <a:pos x="104" y="7"/>
              </a:cxn>
              <a:cxn ang="0">
                <a:pos x="91" y="15"/>
              </a:cxn>
              <a:cxn ang="0">
                <a:pos x="78" y="28"/>
              </a:cxn>
              <a:cxn ang="0">
                <a:pos x="77" y="33"/>
              </a:cxn>
              <a:cxn ang="0">
                <a:pos x="71" y="34"/>
              </a:cxn>
              <a:cxn ang="0">
                <a:pos x="68" y="33"/>
              </a:cxn>
              <a:cxn ang="0">
                <a:pos x="56" y="30"/>
              </a:cxn>
              <a:cxn ang="0">
                <a:pos x="46" y="28"/>
              </a:cxn>
              <a:cxn ang="0">
                <a:pos x="37" y="27"/>
              </a:cxn>
              <a:cxn ang="0">
                <a:pos x="26" y="27"/>
              </a:cxn>
              <a:cxn ang="0">
                <a:pos x="19" y="25"/>
              </a:cxn>
              <a:cxn ang="0">
                <a:pos x="14" y="25"/>
              </a:cxn>
              <a:cxn ang="0">
                <a:pos x="10" y="27"/>
              </a:cxn>
              <a:cxn ang="0">
                <a:pos x="7" y="31"/>
              </a:cxn>
              <a:cxn ang="0">
                <a:pos x="7" y="35"/>
              </a:cxn>
              <a:cxn ang="0">
                <a:pos x="7" y="40"/>
              </a:cxn>
              <a:cxn ang="0">
                <a:pos x="0" y="44"/>
              </a:cxn>
              <a:cxn ang="0">
                <a:pos x="2" y="54"/>
              </a:cxn>
              <a:cxn ang="0">
                <a:pos x="0" y="58"/>
              </a:cxn>
              <a:cxn ang="0">
                <a:pos x="3" y="72"/>
              </a:cxn>
              <a:cxn ang="0">
                <a:pos x="6" y="80"/>
              </a:cxn>
              <a:cxn ang="0">
                <a:pos x="10" y="92"/>
              </a:cxn>
              <a:cxn ang="0">
                <a:pos x="12" y="102"/>
              </a:cxn>
              <a:cxn ang="0">
                <a:pos x="16" y="104"/>
              </a:cxn>
              <a:cxn ang="0">
                <a:pos x="33" y="102"/>
              </a:cxn>
              <a:cxn ang="0">
                <a:pos x="41" y="99"/>
              </a:cxn>
              <a:cxn ang="0">
                <a:pos x="51" y="94"/>
              </a:cxn>
              <a:cxn ang="0">
                <a:pos x="61" y="92"/>
              </a:cxn>
              <a:cxn ang="0">
                <a:pos x="71" y="89"/>
              </a:cxn>
              <a:cxn ang="0">
                <a:pos x="78" y="84"/>
              </a:cxn>
              <a:cxn ang="0">
                <a:pos x="86" y="82"/>
              </a:cxn>
              <a:cxn ang="0">
                <a:pos x="95" y="82"/>
              </a:cxn>
              <a:cxn ang="0">
                <a:pos x="101" y="80"/>
              </a:cxn>
              <a:cxn ang="0">
                <a:pos x="107" y="74"/>
              </a:cxn>
              <a:cxn ang="0">
                <a:pos x="120" y="68"/>
              </a:cxn>
              <a:cxn ang="0">
                <a:pos x="141" y="62"/>
              </a:cxn>
              <a:cxn ang="0">
                <a:pos x="154" y="54"/>
              </a:cxn>
              <a:cxn ang="0">
                <a:pos x="157" y="45"/>
              </a:cxn>
              <a:cxn ang="0">
                <a:pos x="159" y="44"/>
              </a:cxn>
              <a:cxn ang="0">
                <a:pos x="171" y="41"/>
              </a:cxn>
              <a:cxn ang="0">
                <a:pos x="151" y="0"/>
              </a:cxn>
              <a:cxn ang="0">
                <a:pos x="135" y="4"/>
              </a:cxn>
            </a:cxnLst>
            <a:rect l="0" t="0" r="r" b="b"/>
            <a:pathLst>
              <a:path w="171" h="104">
                <a:moveTo>
                  <a:pt x="135" y="4"/>
                </a:moveTo>
                <a:lnTo>
                  <a:pt x="135" y="4"/>
                </a:lnTo>
                <a:lnTo>
                  <a:pt x="127" y="6"/>
                </a:lnTo>
                <a:lnTo>
                  <a:pt x="117" y="6"/>
                </a:lnTo>
                <a:lnTo>
                  <a:pt x="108" y="6"/>
                </a:lnTo>
                <a:lnTo>
                  <a:pt x="104" y="7"/>
                </a:lnTo>
                <a:lnTo>
                  <a:pt x="104" y="7"/>
                </a:lnTo>
                <a:lnTo>
                  <a:pt x="91" y="15"/>
                </a:lnTo>
                <a:lnTo>
                  <a:pt x="84" y="23"/>
                </a:lnTo>
                <a:lnTo>
                  <a:pt x="78" y="28"/>
                </a:lnTo>
                <a:lnTo>
                  <a:pt x="78" y="28"/>
                </a:lnTo>
                <a:lnTo>
                  <a:pt x="77" y="33"/>
                </a:lnTo>
                <a:lnTo>
                  <a:pt x="74" y="34"/>
                </a:lnTo>
                <a:lnTo>
                  <a:pt x="71" y="34"/>
                </a:lnTo>
                <a:lnTo>
                  <a:pt x="68" y="33"/>
                </a:lnTo>
                <a:lnTo>
                  <a:pt x="68" y="33"/>
                </a:lnTo>
                <a:lnTo>
                  <a:pt x="63" y="31"/>
                </a:lnTo>
                <a:lnTo>
                  <a:pt x="56" y="30"/>
                </a:lnTo>
                <a:lnTo>
                  <a:pt x="49" y="30"/>
                </a:lnTo>
                <a:lnTo>
                  <a:pt x="46" y="28"/>
                </a:lnTo>
                <a:lnTo>
                  <a:pt x="46" y="28"/>
                </a:lnTo>
                <a:lnTo>
                  <a:pt x="37" y="27"/>
                </a:lnTo>
                <a:lnTo>
                  <a:pt x="26" y="27"/>
                </a:lnTo>
                <a:lnTo>
                  <a:pt x="26" y="27"/>
                </a:lnTo>
                <a:lnTo>
                  <a:pt x="21" y="27"/>
                </a:lnTo>
                <a:lnTo>
                  <a:pt x="19" y="25"/>
                </a:lnTo>
                <a:lnTo>
                  <a:pt x="16" y="25"/>
                </a:lnTo>
                <a:lnTo>
                  <a:pt x="14" y="25"/>
                </a:lnTo>
                <a:lnTo>
                  <a:pt x="14" y="25"/>
                </a:lnTo>
                <a:lnTo>
                  <a:pt x="10" y="27"/>
                </a:lnTo>
                <a:lnTo>
                  <a:pt x="7" y="31"/>
                </a:lnTo>
                <a:lnTo>
                  <a:pt x="7" y="31"/>
                </a:lnTo>
                <a:lnTo>
                  <a:pt x="7" y="33"/>
                </a:lnTo>
                <a:lnTo>
                  <a:pt x="7" y="35"/>
                </a:lnTo>
                <a:lnTo>
                  <a:pt x="7" y="40"/>
                </a:lnTo>
                <a:lnTo>
                  <a:pt x="7" y="40"/>
                </a:lnTo>
                <a:lnTo>
                  <a:pt x="0" y="44"/>
                </a:lnTo>
                <a:lnTo>
                  <a:pt x="0" y="44"/>
                </a:lnTo>
                <a:lnTo>
                  <a:pt x="2" y="50"/>
                </a:lnTo>
                <a:lnTo>
                  <a:pt x="2" y="54"/>
                </a:lnTo>
                <a:lnTo>
                  <a:pt x="2" y="54"/>
                </a:lnTo>
                <a:lnTo>
                  <a:pt x="0" y="58"/>
                </a:lnTo>
                <a:lnTo>
                  <a:pt x="2" y="65"/>
                </a:lnTo>
                <a:lnTo>
                  <a:pt x="3" y="72"/>
                </a:lnTo>
                <a:lnTo>
                  <a:pt x="6" y="80"/>
                </a:lnTo>
                <a:lnTo>
                  <a:pt x="6" y="80"/>
                </a:lnTo>
                <a:lnTo>
                  <a:pt x="9" y="85"/>
                </a:lnTo>
                <a:lnTo>
                  <a:pt x="10" y="92"/>
                </a:lnTo>
                <a:lnTo>
                  <a:pt x="10" y="99"/>
                </a:lnTo>
                <a:lnTo>
                  <a:pt x="12" y="102"/>
                </a:lnTo>
                <a:lnTo>
                  <a:pt x="12" y="102"/>
                </a:lnTo>
                <a:lnTo>
                  <a:pt x="16" y="104"/>
                </a:lnTo>
                <a:lnTo>
                  <a:pt x="24" y="104"/>
                </a:lnTo>
                <a:lnTo>
                  <a:pt x="33" y="102"/>
                </a:lnTo>
                <a:lnTo>
                  <a:pt x="41" y="99"/>
                </a:lnTo>
                <a:lnTo>
                  <a:pt x="41" y="99"/>
                </a:lnTo>
                <a:lnTo>
                  <a:pt x="47" y="97"/>
                </a:lnTo>
                <a:lnTo>
                  <a:pt x="51" y="94"/>
                </a:lnTo>
                <a:lnTo>
                  <a:pt x="61" y="92"/>
                </a:lnTo>
                <a:lnTo>
                  <a:pt x="61" y="92"/>
                </a:lnTo>
                <a:lnTo>
                  <a:pt x="67" y="92"/>
                </a:lnTo>
                <a:lnTo>
                  <a:pt x="71" y="89"/>
                </a:lnTo>
                <a:lnTo>
                  <a:pt x="78" y="84"/>
                </a:lnTo>
                <a:lnTo>
                  <a:pt x="78" y="84"/>
                </a:lnTo>
                <a:lnTo>
                  <a:pt x="81" y="82"/>
                </a:lnTo>
                <a:lnTo>
                  <a:pt x="86" y="82"/>
                </a:lnTo>
                <a:lnTo>
                  <a:pt x="95" y="82"/>
                </a:lnTo>
                <a:lnTo>
                  <a:pt x="95" y="82"/>
                </a:lnTo>
                <a:lnTo>
                  <a:pt x="98" y="81"/>
                </a:lnTo>
                <a:lnTo>
                  <a:pt x="101" y="80"/>
                </a:lnTo>
                <a:lnTo>
                  <a:pt x="107" y="74"/>
                </a:lnTo>
                <a:lnTo>
                  <a:pt x="107" y="74"/>
                </a:lnTo>
                <a:lnTo>
                  <a:pt x="113" y="70"/>
                </a:lnTo>
                <a:lnTo>
                  <a:pt x="120" y="68"/>
                </a:lnTo>
                <a:lnTo>
                  <a:pt x="141" y="62"/>
                </a:lnTo>
                <a:lnTo>
                  <a:pt x="141" y="62"/>
                </a:lnTo>
                <a:lnTo>
                  <a:pt x="150" y="58"/>
                </a:lnTo>
                <a:lnTo>
                  <a:pt x="154" y="54"/>
                </a:lnTo>
                <a:lnTo>
                  <a:pt x="155" y="50"/>
                </a:lnTo>
                <a:lnTo>
                  <a:pt x="157" y="45"/>
                </a:lnTo>
                <a:lnTo>
                  <a:pt x="157" y="45"/>
                </a:lnTo>
                <a:lnTo>
                  <a:pt x="159" y="44"/>
                </a:lnTo>
                <a:lnTo>
                  <a:pt x="162" y="43"/>
                </a:lnTo>
                <a:lnTo>
                  <a:pt x="171" y="41"/>
                </a:lnTo>
                <a:lnTo>
                  <a:pt x="171" y="41"/>
                </a:lnTo>
                <a:lnTo>
                  <a:pt x="151" y="0"/>
                </a:lnTo>
                <a:lnTo>
                  <a:pt x="151" y="0"/>
                </a:lnTo>
                <a:lnTo>
                  <a:pt x="135" y="4"/>
                </a:lnTo>
                <a:lnTo>
                  <a:pt x="135" y="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47" name="Freeform 335">
            <a:extLst>
              <a:ext uri="{FF2B5EF4-FFF2-40B4-BE49-F238E27FC236}">
                <a16:creationId xmlns:a16="http://schemas.microsoft.com/office/drawing/2014/main" id="{F3491C15-40BF-2230-2409-8AE12316EF89}"/>
              </a:ext>
            </a:extLst>
          </p:cNvPr>
          <p:cNvSpPr>
            <a:spLocks noEditPoints="1"/>
          </p:cNvSpPr>
          <p:nvPr userDrawn="1"/>
        </p:nvSpPr>
        <p:spPr bwMode="gray">
          <a:xfrm>
            <a:off x="7563169" y="3469498"/>
            <a:ext cx="162564" cy="113145"/>
          </a:xfrm>
          <a:custGeom>
            <a:avLst/>
            <a:gdLst/>
            <a:ahLst/>
            <a:cxnLst>
              <a:cxn ang="0">
                <a:pos x="0" y="0"/>
              </a:cxn>
              <a:cxn ang="0">
                <a:pos x="7" y="15"/>
              </a:cxn>
              <a:cxn ang="0">
                <a:pos x="17" y="23"/>
              </a:cxn>
              <a:cxn ang="0">
                <a:pos x="20" y="23"/>
              </a:cxn>
              <a:cxn ang="0">
                <a:pos x="21" y="20"/>
              </a:cxn>
              <a:cxn ang="0">
                <a:pos x="17" y="12"/>
              </a:cxn>
              <a:cxn ang="0">
                <a:pos x="4" y="2"/>
              </a:cxn>
              <a:cxn ang="0">
                <a:pos x="0" y="0"/>
              </a:cxn>
              <a:cxn ang="0">
                <a:pos x="29" y="20"/>
              </a:cxn>
              <a:cxn ang="0">
                <a:pos x="31" y="23"/>
              </a:cxn>
              <a:cxn ang="0">
                <a:pos x="39" y="30"/>
              </a:cxn>
              <a:cxn ang="0">
                <a:pos x="42" y="32"/>
              </a:cxn>
              <a:cxn ang="0">
                <a:pos x="42" y="30"/>
              </a:cxn>
              <a:cxn ang="0">
                <a:pos x="37" y="23"/>
              </a:cxn>
              <a:cxn ang="0">
                <a:pos x="29" y="20"/>
              </a:cxn>
              <a:cxn ang="0">
                <a:pos x="29" y="20"/>
              </a:cxn>
              <a:cxn ang="0">
                <a:pos x="82" y="49"/>
              </a:cxn>
              <a:cxn ang="0">
                <a:pos x="81" y="44"/>
              </a:cxn>
              <a:cxn ang="0">
                <a:pos x="65" y="36"/>
              </a:cxn>
              <a:cxn ang="0">
                <a:pos x="61" y="36"/>
              </a:cxn>
              <a:cxn ang="0">
                <a:pos x="61" y="39"/>
              </a:cxn>
              <a:cxn ang="0">
                <a:pos x="69" y="44"/>
              </a:cxn>
              <a:cxn ang="0">
                <a:pos x="81" y="49"/>
              </a:cxn>
              <a:cxn ang="0">
                <a:pos x="82" y="49"/>
              </a:cxn>
              <a:cxn ang="0">
                <a:pos x="79" y="64"/>
              </a:cxn>
              <a:cxn ang="0">
                <a:pos x="86" y="71"/>
              </a:cxn>
              <a:cxn ang="0">
                <a:pos x="96" y="73"/>
              </a:cxn>
              <a:cxn ang="0">
                <a:pos x="96" y="71"/>
              </a:cxn>
              <a:cxn ang="0">
                <a:pos x="89" y="64"/>
              </a:cxn>
              <a:cxn ang="0">
                <a:pos x="81" y="61"/>
              </a:cxn>
              <a:cxn ang="0">
                <a:pos x="79" y="64"/>
              </a:cxn>
              <a:cxn ang="0">
                <a:pos x="109" y="80"/>
              </a:cxn>
              <a:cxn ang="0">
                <a:pos x="115" y="84"/>
              </a:cxn>
              <a:cxn ang="0">
                <a:pos x="122" y="87"/>
              </a:cxn>
              <a:cxn ang="0">
                <a:pos x="123" y="87"/>
              </a:cxn>
              <a:cxn ang="0">
                <a:pos x="123" y="84"/>
              </a:cxn>
              <a:cxn ang="0">
                <a:pos x="112" y="79"/>
              </a:cxn>
              <a:cxn ang="0">
                <a:pos x="109" y="80"/>
              </a:cxn>
              <a:cxn ang="0">
                <a:pos x="96" y="47"/>
              </a:cxn>
              <a:cxn ang="0">
                <a:pos x="96" y="51"/>
              </a:cxn>
              <a:cxn ang="0">
                <a:pos x="101" y="61"/>
              </a:cxn>
              <a:cxn ang="0">
                <a:pos x="109" y="70"/>
              </a:cxn>
              <a:cxn ang="0">
                <a:pos x="109" y="66"/>
              </a:cxn>
              <a:cxn ang="0">
                <a:pos x="101" y="49"/>
              </a:cxn>
              <a:cxn ang="0">
                <a:pos x="96" y="47"/>
              </a:cxn>
            </a:cxnLst>
            <a:rect l="0" t="0" r="r" b="b"/>
            <a:pathLst>
              <a:path w="125" h="87">
                <a:moveTo>
                  <a:pt x="0" y="0"/>
                </a:moveTo>
                <a:lnTo>
                  <a:pt x="0" y="0"/>
                </a:lnTo>
                <a:lnTo>
                  <a:pt x="1" y="6"/>
                </a:lnTo>
                <a:lnTo>
                  <a:pt x="7" y="15"/>
                </a:lnTo>
                <a:lnTo>
                  <a:pt x="14" y="22"/>
                </a:lnTo>
                <a:lnTo>
                  <a:pt x="17" y="23"/>
                </a:lnTo>
                <a:lnTo>
                  <a:pt x="20" y="23"/>
                </a:lnTo>
                <a:lnTo>
                  <a:pt x="20" y="23"/>
                </a:lnTo>
                <a:lnTo>
                  <a:pt x="21" y="22"/>
                </a:lnTo>
                <a:lnTo>
                  <a:pt x="21" y="20"/>
                </a:lnTo>
                <a:lnTo>
                  <a:pt x="21" y="16"/>
                </a:lnTo>
                <a:lnTo>
                  <a:pt x="17" y="12"/>
                </a:lnTo>
                <a:lnTo>
                  <a:pt x="14" y="7"/>
                </a:lnTo>
                <a:lnTo>
                  <a:pt x="4" y="2"/>
                </a:lnTo>
                <a:lnTo>
                  <a:pt x="1" y="0"/>
                </a:lnTo>
                <a:lnTo>
                  <a:pt x="0" y="0"/>
                </a:lnTo>
                <a:lnTo>
                  <a:pt x="0" y="0"/>
                </a:lnTo>
                <a:close/>
                <a:moveTo>
                  <a:pt x="29" y="20"/>
                </a:moveTo>
                <a:lnTo>
                  <a:pt x="29" y="20"/>
                </a:lnTo>
                <a:lnTo>
                  <a:pt x="31" y="23"/>
                </a:lnTo>
                <a:lnTo>
                  <a:pt x="35" y="27"/>
                </a:lnTo>
                <a:lnTo>
                  <a:pt x="39" y="30"/>
                </a:lnTo>
                <a:lnTo>
                  <a:pt x="41" y="32"/>
                </a:lnTo>
                <a:lnTo>
                  <a:pt x="42" y="32"/>
                </a:lnTo>
                <a:lnTo>
                  <a:pt x="42" y="32"/>
                </a:lnTo>
                <a:lnTo>
                  <a:pt x="42" y="30"/>
                </a:lnTo>
                <a:lnTo>
                  <a:pt x="42" y="29"/>
                </a:lnTo>
                <a:lnTo>
                  <a:pt x="37" y="23"/>
                </a:lnTo>
                <a:lnTo>
                  <a:pt x="32" y="20"/>
                </a:lnTo>
                <a:lnTo>
                  <a:pt x="29" y="20"/>
                </a:lnTo>
                <a:lnTo>
                  <a:pt x="29" y="20"/>
                </a:lnTo>
                <a:lnTo>
                  <a:pt x="29" y="20"/>
                </a:lnTo>
                <a:close/>
                <a:moveTo>
                  <a:pt x="82" y="49"/>
                </a:moveTo>
                <a:lnTo>
                  <a:pt x="82" y="49"/>
                </a:lnTo>
                <a:lnTo>
                  <a:pt x="82" y="47"/>
                </a:lnTo>
                <a:lnTo>
                  <a:pt x="81" y="44"/>
                </a:lnTo>
                <a:lnTo>
                  <a:pt x="74" y="40"/>
                </a:lnTo>
                <a:lnTo>
                  <a:pt x="65" y="36"/>
                </a:lnTo>
                <a:lnTo>
                  <a:pt x="61" y="36"/>
                </a:lnTo>
                <a:lnTo>
                  <a:pt x="61" y="36"/>
                </a:lnTo>
                <a:lnTo>
                  <a:pt x="61" y="36"/>
                </a:lnTo>
                <a:lnTo>
                  <a:pt x="61" y="39"/>
                </a:lnTo>
                <a:lnTo>
                  <a:pt x="64" y="40"/>
                </a:lnTo>
                <a:lnTo>
                  <a:pt x="69" y="44"/>
                </a:lnTo>
                <a:lnTo>
                  <a:pt x="78" y="49"/>
                </a:lnTo>
                <a:lnTo>
                  <a:pt x="81" y="49"/>
                </a:lnTo>
                <a:lnTo>
                  <a:pt x="82" y="49"/>
                </a:lnTo>
                <a:lnTo>
                  <a:pt x="82" y="49"/>
                </a:lnTo>
                <a:close/>
                <a:moveTo>
                  <a:pt x="79" y="64"/>
                </a:moveTo>
                <a:lnTo>
                  <a:pt x="79" y="64"/>
                </a:lnTo>
                <a:lnTo>
                  <a:pt x="82" y="69"/>
                </a:lnTo>
                <a:lnTo>
                  <a:pt x="86" y="71"/>
                </a:lnTo>
                <a:lnTo>
                  <a:pt x="92" y="73"/>
                </a:lnTo>
                <a:lnTo>
                  <a:pt x="96" y="73"/>
                </a:lnTo>
                <a:lnTo>
                  <a:pt x="96" y="73"/>
                </a:lnTo>
                <a:lnTo>
                  <a:pt x="96" y="71"/>
                </a:lnTo>
                <a:lnTo>
                  <a:pt x="95" y="69"/>
                </a:lnTo>
                <a:lnTo>
                  <a:pt x="89" y="64"/>
                </a:lnTo>
                <a:lnTo>
                  <a:pt x="82" y="61"/>
                </a:lnTo>
                <a:lnTo>
                  <a:pt x="81" y="61"/>
                </a:lnTo>
                <a:lnTo>
                  <a:pt x="79" y="64"/>
                </a:lnTo>
                <a:lnTo>
                  <a:pt x="79" y="64"/>
                </a:lnTo>
                <a:close/>
                <a:moveTo>
                  <a:pt x="109" y="80"/>
                </a:moveTo>
                <a:lnTo>
                  <a:pt x="109" y="80"/>
                </a:lnTo>
                <a:lnTo>
                  <a:pt x="111" y="81"/>
                </a:lnTo>
                <a:lnTo>
                  <a:pt x="115" y="84"/>
                </a:lnTo>
                <a:lnTo>
                  <a:pt x="119" y="87"/>
                </a:lnTo>
                <a:lnTo>
                  <a:pt x="122" y="87"/>
                </a:lnTo>
                <a:lnTo>
                  <a:pt x="123" y="87"/>
                </a:lnTo>
                <a:lnTo>
                  <a:pt x="123" y="87"/>
                </a:lnTo>
                <a:lnTo>
                  <a:pt x="125" y="86"/>
                </a:lnTo>
                <a:lnTo>
                  <a:pt x="123" y="84"/>
                </a:lnTo>
                <a:lnTo>
                  <a:pt x="118" y="81"/>
                </a:lnTo>
                <a:lnTo>
                  <a:pt x="112" y="79"/>
                </a:lnTo>
                <a:lnTo>
                  <a:pt x="109" y="79"/>
                </a:lnTo>
                <a:lnTo>
                  <a:pt x="109" y="80"/>
                </a:lnTo>
                <a:lnTo>
                  <a:pt x="109" y="80"/>
                </a:lnTo>
                <a:close/>
                <a:moveTo>
                  <a:pt x="96" y="47"/>
                </a:moveTo>
                <a:lnTo>
                  <a:pt x="96" y="47"/>
                </a:lnTo>
                <a:lnTo>
                  <a:pt x="96" y="51"/>
                </a:lnTo>
                <a:lnTo>
                  <a:pt x="96" y="54"/>
                </a:lnTo>
                <a:lnTo>
                  <a:pt x="101" y="61"/>
                </a:lnTo>
                <a:lnTo>
                  <a:pt x="106" y="67"/>
                </a:lnTo>
                <a:lnTo>
                  <a:pt x="109" y="70"/>
                </a:lnTo>
                <a:lnTo>
                  <a:pt x="109" y="70"/>
                </a:lnTo>
                <a:lnTo>
                  <a:pt x="109" y="66"/>
                </a:lnTo>
                <a:lnTo>
                  <a:pt x="105" y="57"/>
                </a:lnTo>
                <a:lnTo>
                  <a:pt x="101" y="49"/>
                </a:lnTo>
                <a:lnTo>
                  <a:pt x="98" y="47"/>
                </a:lnTo>
                <a:lnTo>
                  <a:pt x="96" y="47"/>
                </a:lnTo>
                <a:lnTo>
                  <a:pt x="96" y="47"/>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48" name="Freeform 336">
            <a:extLst>
              <a:ext uri="{FF2B5EF4-FFF2-40B4-BE49-F238E27FC236}">
                <a16:creationId xmlns:a16="http://schemas.microsoft.com/office/drawing/2014/main" id="{DB1ED43D-AEF5-80DC-D50C-9F319E2E6C93}"/>
              </a:ext>
            </a:extLst>
          </p:cNvPr>
          <p:cNvSpPr>
            <a:spLocks noEditPoints="1"/>
          </p:cNvSpPr>
          <p:nvPr userDrawn="1"/>
        </p:nvSpPr>
        <p:spPr bwMode="gray">
          <a:xfrm>
            <a:off x="7563169" y="3469498"/>
            <a:ext cx="162564" cy="113145"/>
          </a:xfrm>
          <a:custGeom>
            <a:avLst/>
            <a:gdLst/>
            <a:ahLst/>
            <a:cxnLst>
              <a:cxn ang="0">
                <a:pos x="0" y="0"/>
              </a:cxn>
              <a:cxn ang="0">
                <a:pos x="7" y="15"/>
              </a:cxn>
              <a:cxn ang="0">
                <a:pos x="17" y="23"/>
              </a:cxn>
              <a:cxn ang="0">
                <a:pos x="20" y="23"/>
              </a:cxn>
              <a:cxn ang="0">
                <a:pos x="21" y="20"/>
              </a:cxn>
              <a:cxn ang="0">
                <a:pos x="17" y="12"/>
              </a:cxn>
              <a:cxn ang="0">
                <a:pos x="4" y="2"/>
              </a:cxn>
              <a:cxn ang="0">
                <a:pos x="0" y="0"/>
              </a:cxn>
              <a:cxn ang="0">
                <a:pos x="29" y="20"/>
              </a:cxn>
              <a:cxn ang="0">
                <a:pos x="31" y="23"/>
              </a:cxn>
              <a:cxn ang="0">
                <a:pos x="39" y="30"/>
              </a:cxn>
              <a:cxn ang="0">
                <a:pos x="42" y="32"/>
              </a:cxn>
              <a:cxn ang="0">
                <a:pos x="42" y="30"/>
              </a:cxn>
              <a:cxn ang="0">
                <a:pos x="37" y="23"/>
              </a:cxn>
              <a:cxn ang="0">
                <a:pos x="29" y="20"/>
              </a:cxn>
              <a:cxn ang="0">
                <a:pos x="29" y="20"/>
              </a:cxn>
              <a:cxn ang="0">
                <a:pos x="82" y="49"/>
              </a:cxn>
              <a:cxn ang="0">
                <a:pos x="81" y="44"/>
              </a:cxn>
              <a:cxn ang="0">
                <a:pos x="65" y="36"/>
              </a:cxn>
              <a:cxn ang="0">
                <a:pos x="61" y="36"/>
              </a:cxn>
              <a:cxn ang="0">
                <a:pos x="61" y="39"/>
              </a:cxn>
              <a:cxn ang="0">
                <a:pos x="69" y="44"/>
              </a:cxn>
              <a:cxn ang="0">
                <a:pos x="81" y="49"/>
              </a:cxn>
              <a:cxn ang="0">
                <a:pos x="82" y="49"/>
              </a:cxn>
              <a:cxn ang="0">
                <a:pos x="79" y="64"/>
              </a:cxn>
              <a:cxn ang="0">
                <a:pos x="86" y="71"/>
              </a:cxn>
              <a:cxn ang="0">
                <a:pos x="96" y="73"/>
              </a:cxn>
              <a:cxn ang="0">
                <a:pos x="96" y="71"/>
              </a:cxn>
              <a:cxn ang="0">
                <a:pos x="89" y="64"/>
              </a:cxn>
              <a:cxn ang="0">
                <a:pos x="81" y="61"/>
              </a:cxn>
              <a:cxn ang="0">
                <a:pos x="79" y="64"/>
              </a:cxn>
              <a:cxn ang="0">
                <a:pos x="109" y="80"/>
              </a:cxn>
              <a:cxn ang="0">
                <a:pos x="115" y="84"/>
              </a:cxn>
              <a:cxn ang="0">
                <a:pos x="122" y="87"/>
              </a:cxn>
              <a:cxn ang="0">
                <a:pos x="123" y="87"/>
              </a:cxn>
              <a:cxn ang="0">
                <a:pos x="123" y="84"/>
              </a:cxn>
              <a:cxn ang="0">
                <a:pos x="112" y="79"/>
              </a:cxn>
              <a:cxn ang="0">
                <a:pos x="109" y="80"/>
              </a:cxn>
              <a:cxn ang="0">
                <a:pos x="96" y="47"/>
              </a:cxn>
              <a:cxn ang="0">
                <a:pos x="96" y="51"/>
              </a:cxn>
              <a:cxn ang="0">
                <a:pos x="101" y="61"/>
              </a:cxn>
              <a:cxn ang="0">
                <a:pos x="109" y="70"/>
              </a:cxn>
              <a:cxn ang="0">
                <a:pos x="109" y="66"/>
              </a:cxn>
              <a:cxn ang="0">
                <a:pos x="101" y="49"/>
              </a:cxn>
              <a:cxn ang="0">
                <a:pos x="96" y="47"/>
              </a:cxn>
            </a:cxnLst>
            <a:rect l="0" t="0" r="r" b="b"/>
            <a:pathLst>
              <a:path w="125" h="87">
                <a:moveTo>
                  <a:pt x="0" y="0"/>
                </a:moveTo>
                <a:lnTo>
                  <a:pt x="0" y="0"/>
                </a:lnTo>
                <a:lnTo>
                  <a:pt x="1" y="6"/>
                </a:lnTo>
                <a:lnTo>
                  <a:pt x="7" y="15"/>
                </a:lnTo>
                <a:lnTo>
                  <a:pt x="14" y="22"/>
                </a:lnTo>
                <a:lnTo>
                  <a:pt x="17" y="23"/>
                </a:lnTo>
                <a:lnTo>
                  <a:pt x="20" y="23"/>
                </a:lnTo>
                <a:lnTo>
                  <a:pt x="20" y="23"/>
                </a:lnTo>
                <a:lnTo>
                  <a:pt x="21" y="22"/>
                </a:lnTo>
                <a:lnTo>
                  <a:pt x="21" y="20"/>
                </a:lnTo>
                <a:lnTo>
                  <a:pt x="21" y="16"/>
                </a:lnTo>
                <a:lnTo>
                  <a:pt x="17" y="12"/>
                </a:lnTo>
                <a:lnTo>
                  <a:pt x="14" y="7"/>
                </a:lnTo>
                <a:lnTo>
                  <a:pt x="4" y="2"/>
                </a:lnTo>
                <a:lnTo>
                  <a:pt x="1" y="0"/>
                </a:lnTo>
                <a:lnTo>
                  <a:pt x="0" y="0"/>
                </a:lnTo>
                <a:lnTo>
                  <a:pt x="0" y="0"/>
                </a:lnTo>
                <a:close/>
                <a:moveTo>
                  <a:pt x="29" y="20"/>
                </a:moveTo>
                <a:lnTo>
                  <a:pt x="29" y="20"/>
                </a:lnTo>
                <a:lnTo>
                  <a:pt x="31" y="23"/>
                </a:lnTo>
                <a:lnTo>
                  <a:pt x="35" y="27"/>
                </a:lnTo>
                <a:lnTo>
                  <a:pt x="39" y="30"/>
                </a:lnTo>
                <a:lnTo>
                  <a:pt x="41" y="32"/>
                </a:lnTo>
                <a:lnTo>
                  <a:pt x="42" y="32"/>
                </a:lnTo>
                <a:lnTo>
                  <a:pt x="42" y="32"/>
                </a:lnTo>
                <a:lnTo>
                  <a:pt x="42" y="30"/>
                </a:lnTo>
                <a:lnTo>
                  <a:pt x="42" y="29"/>
                </a:lnTo>
                <a:lnTo>
                  <a:pt x="37" y="23"/>
                </a:lnTo>
                <a:lnTo>
                  <a:pt x="32" y="20"/>
                </a:lnTo>
                <a:lnTo>
                  <a:pt x="29" y="20"/>
                </a:lnTo>
                <a:lnTo>
                  <a:pt x="29" y="20"/>
                </a:lnTo>
                <a:lnTo>
                  <a:pt x="29" y="20"/>
                </a:lnTo>
                <a:close/>
                <a:moveTo>
                  <a:pt x="82" y="49"/>
                </a:moveTo>
                <a:lnTo>
                  <a:pt x="82" y="49"/>
                </a:lnTo>
                <a:lnTo>
                  <a:pt x="82" y="47"/>
                </a:lnTo>
                <a:lnTo>
                  <a:pt x="81" y="44"/>
                </a:lnTo>
                <a:lnTo>
                  <a:pt x="74" y="40"/>
                </a:lnTo>
                <a:lnTo>
                  <a:pt x="65" y="36"/>
                </a:lnTo>
                <a:lnTo>
                  <a:pt x="61" y="36"/>
                </a:lnTo>
                <a:lnTo>
                  <a:pt x="61" y="36"/>
                </a:lnTo>
                <a:lnTo>
                  <a:pt x="61" y="36"/>
                </a:lnTo>
                <a:lnTo>
                  <a:pt x="61" y="39"/>
                </a:lnTo>
                <a:lnTo>
                  <a:pt x="64" y="40"/>
                </a:lnTo>
                <a:lnTo>
                  <a:pt x="69" y="44"/>
                </a:lnTo>
                <a:lnTo>
                  <a:pt x="78" y="49"/>
                </a:lnTo>
                <a:lnTo>
                  <a:pt x="81" y="49"/>
                </a:lnTo>
                <a:lnTo>
                  <a:pt x="82" y="49"/>
                </a:lnTo>
                <a:lnTo>
                  <a:pt x="82" y="49"/>
                </a:lnTo>
                <a:close/>
                <a:moveTo>
                  <a:pt x="79" y="64"/>
                </a:moveTo>
                <a:lnTo>
                  <a:pt x="79" y="64"/>
                </a:lnTo>
                <a:lnTo>
                  <a:pt x="82" y="69"/>
                </a:lnTo>
                <a:lnTo>
                  <a:pt x="86" y="71"/>
                </a:lnTo>
                <a:lnTo>
                  <a:pt x="92" y="73"/>
                </a:lnTo>
                <a:lnTo>
                  <a:pt x="96" y="73"/>
                </a:lnTo>
                <a:lnTo>
                  <a:pt x="96" y="73"/>
                </a:lnTo>
                <a:lnTo>
                  <a:pt x="96" y="71"/>
                </a:lnTo>
                <a:lnTo>
                  <a:pt x="95" y="69"/>
                </a:lnTo>
                <a:lnTo>
                  <a:pt x="89" y="64"/>
                </a:lnTo>
                <a:lnTo>
                  <a:pt x="82" y="61"/>
                </a:lnTo>
                <a:lnTo>
                  <a:pt x="81" y="61"/>
                </a:lnTo>
                <a:lnTo>
                  <a:pt x="79" y="64"/>
                </a:lnTo>
                <a:lnTo>
                  <a:pt x="79" y="64"/>
                </a:lnTo>
                <a:close/>
                <a:moveTo>
                  <a:pt x="109" y="80"/>
                </a:moveTo>
                <a:lnTo>
                  <a:pt x="109" y="80"/>
                </a:lnTo>
                <a:lnTo>
                  <a:pt x="111" y="81"/>
                </a:lnTo>
                <a:lnTo>
                  <a:pt x="115" y="84"/>
                </a:lnTo>
                <a:lnTo>
                  <a:pt x="119" y="87"/>
                </a:lnTo>
                <a:lnTo>
                  <a:pt x="122" y="87"/>
                </a:lnTo>
                <a:lnTo>
                  <a:pt x="123" y="87"/>
                </a:lnTo>
                <a:lnTo>
                  <a:pt x="123" y="87"/>
                </a:lnTo>
                <a:lnTo>
                  <a:pt x="125" y="86"/>
                </a:lnTo>
                <a:lnTo>
                  <a:pt x="123" y="84"/>
                </a:lnTo>
                <a:lnTo>
                  <a:pt x="118" y="81"/>
                </a:lnTo>
                <a:lnTo>
                  <a:pt x="112" y="79"/>
                </a:lnTo>
                <a:lnTo>
                  <a:pt x="109" y="79"/>
                </a:lnTo>
                <a:lnTo>
                  <a:pt x="109" y="80"/>
                </a:lnTo>
                <a:lnTo>
                  <a:pt x="109" y="80"/>
                </a:lnTo>
                <a:close/>
                <a:moveTo>
                  <a:pt x="96" y="47"/>
                </a:moveTo>
                <a:lnTo>
                  <a:pt x="96" y="47"/>
                </a:lnTo>
                <a:lnTo>
                  <a:pt x="96" y="51"/>
                </a:lnTo>
                <a:lnTo>
                  <a:pt x="96" y="54"/>
                </a:lnTo>
                <a:lnTo>
                  <a:pt x="101" y="61"/>
                </a:lnTo>
                <a:lnTo>
                  <a:pt x="106" y="67"/>
                </a:lnTo>
                <a:lnTo>
                  <a:pt x="109" y="70"/>
                </a:lnTo>
                <a:lnTo>
                  <a:pt x="109" y="70"/>
                </a:lnTo>
                <a:lnTo>
                  <a:pt x="109" y="66"/>
                </a:lnTo>
                <a:lnTo>
                  <a:pt x="105" y="57"/>
                </a:lnTo>
                <a:lnTo>
                  <a:pt x="101" y="49"/>
                </a:lnTo>
                <a:lnTo>
                  <a:pt x="98" y="47"/>
                </a:lnTo>
                <a:lnTo>
                  <a:pt x="96" y="47"/>
                </a:lnTo>
                <a:lnTo>
                  <a:pt x="96" y="47"/>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49" name="Freeform 337">
            <a:extLst>
              <a:ext uri="{FF2B5EF4-FFF2-40B4-BE49-F238E27FC236}">
                <a16:creationId xmlns:a16="http://schemas.microsoft.com/office/drawing/2014/main" id="{71E07270-B3B5-EBEF-5F07-91AC0F67C8A2}"/>
              </a:ext>
            </a:extLst>
          </p:cNvPr>
          <p:cNvSpPr>
            <a:spLocks noEditPoints="1"/>
          </p:cNvSpPr>
          <p:nvPr userDrawn="1"/>
        </p:nvSpPr>
        <p:spPr bwMode="gray">
          <a:xfrm>
            <a:off x="6684025" y="3578741"/>
            <a:ext cx="850532" cy="756896"/>
          </a:xfrm>
          <a:custGeom>
            <a:avLst/>
            <a:gdLst/>
            <a:ahLst/>
            <a:cxnLst>
              <a:cxn ang="0">
                <a:pos x="649" y="253"/>
              </a:cxn>
              <a:cxn ang="0">
                <a:pos x="633" y="234"/>
              </a:cxn>
              <a:cxn ang="0">
                <a:pos x="614" y="218"/>
              </a:cxn>
              <a:cxn ang="0">
                <a:pos x="600" y="195"/>
              </a:cxn>
              <a:cxn ang="0">
                <a:pos x="586" y="177"/>
              </a:cxn>
              <a:cxn ang="0">
                <a:pos x="540" y="141"/>
              </a:cxn>
              <a:cxn ang="0">
                <a:pos x="532" y="105"/>
              </a:cxn>
              <a:cxn ang="0">
                <a:pos x="519" y="70"/>
              </a:cxn>
              <a:cxn ang="0">
                <a:pos x="492" y="51"/>
              </a:cxn>
              <a:cxn ang="0">
                <a:pos x="478" y="0"/>
              </a:cxn>
              <a:cxn ang="0">
                <a:pos x="462" y="33"/>
              </a:cxn>
              <a:cxn ang="0">
                <a:pos x="458" y="90"/>
              </a:cxn>
              <a:cxn ang="0">
                <a:pos x="422" y="105"/>
              </a:cxn>
              <a:cxn ang="0">
                <a:pos x="387" y="84"/>
              </a:cxn>
              <a:cxn ang="0">
                <a:pos x="367" y="61"/>
              </a:cxn>
              <a:cxn ang="0">
                <a:pos x="381" y="34"/>
              </a:cxn>
              <a:cxn ang="0">
                <a:pos x="374" y="29"/>
              </a:cxn>
              <a:cxn ang="0">
                <a:pos x="350" y="22"/>
              </a:cxn>
              <a:cxn ang="0">
                <a:pos x="316" y="16"/>
              </a:cxn>
              <a:cxn ang="0">
                <a:pos x="286" y="29"/>
              </a:cxn>
              <a:cxn ang="0">
                <a:pos x="269" y="54"/>
              </a:cxn>
              <a:cxn ang="0">
                <a:pos x="257" y="67"/>
              </a:cxn>
              <a:cxn ang="0">
                <a:pos x="242" y="63"/>
              </a:cxn>
              <a:cxn ang="0">
                <a:pos x="213" y="56"/>
              </a:cxn>
              <a:cxn ang="0">
                <a:pos x="196" y="63"/>
              </a:cxn>
              <a:cxn ang="0">
                <a:pos x="183" y="77"/>
              </a:cxn>
              <a:cxn ang="0">
                <a:pos x="172" y="98"/>
              </a:cxn>
              <a:cxn ang="0">
                <a:pos x="162" y="98"/>
              </a:cxn>
              <a:cxn ang="0">
                <a:pos x="149" y="124"/>
              </a:cxn>
              <a:cxn ang="0">
                <a:pos x="89" y="157"/>
              </a:cxn>
              <a:cxn ang="0">
                <a:pos x="53" y="167"/>
              </a:cxn>
              <a:cxn ang="0">
                <a:pos x="20" y="194"/>
              </a:cxn>
              <a:cxn ang="0">
                <a:pos x="10" y="195"/>
              </a:cxn>
              <a:cxn ang="0">
                <a:pos x="7" y="239"/>
              </a:cxn>
              <a:cxn ang="0">
                <a:pos x="7" y="253"/>
              </a:cxn>
              <a:cxn ang="0">
                <a:pos x="0" y="256"/>
              </a:cxn>
              <a:cxn ang="0">
                <a:pos x="30" y="322"/>
              </a:cxn>
              <a:cxn ang="0">
                <a:pos x="41" y="386"/>
              </a:cxn>
              <a:cxn ang="0">
                <a:pos x="41" y="407"/>
              </a:cxn>
              <a:cxn ang="0">
                <a:pos x="95" y="407"/>
              </a:cxn>
              <a:cxn ang="0">
                <a:pos x="173" y="390"/>
              </a:cxn>
              <a:cxn ang="0">
                <a:pos x="222" y="367"/>
              </a:cxn>
              <a:cxn ang="0">
                <a:pos x="297" y="353"/>
              </a:cxn>
              <a:cxn ang="0">
                <a:pos x="334" y="367"/>
              </a:cxn>
              <a:cxn ang="0">
                <a:pos x="348" y="387"/>
              </a:cxn>
              <a:cxn ang="0">
                <a:pos x="371" y="406"/>
              </a:cxn>
              <a:cxn ang="0">
                <a:pos x="401" y="380"/>
              </a:cxn>
              <a:cxn ang="0">
                <a:pos x="385" y="414"/>
              </a:cxn>
              <a:cxn ang="0">
                <a:pos x="402" y="404"/>
              </a:cxn>
              <a:cxn ang="0">
                <a:pos x="415" y="427"/>
              </a:cxn>
              <a:cxn ang="0">
                <a:pos x="439" y="468"/>
              </a:cxn>
              <a:cxn ang="0">
                <a:pos x="491" y="488"/>
              </a:cxn>
              <a:cxn ang="0">
                <a:pos x="516" y="478"/>
              </a:cxn>
              <a:cxn ang="0">
                <a:pos x="523" y="480"/>
              </a:cxn>
              <a:cxn ang="0">
                <a:pos x="542" y="487"/>
              </a:cxn>
              <a:cxn ang="0">
                <a:pos x="597" y="455"/>
              </a:cxn>
              <a:cxn ang="0">
                <a:pos x="629" y="376"/>
              </a:cxn>
              <a:cxn ang="0">
                <a:pos x="651" y="326"/>
              </a:cxn>
              <a:cxn ang="0">
                <a:pos x="654" y="292"/>
              </a:cxn>
              <a:cxn ang="0">
                <a:pos x="519" y="549"/>
              </a:cxn>
              <a:cxn ang="0">
                <a:pos x="546" y="576"/>
              </a:cxn>
              <a:cxn ang="0">
                <a:pos x="562" y="569"/>
              </a:cxn>
              <a:cxn ang="0">
                <a:pos x="565" y="528"/>
              </a:cxn>
            </a:cxnLst>
            <a:rect l="0" t="0" r="r" b="b"/>
            <a:pathLst>
              <a:path w="654" h="582">
                <a:moveTo>
                  <a:pt x="654" y="292"/>
                </a:moveTo>
                <a:lnTo>
                  <a:pt x="654" y="292"/>
                </a:lnTo>
                <a:lnTo>
                  <a:pt x="654" y="289"/>
                </a:lnTo>
                <a:lnTo>
                  <a:pt x="654" y="285"/>
                </a:lnTo>
                <a:lnTo>
                  <a:pt x="651" y="280"/>
                </a:lnTo>
                <a:lnTo>
                  <a:pt x="651" y="280"/>
                </a:lnTo>
                <a:lnTo>
                  <a:pt x="650" y="280"/>
                </a:lnTo>
                <a:lnTo>
                  <a:pt x="650" y="280"/>
                </a:lnTo>
                <a:lnTo>
                  <a:pt x="649" y="279"/>
                </a:lnTo>
                <a:lnTo>
                  <a:pt x="649" y="278"/>
                </a:lnTo>
                <a:lnTo>
                  <a:pt x="647" y="271"/>
                </a:lnTo>
                <a:lnTo>
                  <a:pt x="649" y="253"/>
                </a:lnTo>
                <a:lnTo>
                  <a:pt x="649" y="253"/>
                </a:lnTo>
                <a:lnTo>
                  <a:pt x="650" y="248"/>
                </a:lnTo>
                <a:lnTo>
                  <a:pt x="650" y="246"/>
                </a:lnTo>
                <a:lnTo>
                  <a:pt x="649" y="248"/>
                </a:lnTo>
                <a:lnTo>
                  <a:pt x="646" y="251"/>
                </a:lnTo>
                <a:lnTo>
                  <a:pt x="646" y="251"/>
                </a:lnTo>
                <a:lnTo>
                  <a:pt x="643" y="251"/>
                </a:lnTo>
                <a:lnTo>
                  <a:pt x="641" y="251"/>
                </a:lnTo>
                <a:lnTo>
                  <a:pt x="639" y="246"/>
                </a:lnTo>
                <a:lnTo>
                  <a:pt x="634" y="238"/>
                </a:lnTo>
                <a:lnTo>
                  <a:pt x="634" y="238"/>
                </a:lnTo>
                <a:lnTo>
                  <a:pt x="633" y="234"/>
                </a:lnTo>
                <a:lnTo>
                  <a:pt x="630" y="229"/>
                </a:lnTo>
                <a:lnTo>
                  <a:pt x="626" y="226"/>
                </a:lnTo>
                <a:lnTo>
                  <a:pt x="624" y="225"/>
                </a:lnTo>
                <a:lnTo>
                  <a:pt x="622" y="225"/>
                </a:lnTo>
                <a:lnTo>
                  <a:pt x="622" y="225"/>
                </a:lnTo>
                <a:lnTo>
                  <a:pt x="620" y="225"/>
                </a:lnTo>
                <a:lnTo>
                  <a:pt x="619" y="225"/>
                </a:lnTo>
                <a:lnTo>
                  <a:pt x="619" y="222"/>
                </a:lnTo>
                <a:lnTo>
                  <a:pt x="617" y="219"/>
                </a:lnTo>
                <a:lnTo>
                  <a:pt x="616" y="218"/>
                </a:lnTo>
                <a:lnTo>
                  <a:pt x="614" y="218"/>
                </a:lnTo>
                <a:lnTo>
                  <a:pt x="614" y="218"/>
                </a:lnTo>
                <a:lnTo>
                  <a:pt x="612" y="218"/>
                </a:lnTo>
                <a:lnTo>
                  <a:pt x="610" y="216"/>
                </a:lnTo>
                <a:lnTo>
                  <a:pt x="609" y="214"/>
                </a:lnTo>
                <a:lnTo>
                  <a:pt x="609" y="208"/>
                </a:lnTo>
                <a:lnTo>
                  <a:pt x="609" y="201"/>
                </a:lnTo>
                <a:lnTo>
                  <a:pt x="609" y="201"/>
                </a:lnTo>
                <a:lnTo>
                  <a:pt x="609" y="198"/>
                </a:lnTo>
                <a:lnTo>
                  <a:pt x="607" y="197"/>
                </a:lnTo>
                <a:lnTo>
                  <a:pt x="604" y="197"/>
                </a:lnTo>
                <a:lnTo>
                  <a:pt x="602" y="197"/>
                </a:lnTo>
                <a:lnTo>
                  <a:pt x="602" y="197"/>
                </a:lnTo>
                <a:lnTo>
                  <a:pt x="600" y="195"/>
                </a:lnTo>
                <a:lnTo>
                  <a:pt x="597" y="195"/>
                </a:lnTo>
                <a:lnTo>
                  <a:pt x="593" y="197"/>
                </a:lnTo>
                <a:lnTo>
                  <a:pt x="593" y="197"/>
                </a:lnTo>
                <a:lnTo>
                  <a:pt x="592" y="197"/>
                </a:lnTo>
                <a:lnTo>
                  <a:pt x="590" y="197"/>
                </a:lnTo>
                <a:lnTo>
                  <a:pt x="589" y="194"/>
                </a:lnTo>
                <a:lnTo>
                  <a:pt x="589" y="189"/>
                </a:lnTo>
                <a:lnTo>
                  <a:pt x="589" y="185"/>
                </a:lnTo>
                <a:lnTo>
                  <a:pt x="589" y="185"/>
                </a:lnTo>
                <a:lnTo>
                  <a:pt x="589" y="182"/>
                </a:lnTo>
                <a:lnTo>
                  <a:pt x="589" y="179"/>
                </a:lnTo>
                <a:lnTo>
                  <a:pt x="586" y="177"/>
                </a:lnTo>
                <a:lnTo>
                  <a:pt x="583" y="174"/>
                </a:lnTo>
                <a:lnTo>
                  <a:pt x="583" y="174"/>
                </a:lnTo>
                <a:lnTo>
                  <a:pt x="580" y="171"/>
                </a:lnTo>
                <a:lnTo>
                  <a:pt x="577" y="168"/>
                </a:lnTo>
                <a:lnTo>
                  <a:pt x="577" y="162"/>
                </a:lnTo>
                <a:lnTo>
                  <a:pt x="577" y="162"/>
                </a:lnTo>
                <a:lnTo>
                  <a:pt x="576" y="160"/>
                </a:lnTo>
                <a:lnTo>
                  <a:pt x="573" y="157"/>
                </a:lnTo>
                <a:lnTo>
                  <a:pt x="562" y="150"/>
                </a:lnTo>
                <a:lnTo>
                  <a:pt x="549" y="144"/>
                </a:lnTo>
                <a:lnTo>
                  <a:pt x="540" y="141"/>
                </a:lnTo>
                <a:lnTo>
                  <a:pt x="540" y="141"/>
                </a:lnTo>
                <a:lnTo>
                  <a:pt x="539" y="140"/>
                </a:lnTo>
                <a:lnTo>
                  <a:pt x="538" y="138"/>
                </a:lnTo>
                <a:lnTo>
                  <a:pt x="538" y="135"/>
                </a:lnTo>
                <a:lnTo>
                  <a:pt x="538" y="133"/>
                </a:lnTo>
                <a:lnTo>
                  <a:pt x="536" y="130"/>
                </a:lnTo>
                <a:lnTo>
                  <a:pt x="536" y="130"/>
                </a:lnTo>
                <a:lnTo>
                  <a:pt x="535" y="127"/>
                </a:lnTo>
                <a:lnTo>
                  <a:pt x="533" y="121"/>
                </a:lnTo>
                <a:lnTo>
                  <a:pt x="533" y="110"/>
                </a:lnTo>
                <a:lnTo>
                  <a:pt x="533" y="110"/>
                </a:lnTo>
                <a:lnTo>
                  <a:pt x="532" y="107"/>
                </a:lnTo>
                <a:lnTo>
                  <a:pt x="532" y="105"/>
                </a:lnTo>
                <a:lnTo>
                  <a:pt x="528" y="101"/>
                </a:lnTo>
                <a:lnTo>
                  <a:pt x="525" y="97"/>
                </a:lnTo>
                <a:lnTo>
                  <a:pt x="523" y="96"/>
                </a:lnTo>
                <a:lnTo>
                  <a:pt x="523" y="93"/>
                </a:lnTo>
                <a:lnTo>
                  <a:pt x="523" y="93"/>
                </a:lnTo>
                <a:lnTo>
                  <a:pt x="523" y="88"/>
                </a:lnTo>
                <a:lnTo>
                  <a:pt x="522" y="84"/>
                </a:lnTo>
                <a:lnTo>
                  <a:pt x="521" y="78"/>
                </a:lnTo>
                <a:lnTo>
                  <a:pt x="521" y="74"/>
                </a:lnTo>
                <a:lnTo>
                  <a:pt x="521" y="74"/>
                </a:lnTo>
                <a:lnTo>
                  <a:pt x="521" y="71"/>
                </a:lnTo>
                <a:lnTo>
                  <a:pt x="519" y="70"/>
                </a:lnTo>
                <a:lnTo>
                  <a:pt x="516" y="66"/>
                </a:lnTo>
                <a:lnTo>
                  <a:pt x="512" y="64"/>
                </a:lnTo>
                <a:lnTo>
                  <a:pt x="511" y="61"/>
                </a:lnTo>
                <a:lnTo>
                  <a:pt x="511" y="61"/>
                </a:lnTo>
                <a:lnTo>
                  <a:pt x="509" y="59"/>
                </a:lnTo>
                <a:lnTo>
                  <a:pt x="506" y="60"/>
                </a:lnTo>
                <a:lnTo>
                  <a:pt x="498" y="61"/>
                </a:lnTo>
                <a:lnTo>
                  <a:pt x="498" y="61"/>
                </a:lnTo>
                <a:lnTo>
                  <a:pt x="496" y="61"/>
                </a:lnTo>
                <a:lnTo>
                  <a:pt x="495" y="60"/>
                </a:lnTo>
                <a:lnTo>
                  <a:pt x="494" y="57"/>
                </a:lnTo>
                <a:lnTo>
                  <a:pt x="492" y="51"/>
                </a:lnTo>
                <a:lnTo>
                  <a:pt x="494" y="46"/>
                </a:lnTo>
                <a:lnTo>
                  <a:pt x="494" y="46"/>
                </a:lnTo>
                <a:lnTo>
                  <a:pt x="492" y="39"/>
                </a:lnTo>
                <a:lnTo>
                  <a:pt x="491" y="32"/>
                </a:lnTo>
                <a:lnTo>
                  <a:pt x="489" y="24"/>
                </a:lnTo>
                <a:lnTo>
                  <a:pt x="485" y="20"/>
                </a:lnTo>
                <a:lnTo>
                  <a:pt x="485" y="20"/>
                </a:lnTo>
                <a:lnTo>
                  <a:pt x="482" y="16"/>
                </a:lnTo>
                <a:lnTo>
                  <a:pt x="481" y="9"/>
                </a:lnTo>
                <a:lnTo>
                  <a:pt x="479" y="3"/>
                </a:lnTo>
                <a:lnTo>
                  <a:pt x="478" y="0"/>
                </a:lnTo>
                <a:lnTo>
                  <a:pt x="478" y="0"/>
                </a:lnTo>
                <a:lnTo>
                  <a:pt x="476" y="0"/>
                </a:lnTo>
                <a:lnTo>
                  <a:pt x="475" y="0"/>
                </a:lnTo>
                <a:lnTo>
                  <a:pt x="471" y="3"/>
                </a:lnTo>
                <a:lnTo>
                  <a:pt x="468" y="7"/>
                </a:lnTo>
                <a:lnTo>
                  <a:pt x="468" y="12"/>
                </a:lnTo>
                <a:lnTo>
                  <a:pt x="468" y="12"/>
                </a:lnTo>
                <a:lnTo>
                  <a:pt x="466" y="19"/>
                </a:lnTo>
                <a:lnTo>
                  <a:pt x="465" y="22"/>
                </a:lnTo>
                <a:lnTo>
                  <a:pt x="464" y="24"/>
                </a:lnTo>
                <a:lnTo>
                  <a:pt x="464" y="24"/>
                </a:lnTo>
                <a:lnTo>
                  <a:pt x="462" y="29"/>
                </a:lnTo>
                <a:lnTo>
                  <a:pt x="462" y="33"/>
                </a:lnTo>
                <a:lnTo>
                  <a:pt x="464" y="39"/>
                </a:lnTo>
                <a:lnTo>
                  <a:pt x="462" y="40"/>
                </a:lnTo>
                <a:lnTo>
                  <a:pt x="461" y="43"/>
                </a:lnTo>
                <a:lnTo>
                  <a:pt x="461" y="43"/>
                </a:lnTo>
                <a:lnTo>
                  <a:pt x="459" y="44"/>
                </a:lnTo>
                <a:lnTo>
                  <a:pt x="459" y="47"/>
                </a:lnTo>
                <a:lnTo>
                  <a:pt x="459" y="54"/>
                </a:lnTo>
                <a:lnTo>
                  <a:pt x="459" y="63"/>
                </a:lnTo>
                <a:lnTo>
                  <a:pt x="459" y="71"/>
                </a:lnTo>
                <a:lnTo>
                  <a:pt x="459" y="71"/>
                </a:lnTo>
                <a:lnTo>
                  <a:pt x="458" y="84"/>
                </a:lnTo>
                <a:lnTo>
                  <a:pt x="458" y="90"/>
                </a:lnTo>
                <a:lnTo>
                  <a:pt x="455" y="96"/>
                </a:lnTo>
                <a:lnTo>
                  <a:pt x="455" y="96"/>
                </a:lnTo>
                <a:lnTo>
                  <a:pt x="452" y="100"/>
                </a:lnTo>
                <a:lnTo>
                  <a:pt x="449" y="105"/>
                </a:lnTo>
                <a:lnTo>
                  <a:pt x="447" y="111"/>
                </a:lnTo>
                <a:lnTo>
                  <a:pt x="441" y="114"/>
                </a:lnTo>
                <a:lnTo>
                  <a:pt x="441" y="114"/>
                </a:lnTo>
                <a:lnTo>
                  <a:pt x="435" y="115"/>
                </a:lnTo>
                <a:lnTo>
                  <a:pt x="428" y="113"/>
                </a:lnTo>
                <a:lnTo>
                  <a:pt x="424" y="110"/>
                </a:lnTo>
                <a:lnTo>
                  <a:pt x="422" y="105"/>
                </a:lnTo>
                <a:lnTo>
                  <a:pt x="422" y="105"/>
                </a:lnTo>
                <a:lnTo>
                  <a:pt x="421" y="103"/>
                </a:lnTo>
                <a:lnTo>
                  <a:pt x="417" y="101"/>
                </a:lnTo>
                <a:lnTo>
                  <a:pt x="412" y="100"/>
                </a:lnTo>
                <a:lnTo>
                  <a:pt x="408" y="100"/>
                </a:lnTo>
                <a:lnTo>
                  <a:pt x="408" y="100"/>
                </a:lnTo>
                <a:lnTo>
                  <a:pt x="404" y="98"/>
                </a:lnTo>
                <a:lnTo>
                  <a:pt x="401" y="96"/>
                </a:lnTo>
                <a:lnTo>
                  <a:pt x="397" y="91"/>
                </a:lnTo>
                <a:lnTo>
                  <a:pt x="392" y="87"/>
                </a:lnTo>
                <a:lnTo>
                  <a:pt x="392" y="87"/>
                </a:lnTo>
                <a:lnTo>
                  <a:pt x="390" y="86"/>
                </a:lnTo>
                <a:lnTo>
                  <a:pt x="387" y="84"/>
                </a:lnTo>
                <a:lnTo>
                  <a:pt x="381" y="84"/>
                </a:lnTo>
                <a:lnTo>
                  <a:pt x="378" y="84"/>
                </a:lnTo>
                <a:lnTo>
                  <a:pt x="377" y="83"/>
                </a:lnTo>
                <a:lnTo>
                  <a:pt x="375" y="81"/>
                </a:lnTo>
                <a:lnTo>
                  <a:pt x="375" y="81"/>
                </a:lnTo>
                <a:lnTo>
                  <a:pt x="374" y="77"/>
                </a:lnTo>
                <a:lnTo>
                  <a:pt x="371" y="74"/>
                </a:lnTo>
                <a:lnTo>
                  <a:pt x="365" y="68"/>
                </a:lnTo>
                <a:lnTo>
                  <a:pt x="365" y="68"/>
                </a:lnTo>
                <a:lnTo>
                  <a:pt x="363" y="67"/>
                </a:lnTo>
                <a:lnTo>
                  <a:pt x="361" y="66"/>
                </a:lnTo>
                <a:lnTo>
                  <a:pt x="367" y="61"/>
                </a:lnTo>
                <a:lnTo>
                  <a:pt x="367" y="61"/>
                </a:lnTo>
                <a:lnTo>
                  <a:pt x="370" y="59"/>
                </a:lnTo>
                <a:lnTo>
                  <a:pt x="370" y="54"/>
                </a:lnTo>
                <a:lnTo>
                  <a:pt x="370" y="51"/>
                </a:lnTo>
                <a:lnTo>
                  <a:pt x="368" y="47"/>
                </a:lnTo>
                <a:lnTo>
                  <a:pt x="368" y="47"/>
                </a:lnTo>
                <a:lnTo>
                  <a:pt x="367" y="46"/>
                </a:lnTo>
                <a:lnTo>
                  <a:pt x="370" y="44"/>
                </a:lnTo>
                <a:lnTo>
                  <a:pt x="378" y="40"/>
                </a:lnTo>
                <a:lnTo>
                  <a:pt x="378" y="40"/>
                </a:lnTo>
                <a:lnTo>
                  <a:pt x="381" y="37"/>
                </a:lnTo>
                <a:lnTo>
                  <a:pt x="381" y="34"/>
                </a:lnTo>
                <a:lnTo>
                  <a:pt x="381" y="32"/>
                </a:lnTo>
                <a:lnTo>
                  <a:pt x="384" y="30"/>
                </a:lnTo>
                <a:lnTo>
                  <a:pt x="384" y="30"/>
                </a:lnTo>
                <a:lnTo>
                  <a:pt x="385" y="27"/>
                </a:lnTo>
                <a:lnTo>
                  <a:pt x="385" y="26"/>
                </a:lnTo>
                <a:lnTo>
                  <a:pt x="384" y="23"/>
                </a:lnTo>
                <a:lnTo>
                  <a:pt x="380" y="22"/>
                </a:lnTo>
                <a:lnTo>
                  <a:pt x="380" y="22"/>
                </a:lnTo>
                <a:lnTo>
                  <a:pt x="377" y="22"/>
                </a:lnTo>
                <a:lnTo>
                  <a:pt x="375" y="24"/>
                </a:lnTo>
                <a:lnTo>
                  <a:pt x="375" y="27"/>
                </a:lnTo>
                <a:lnTo>
                  <a:pt x="374" y="29"/>
                </a:lnTo>
                <a:lnTo>
                  <a:pt x="374" y="29"/>
                </a:lnTo>
                <a:lnTo>
                  <a:pt x="373" y="27"/>
                </a:lnTo>
                <a:lnTo>
                  <a:pt x="371" y="24"/>
                </a:lnTo>
                <a:lnTo>
                  <a:pt x="370" y="22"/>
                </a:lnTo>
                <a:lnTo>
                  <a:pt x="368" y="20"/>
                </a:lnTo>
                <a:lnTo>
                  <a:pt x="368" y="20"/>
                </a:lnTo>
                <a:lnTo>
                  <a:pt x="363" y="24"/>
                </a:lnTo>
                <a:lnTo>
                  <a:pt x="358" y="26"/>
                </a:lnTo>
                <a:lnTo>
                  <a:pt x="357" y="26"/>
                </a:lnTo>
                <a:lnTo>
                  <a:pt x="356" y="24"/>
                </a:lnTo>
                <a:lnTo>
                  <a:pt x="356" y="24"/>
                </a:lnTo>
                <a:lnTo>
                  <a:pt x="350" y="22"/>
                </a:lnTo>
                <a:lnTo>
                  <a:pt x="341" y="19"/>
                </a:lnTo>
                <a:lnTo>
                  <a:pt x="324" y="14"/>
                </a:lnTo>
                <a:lnTo>
                  <a:pt x="324" y="14"/>
                </a:lnTo>
                <a:lnTo>
                  <a:pt x="320" y="13"/>
                </a:lnTo>
                <a:lnTo>
                  <a:pt x="316" y="9"/>
                </a:lnTo>
                <a:lnTo>
                  <a:pt x="313" y="6"/>
                </a:lnTo>
                <a:lnTo>
                  <a:pt x="311" y="6"/>
                </a:lnTo>
                <a:lnTo>
                  <a:pt x="310" y="6"/>
                </a:lnTo>
                <a:lnTo>
                  <a:pt x="310" y="6"/>
                </a:lnTo>
                <a:lnTo>
                  <a:pt x="307" y="7"/>
                </a:lnTo>
                <a:lnTo>
                  <a:pt x="309" y="10"/>
                </a:lnTo>
                <a:lnTo>
                  <a:pt x="316" y="16"/>
                </a:lnTo>
                <a:lnTo>
                  <a:pt x="316" y="16"/>
                </a:lnTo>
                <a:lnTo>
                  <a:pt x="316" y="19"/>
                </a:lnTo>
                <a:lnTo>
                  <a:pt x="314" y="20"/>
                </a:lnTo>
                <a:lnTo>
                  <a:pt x="307" y="23"/>
                </a:lnTo>
                <a:lnTo>
                  <a:pt x="299" y="24"/>
                </a:lnTo>
                <a:lnTo>
                  <a:pt x="291" y="24"/>
                </a:lnTo>
                <a:lnTo>
                  <a:pt x="291" y="24"/>
                </a:lnTo>
                <a:lnTo>
                  <a:pt x="289" y="24"/>
                </a:lnTo>
                <a:lnTo>
                  <a:pt x="289" y="26"/>
                </a:lnTo>
                <a:lnTo>
                  <a:pt x="289" y="27"/>
                </a:lnTo>
                <a:lnTo>
                  <a:pt x="287" y="29"/>
                </a:lnTo>
                <a:lnTo>
                  <a:pt x="286" y="29"/>
                </a:lnTo>
                <a:lnTo>
                  <a:pt x="286" y="29"/>
                </a:lnTo>
                <a:lnTo>
                  <a:pt x="284" y="29"/>
                </a:lnTo>
                <a:lnTo>
                  <a:pt x="283" y="30"/>
                </a:lnTo>
                <a:lnTo>
                  <a:pt x="280" y="34"/>
                </a:lnTo>
                <a:lnTo>
                  <a:pt x="277" y="39"/>
                </a:lnTo>
                <a:lnTo>
                  <a:pt x="274" y="43"/>
                </a:lnTo>
                <a:lnTo>
                  <a:pt x="274" y="43"/>
                </a:lnTo>
                <a:lnTo>
                  <a:pt x="273" y="47"/>
                </a:lnTo>
                <a:lnTo>
                  <a:pt x="272" y="50"/>
                </a:lnTo>
                <a:lnTo>
                  <a:pt x="272" y="53"/>
                </a:lnTo>
                <a:lnTo>
                  <a:pt x="269" y="54"/>
                </a:lnTo>
                <a:lnTo>
                  <a:pt x="269" y="54"/>
                </a:lnTo>
                <a:lnTo>
                  <a:pt x="266" y="57"/>
                </a:lnTo>
                <a:lnTo>
                  <a:pt x="264" y="60"/>
                </a:lnTo>
                <a:lnTo>
                  <a:pt x="266" y="64"/>
                </a:lnTo>
                <a:lnTo>
                  <a:pt x="269" y="68"/>
                </a:lnTo>
                <a:lnTo>
                  <a:pt x="269" y="68"/>
                </a:lnTo>
                <a:lnTo>
                  <a:pt x="272" y="73"/>
                </a:lnTo>
                <a:lnTo>
                  <a:pt x="270" y="73"/>
                </a:lnTo>
                <a:lnTo>
                  <a:pt x="269" y="74"/>
                </a:lnTo>
                <a:lnTo>
                  <a:pt x="266" y="73"/>
                </a:lnTo>
                <a:lnTo>
                  <a:pt x="262" y="70"/>
                </a:lnTo>
                <a:lnTo>
                  <a:pt x="262" y="70"/>
                </a:lnTo>
                <a:lnTo>
                  <a:pt x="257" y="67"/>
                </a:lnTo>
                <a:lnTo>
                  <a:pt x="253" y="66"/>
                </a:lnTo>
                <a:lnTo>
                  <a:pt x="252" y="67"/>
                </a:lnTo>
                <a:lnTo>
                  <a:pt x="250" y="71"/>
                </a:lnTo>
                <a:lnTo>
                  <a:pt x="250" y="71"/>
                </a:lnTo>
                <a:lnTo>
                  <a:pt x="250" y="74"/>
                </a:lnTo>
                <a:lnTo>
                  <a:pt x="247" y="74"/>
                </a:lnTo>
                <a:lnTo>
                  <a:pt x="246" y="71"/>
                </a:lnTo>
                <a:lnTo>
                  <a:pt x="246" y="67"/>
                </a:lnTo>
                <a:lnTo>
                  <a:pt x="246" y="67"/>
                </a:lnTo>
                <a:lnTo>
                  <a:pt x="246" y="66"/>
                </a:lnTo>
                <a:lnTo>
                  <a:pt x="245" y="64"/>
                </a:lnTo>
                <a:lnTo>
                  <a:pt x="242" y="63"/>
                </a:lnTo>
                <a:lnTo>
                  <a:pt x="239" y="61"/>
                </a:lnTo>
                <a:lnTo>
                  <a:pt x="236" y="60"/>
                </a:lnTo>
                <a:lnTo>
                  <a:pt x="236" y="60"/>
                </a:lnTo>
                <a:lnTo>
                  <a:pt x="235" y="57"/>
                </a:lnTo>
                <a:lnTo>
                  <a:pt x="230" y="53"/>
                </a:lnTo>
                <a:lnTo>
                  <a:pt x="227" y="51"/>
                </a:lnTo>
                <a:lnTo>
                  <a:pt x="223" y="50"/>
                </a:lnTo>
                <a:lnTo>
                  <a:pt x="223" y="50"/>
                </a:lnTo>
                <a:lnTo>
                  <a:pt x="220" y="51"/>
                </a:lnTo>
                <a:lnTo>
                  <a:pt x="219" y="53"/>
                </a:lnTo>
                <a:lnTo>
                  <a:pt x="216" y="54"/>
                </a:lnTo>
                <a:lnTo>
                  <a:pt x="213" y="56"/>
                </a:lnTo>
                <a:lnTo>
                  <a:pt x="213" y="56"/>
                </a:lnTo>
                <a:lnTo>
                  <a:pt x="210" y="56"/>
                </a:lnTo>
                <a:lnTo>
                  <a:pt x="209" y="57"/>
                </a:lnTo>
                <a:lnTo>
                  <a:pt x="209" y="60"/>
                </a:lnTo>
                <a:lnTo>
                  <a:pt x="209" y="63"/>
                </a:lnTo>
                <a:lnTo>
                  <a:pt x="209" y="63"/>
                </a:lnTo>
                <a:lnTo>
                  <a:pt x="209" y="64"/>
                </a:lnTo>
                <a:lnTo>
                  <a:pt x="208" y="64"/>
                </a:lnTo>
                <a:lnTo>
                  <a:pt x="205" y="64"/>
                </a:lnTo>
                <a:lnTo>
                  <a:pt x="200" y="63"/>
                </a:lnTo>
                <a:lnTo>
                  <a:pt x="196" y="63"/>
                </a:lnTo>
                <a:lnTo>
                  <a:pt x="196" y="63"/>
                </a:lnTo>
                <a:lnTo>
                  <a:pt x="193" y="64"/>
                </a:lnTo>
                <a:lnTo>
                  <a:pt x="193" y="67"/>
                </a:lnTo>
                <a:lnTo>
                  <a:pt x="195" y="68"/>
                </a:lnTo>
                <a:lnTo>
                  <a:pt x="193" y="70"/>
                </a:lnTo>
                <a:lnTo>
                  <a:pt x="193" y="70"/>
                </a:lnTo>
                <a:lnTo>
                  <a:pt x="192" y="71"/>
                </a:lnTo>
                <a:lnTo>
                  <a:pt x="190" y="73"/>
                </a:lnTo>
                <a:lnTo>
                  <a:pt x="189" y="74"/>
                </a:lnTo>
                <a:lnTo>
                  <a:pt x="186" y="76"/>
                </a:lnTo>
                <a:lnTo>
                  <a:pt x="186" y="76"/>
                </a:lnTo>
                <a:lnTo>
                  <a:pt x="185" y="76"/>
                </a:lnTo>
                <a:lnTo>
                  <a:pt x="183" y="77"/>
                </a:lnTo>
                <a:lnTo>
                  <a:pt x="182" y="81"/>
                </a:lnTo>
                <a:lnTo>
                  <a:pt x="183" y="91"/>
                </a:lnTo>
                <a:lnTo>
                  <a:pt x="183" y="91"/>
                </a:lnTo>
                <a:lnTo>
                  <a:pt x="183" y="93"/>
                </a:lnTo>
                <a:lnTo>
                  <a:pt x="182" y="93"/>
                </a:lnTo>
                <a:lnTo>
                  <a:pt x="179" y="93"/>
                </a:lnTo>
                <a:lnTo>
                  <a:pt x="175" y="90"/>
                </a:lnTo>
                <a:lnTo>
                  <a:pt x="171" y="90"/>
                </a:lnTo>
                <a:lnTo>
                  <a:pt x="171" y="90"/>
                </a:lnTo>
                <a:lnTo>
                  <a:pt x="169" y="91"/>
                </a:lnTo>
                <a:lnTo>
                  <a:pt x="171" y="94"/>
                </a:lnTo>
                <a:lnTo>
                  <a:pt x="172" y="98"/>
                </a:lnTo>
                <a:lnTo>
                  <a:pt x="173" y="103"/>
                </a:lnTo>
                <a:lnTo>
                  <a:pt x="173" y="103"/>
                </a:lnTo>
                <a:lnTo>
                  <a:pt x="173" y="105"/>
                </a:lnTo>
                <a:lnTo>
                  <a:pt x="172" y="107"/>
                </a:lnTo>
                <a:lnTo>
                  <a:pt x="169" y="110"/>
                </a:lnTo>
                <a:lnTo>
                  <a:pt x="169" y="110"/>
                </a:lnTo>
                <a:lnTo>
                  <a:pt x="168" y="111"/>
                </a:lnTo>
                <a:lnTo>
                  <a:pt x="166" y="110"/>
                </a:lnTo>
                <a:lnTo>
                  <a:pt x="165" y="107"/>
                </a:lnTo>
                <a:lnTo>
                  <a:pt x="163" y="103"/>
                </a:lnTo>
                <a:lnTo>
                  <a:pt x="162" y="98"/>
                </a:lnTo>
                <a:lnTo>
                  <a:pt x="162" y="98"/>
                </a:lnTo>
                <a:lnTo>
                  <a:pt x="162" y="97"/>
                </a:lnTo>
                <a:lnTo>
                  <a:pt x="161" y="96"/>
                </a:lnTo>
                <a:lnTo>
                  <a:pt x="158" y="97"/>
                </a:lnTo>
                <a:lnTo>
                  <a:pt x="149" y="104"/>
                </a:lnTo>
                <a:lnTo>
                  <a:pt x="149" y="104"/>
                </a:lnTo>
                <a:lnTo>
                  <a:pt x="148" y="107"/>
                </a:lnTo>
                <a:lnTo>
                  <a:pt x="148" y="110"/>
                </a:lnTo>
                <a:lnTo>
                  <a:pt x="148" y="115"/>
                </a:lnTo>
                <a:lnTo>
                  <a:pt x="149" y="121"/>
                </a:lnTo>
                <a:lnTo>
                  <a:pt x="149" y="123"/>
                </a:lnTo>
                <a:lnTo>
                  <a:pt x="149" y="124"/>
                </a:lnTo>
                <a:lnTo>
                  <a:pt x="149" y="124"/>
                </a:lnTo>
                <a:lnTo>
                  <a:pt x="139" y="133"/>
                </a:lnTo>
                <a:lnTo>
                  <a:pt x="126" y="147"/>
                </a:lnTo>
                <a:lnTo>
                  <a:pt x="126" y="147"/>
                </a:lnTo>
                <a:lnTo>
                  <a:pt x="122" y="150"/>
                </a:lnTo>
                <a:lnTo>
                  <a:pt x="119" y="151"/>
                </a:lnTo>
                <a:lnTo>
                  <a:pt x="111" y="152"/>
                </a:lnTo>
                <a:lnTo>
                  <a:pt x="102" y="152"/>
                </a:lnTo>
                <a:lnTo>
                  <a:pt x="99" y="152"/>
                </a:lnTo>
                <a:lnTo>
                  <a:pt x="98" y="154"/>
                </a:lnTo>
                <a:lnTo>
                  <a:pt x="98" y="154"/>
                </a:lnTo>
                <a:lnTo>
                  <a:pt x="94" y="157"/>
                </a:lnTo>
                <a:lnTo>
                  <a:pt x="89" y="157"/>
                </a:lnTo>
                <a:lnTo>
                  <a:pt x="87" y="157"/>
                </a:lnTo>
                <a:lnTo>
                  <a:pt x="82" y="160"/>
                </a:lnTo>
                <a:lnTo>
                  <a:pt x="82" y="160"/>
                </a:lnTo>
                <a:lnTo>
                  <a:pt x="72" y="165"/>
                </a:lnTo>
                <a:lnTo>
                  <a:pt x="70" y="167"/>
                </a:lnTo>
                <a:lnTo>
                  <a:pt x="68" y="167"/>
                </a:lnTo>
                <a:lnTo>
                  <a:pt x="67" y="165"/>
                </a:lnTo>
                <a:lnTo>
                  <a:pt x="67" y="165"/>
                </a:lnTo>
                <a:lnTo>
                  <a:pt x="65" y="164"/>
                </a:lnTo>
                <a:lnTo>
                  <a:pt x="64" y="164"/>
                </a:lnTo>
                <a:lnTo>
                  <a:pt x="58" y="164"/>
                </a:lnTo>
                <a:lnTo>
                  <a:pt x="53" y="167"/>
                </a:lnTo>
                <a:lnTo>
                  <a:pt x="48" y="171"/>
                </a:lnTo>
                <a:lnTo>
                  <a:pt x="48" y="171"/>
                </a:lnTo>
                <a:lnTo>
                  <a:pt x="43" y="175"/>
                </a:lnTo>
                <a:lnTo>
                  <a:pt x="38" y="178"/>
                </a:lnTo>
                <a:lnTo>
                  <a:pt x="33" y="181"/>
                </a:lnTo>
                <a:lnTo>
                  <a:pt x="28" y="181"/>
                </a:lnTo>
                <a:lnTo>
                  <a:pt x="28" y="181"/>
                </a:lnTo>
                <a:lnTo>
                  <a:pt x="25" y="182"/>
                </a:lnTo>
                <a:lnTo>
                  <a:pt x="24" y="184"/>
                </a:lnTo>
                <a:lnTo>
                  <a:pt x="23" y="187"/>
                </a:lnTo>
                <a:lnTo>
                  <a:pt x="21" y="191"/>
                </a:lnTo>
                <a:lnTo>
                  <a:pt x="20" y="194"/>
                </a:lnTo>
                <a:lnTo>
                  <a:pt x="20" y="194"/>
                </a:lnTo>
                <a:lnTo>
                  <a:pt x="18" y="194"/>
                </a:lnTo>
                <a:lnTo>
                  <a:pt x="18" y="192"/>
                </a:lnTo>
                <a:lnTo>
                  <a:pt x="17" y="189"/>
                </a:lnTo>
                <a:lnTo>
                  <a:pt x="17" y="184"/>
                </a:lnTo>
                <a:lnTo>
                  <a:pt x="17" y="184"/>
                </a:lnTo>
                <a:lnTo>
                  <a:pt x="17" y="182"/>
                </a:lnTo>
                <a:lnTo>
                  <a:pt x="17" y="182"/>
                </a:lnTo>
                <a:lnTo>
                  <a:pt x="14" y="185"/>
                </a:lnTo>
                <a:lnTo>
                  <a:pt x="11" y="189"/>
                </a:lnTo>
                <a:lnTo>
                  <a:pt x="10" y="195"/>
                </a:lnTo>
                <a:lnTo>
                  <a:pt x="10" y="195"/>
                </a:lnTo>
                <a:lnTo>
                  <a:pt x="8" y="199"/>
                </a:lnTo>
                <a:lnTo>
                  <a:pt x="11" y="204"/>
                </a:lnTo>
                <a:lnTo>
                  <a:pt x="11" y="208"/>
                </a:lnTo>
                <a:lnTo>
                  <a:pt x="11" y="211"/>
                </a:lnTo>
                <a:lnTo>
                  <a:pt x="10" y="214"/>
                </a:lnTo>
                <a:lnTo>
                  <a:pt x="10" y="214"/>
                </a:lnTo>
                <a:lnTo>
                  <a:pt x="6" y="219"/>
                </a:lnTo>
                <a:lnTo>
                  <a:pt x="4" y="225"/>
                </a:lnTo>
                <a:lnTo>
                  <a:pt x="4" y="232"/>
                </a:lnTo>
                <a:lnTo>
                  <a:pt x="6" y="235"/>
                </a:lnTo>
                <a:lnTo>
                  <a:pt x="7" y="239"/>
                </a:lnTo>
                <a:lnTo>
                  <a:pt x="7" y="239"/>
                </a:lnTo>
                <a:lnTo>
                  <a:pt x="16" y="251"/>
                </a:lnTo>
                <a:lnTo>
                  <a:pt x="17" y="256"/>
                </a:lnTo>
                <a:lnTo>
                  <a:pt x="17" y="261"/>
                </a:lnTo>
                <a:lnTo>
                  <a:pt x="17" y="261"/>
                </a:lnTo>
                <a:lnTo>
                  <a:pt x="16" y="261"/>
                </a:lnTo>
                <a:lnTo>
                  <a:pt x="14" y="261"/>
                </a:lnTo>
                <a:lnTo>
                  <a:pt x="11" y="258"/>
                </a:lnTo>
                <a:lnTo>
                  <a:pt x="8" y="253"/>
                </a:lnTo>
                <a:lnTo>
                  <a:pt x="7" y="252"/>
                </a:lnTo>
                <a:lnTo>
                  <a:pt x="7" y="252"/>
                </a:lnTo>
                <a:lnTo>
                  <a:pt x="7" y="252"/>
                </a:lnTo>
                <a:lnTo>
                  <a:pt x="7" y="253"/>
                </a:lnTo>
                <a:lnTo>
                  <a:pt x="10" y="258"/>
                </a:lnTo>
                <a:lnTo>
                  <a:pt x="11" y="261"/>
                </a:lnTo>
                <a:lnTo>
                  <a:pt x="11" y="263"/>
                </a:lnTo>
                <a:lnTo>
                  <a:pt x="11" y="263"/>
                </a:lnTo>
                <a:lnTo>
                  <a:pt x="10" y="263"/>
                </a:lnTo>
                <a:lnTo>
                  <a:pt x="8" y="263"/>
                </a:lnTo>
                <a:lnTo>
                  <a:pt x="6" y="259"/>
                </a:lnTo>
                <a:lnTo>
                  <a:pt x="3" y="255"/>
                </a:lnTo>
                <a:lnTo>
                  <a:pt x="1" y="255"/>
                </a:lnTo>
                <a:lnTo>
                  <a:pt x="0" y="255"/>
                </a:lnTo>
                <a:lnTo>
                  <a:pt x="0" y="255"/>
                </a:lnTo>
                <a:lnTo>
                  <a:pt x="0" y="256"/>
                </a:lnTo>
                <a:lnTo>
                  <a:pt x="1" y="261"/>
                </a:lnTo>
                <a:lnTo>
                  <a:pt x="7" y="271"/>
                </a:lnTo>
                <a:lnTo>
                  <a:pt x="14" y="282"/>
                </a:lnTo>
                <a:lnTo>
                  <a:pt x="16" y="288"/>
                </a:lnTo>
                <a:lnTo>
                  <a:pt x="17" y="290"/>
                </a:lnTo>
                <a:lnTo>
                  <a:pt x="17" y="290"/>
                </a:lnTo>
                <a:lnTo>
                  <a:pt x="17" y="295"/>
                </a:lnTo>
                <a:lnTo>
                  <a:pt x="18" y="298"/>
                </a:lnTo>
                <a:lnTo>
                  <a:pt x="24" y="305"/>
                </a:lnTo>
                <a:lnTo>
                  <a:pt x="28" y="312"/>
                </a:lnTo>
                <a:lnTo>
                  <a:pt x="30" y="316"/>
                </a:lnTo>
                <a:lnTo>
                  <a:pt x="30" y="322"/>
                </a:lnTo>
                <a:lnTo>
                  <a:pt x="30" y="322"/>
                </a:lnTo>
                <a:lnTo>
                  <a:pt x="30" y="326"/>
                </a:lnTo>
                <a:lnTo>
                  <a:pt x="31" y="332"/>
                </a:lnTo>
                <a:lnTo>
                  <a:pt x="35" y="343"/>
                </a:lnTo>
                <a:lnTo>
                  <a:pt x="44" y="357"/>
                </a:lnTo>
                <a:lnTo>
                  <a:pt x="44" y="357"/>
                </a:lnTo>
                <a:lnTo>
                  <a:pt x="44" y="362"/>
                </a:lnTo>
                <a:lnTo>
                  <a:pt x="43" y="366"/>
                </a:lnTo>
                <a:lnTo>
                  <a:pt x="41" y="373"/>
                </a:lnTo>
                <a:lnTo>
                  <a:pt x="41" y="379"/>
                </a:lnTo>
                <a:lnTo>
                  <a:pt x="41" y="379"/>
                </a:lnTo>
                <a:lnTo>
                  <a:pt x="41" y="386"/>
                </a:lnTo>
                <a:lnTo>
                  <a:pt x="38" y="390"/>
                </a:lnTo>
                <a:lnTo>
                  <a:pt x="35" y="391"/>
                </a:lnTo>
                <a:lnTo>
                  <a:pt x="31" y="393"/>
                </a:lnTo>
                <a:lnTo>
                  <a:pt x="31" y="393"/>
                </a:lnTo>
                <a:lnTo>
                  <a:pt x="30" y="393"/>
                </a:lnTo>
                <a:lnTo>
                  <a:pt x="28" y="394"/>
                </a:lnTo>
                <a:lnTo>
                  <a:pt x="28" y="397"/>
                </a:lnTo>
                <a:lnTo>
                  <a:pt x="31" y="401"/>
                </a:lnTo>
                <a:lnTo>
                  <a:pt x="35" y="403"/>
                </a:lnTo>
                <a:lnTo>
                  <a:pt x="35" y="403"/>
                </a:lnTo>
                <a:lnTo>
                  <a:pt x="40" y="404"/>
                </a:lnTo>
                <a:lnTo>
                  <a:pt x="41" y="407"/>
                </a:lnTo>
                <a:lnTo>
                  <a:pt x="44" y="410"/>
                </a:lnTo>
                <a:lnTo>
                  <a:pt x="47" y="413"/>
                </a:lnTo>
                <a:lnTo>
                  <a:pt x="47" y="413"/>
                </a:lnTo>
                <a:lnTo>
                  <a:pt x="54" y="416"/>
                </a:lnTo>
                <a:lnTo>
                  <a:pt x="64" y="417"/>
                </a:lnTo>
                <a:lnTo>
                  <a:pt x="78" y="417"/>
                </a:lnTo>
                <a:lnTo>
                  <a:pt x="78" y="417"/>
                </a:lnTo>
                <a:lnTo>
                  <a:pt x="82" y="416"/>
                </a:lnTo>
                <a:lnTo>
                  <a:pt x="85" y="411"/>
                </a:lnTo>
                <a:lnTo>
                  <a:pt x="89" y="408"/>
                </a:lnTo>
                <a:lnTo>
                  <a:pt x="95" y="407"/>
                </a:lnTo>
                <a:lnTo>
                  <a:pt x="95" y="407"/>
                </a:lnTo>
                <a:lnTo>
                  <a:pt x="99" y="406"/>
                </a:lnTo>
                <a:lnTo>
                  <a:pt x="102" y="404"/>
                </a:lnTo>
                <a:lnTo>
                  <a:pt x="107" y="399"/>
                </a:lnTo>
                <a:lnTo>
                  <a:pt x="107" y="399"/>
                </a:lnTo>
                <a:lnTo>
                  <a:pt x="108" y="397"/>
                </a:lnTo>
                <a:lnTo>
                  <a:pt x="111" y="397"/>
                </a:lnTo>
                <a:lnTo>
                  <a:pt x="121" y="396"/>
                </a:lnTo>
                <a:lnTo>
                  <a:pt x="148" y="397"/>
                </a:lnTo>
                <a:lnTo>
                  <a:pt x="148" y="397"/>
                </a:lnTo>
                <a:lnTo>
                  <a:pt x="159" y="396"/>
                </a:lnTo>
                <a:lnTo>
                  <a:pt x="168" y="394"/>
                </a:lnTo>
                <a:lnTo>
                  <a:pt x="173" y="390"/>
                </a:lnTo>
                <a:lnTo>
                  <a:pt x="178" y="384"/>
                </a:lnTo>
                <a:lnTo>
                  <a:pt x="178" y="384"/>
                </a:lnTo>
                <a:lnTo>
                  <a:pt x="179" y="381"/>
                </a:lnTo>
                <a:lnTo>
                  <a:pt x="181" y="380"/>
                </a:lnTo>
                <a:lnTo>
                  <a:pt x="186" y="377"/>
                </a:lnTo>
                <a:lnTo>
                  <a:pt x="193" y="376"/>
                </a:lnTo>
                <a:lnTo>
                  <a:pt x="199" y="372"/>
                </a:lnTo>
                <a:lnTo>
                  <a:pt x="199" y="372"/>
                </a:lnTo>
                <a:lnTo>
                  <a:pt x="202" y="369"/>
                </a:lnTo>
                <a:lnTo>
                  <a:pt x="208" y="367"/>
                </a:lnTo>
                <a:lnTo>
                  <a:pt x="213" y="367"/>
                </a:lnTo>
                <a:lnTo>
                  <a:pt x="222" y="367"/>
                </a:lnTo>
                <a:lnTo>
                  <a:pt x="222" y="367"/>
                </a:lnTo>
                <a:lnTo>
                  <a:pt x="232" y="367"/>
                </a:lnTo>
                <a:lnTo>
                  <a:pt x="242" y="364"/>
                </a:lnTo>
                <a:lnTo>
                  <a:pt x="257" y="357"/>
                </a:lnTo>
                <a:lnTo>
                  <a:pt x="257" y="357"/>
                </a:lnTo>
                <a:lnTo>
                  <a:pt x="266" y="356"/>
                </a:lnTo>
                <a:lnTo>
                  <a:pt x="274" y="354"/>
                </a:lnTo>
                <a:lnTo>
                  <a:pt x="284" y="354"/>
                </a:lnTo>
                <a:lnTo>
                  <a:pt x="291" y="353"/>
                </a:lnTo>
                <a:lnTo>
                  <a:pt x="291" y="353"/>
                </a:lnTo>
                <a:lnTo>
                  <a:pt x="294" y="353"/>
                </a:lnTo>
                <a:lnTo>
                  <a:pt x="297" y="353"/>
                </a:lnTo>
                <a:lnTo>
                  <a:pt x="301" y="357"/>
                </a:lnTo>
                <a:lnTo>
                  <a:pt x="306" y="362"/>
                </a:lnTo>
                <a:lnTo>
                  <a:pt x="309" y="363"/>
                </a:lnTo>
                <a:lnTo>
                  <a:pt x="311" y="363"/>
                </a:lnTo>
                <a:lnTo>
                  <a:pt x="311" y="363"/>
                </a:lnTo>
                <a:lnTo>
                  <a:pt x="317" y="363"/>
                </a:lnTo>
                <a:lnTo>
                  <a:pt x="323" y="363"/>
                </a:lnTo>
                <a:lnTo>
                  <a:pt x="326" y="364"/>
                </a:lnTo>
                <a:lnTo>
                  <a:pt x="330" y="364"/>
                </a:lnTo>
                <a:lnTo>
                  <a:pt x="330" y="364"/>
                </a:lnTo>
                <a:lnTo>
                  <a:pt x="333" y="366"/>
                </a:lnTo>
                <a:lnTo>
                  <a:pt x="334" y="367"/>
                </a:lnTo>
                <a:lnTo>
                  <a:pt x="337" y="369"/>
                </a:lnTo>
                <a:lnTo>
                  <a:pt x="340" y="370"/>
                </a:lnTo>
                <a:lnTo>
                  <a:pt x="340" y="370"/>
                </a:lnTo>
                <a:lnTo>
                  <a:pt x="343" y="372"/>
                </a:lnTo>
                <a:lnTo>
                  <a:pt x="343" y="373"/>
                </a:lnTo>
                <a:lnTo>
                  <a:pt x="343" y="376"/>
                </a:lnTo>
                <a:lnTo>
                  <a:pt x="340" y="380"/>
                </a:lnTo>
                <a:lnTo>
                  <a:pt x="340" y="380"/>
                </a:lnTo>
                <a:lnTo>
                  <a:pt x="340" y="381"/>
                </a:lnTo>
                <a:lnTo>
                  <a:pt x="340" y="383"/>
                </a:lnTo>
                <a:lnTo>
                  <a:pt x="344" y="384"/>
                </a:lnTo>
                <a:lnTo>
                  <a:pt x="348" y="387"/>
                </a:lnTo>
                <a:lnTo>
                  <a:pt x="354" y="393"/>
                </a:lnTo>
                <a:lnTo>
                  <a:pt x="354" y="393"/>
                </a:lnTo>
                <a:lnTo>
                  <a:pt x="357" y="399"/>
                </a:lnTo>
                <a:lnTo>
                  <a:pt x="358" y="403"/>
                </a:lnTo>
                <a:lnTo>
                  <a:pt x="357" y="407"/>
                </a:lnTo>
                <a:lnTo>
                  <a:pt x="358" y="411"/>
                </a:lnTo>
                <a:lnTo>
                  <a:pt x="358" y="411"/>
                </a:lnTo>
                <a:lnTo>
                  <a:pt x="361" y="414"/>
                </a:lnTo>
                <a:lnTo>
                  <a:pt x="364" y="416"/>
                </a:lnTo>
                <a:lnTo>
                  <a:pt x="367" y="413"/>
                </a:lnTo>
                <a:lnTo>
                  <a:pt x="371" y="406"/>
                </a:lnTo>
                <a:lnTo>
                  <a:pt x="371" y="406"/>
                </a:lnTo>
                <a:lnTo>
                  <a:pt x="374" y="403"/>
                </a:lnTo>
                <a:lnTo>
                  <a:pt x="377" y="401"/>
                </a:lnTo>
                <a:lnTo>
                  <a:pt x="383" y="400"/>
                </a:lnTo>
                <a:lnTo>
                  <a:pt x="385" y="399"/>
                </a:lnTo>
                <a:lnTo>
                  <a:pt x="387" y="397"/>
                </a:lnTo>
                <a:lnTo>
                  <a:pt x="388" y="394"/>
                </a:lnTo>
                <a:lnTo>
                  <a:pt x="388" y="394"/>
                </a:lnTo>
                <a:lnTo>
                  <a:pt x="390" y="387"/>
                </a:lnTo>
                <a:lnTo>
                  <a:pt x="392" y="383"/>
                </a:lnTo>
                <a:lnTo>
                  <a:pt x="397" y="379"/>
                </a:lnTo>
                <a:lnTo>
                  <a:pt x="400" y="379"/>
                </a:lnTo>
                <a:lnTo>
                  <a:pt x="401" y="380"/>
                </a:lnTo>
                <a:lnTo>
                  <a:pt x="401" y="380"/>
                </a:lnTo>
                <a:lnTo>
                  <a:pt x="402" y="381"/>
                </a:lnTo>
                <a:lnTo>
                  <a:pt x="402" y="383"/>
                </a:lnTo>
                <a:lnTo>
                  <a:pt x="401" y="387"/>
                </a:lnTo>
                <a:lnTo>
                  <a:pt x="398" y="393"/>
                </a:lnTo>
                <a:lnTo>
                  <a:pt x="394" y="403"/>
                </a:lnTo>
                <a:lnTo>
                  <a:pt x="394" y="403"/>
                </a:lnTo>
                <a:lnTo>
                  <a:pt x="391" y="411"/>
                </a:lnTo>
                <a:lnTo>
                  <a:pt x="390" y="413"/>
                </a:lnTo>
                <a:lnTo>
                  <a:pt x="388" y="413"/>
                </a:lnTo>
                <a:lnTo>
                  <a:pt x="385" y="414"/>
                </a:lnTo>
                <a:lnTo>
                  <a:pt x="385" y="414"/>
                </a:lnTo>
                <a:lnTo>
                  <a:pt x="384" y="416"/>
                </a:lnTo>
                <a:lnTo>
                  <a:pt x="384" y="416"/>
                </a:lnTo>
                <a:lnTo>
                  <a:pt x="385" y="417"/>
                </a:lnTo>
                <a:lnTo>
                  <a:pt x="387" y="418"/>
                </a:lnTo>
                <a:lnTo>
                  <a:pt x="391" y="420"/>
                </a:lnTo>
                <a:lnTo>
                  <a:pt x="397" y="418"/>
                </a:lnTo>
                <a:lnTo>
                  <a:pt x="398" y="417"/>
                </a:lnTo>
                <a:lnTo>
                  <a:pt x="400" y="414"/>
                </a:lnTo>
                <a:lnTo>
                  <a:pt x="400" y="414"/>
                </a:lnTo>
                <a:lnTo>
                  <a:pt x="400" y="408"/>
                </a:lnTo>
                <a:lnTo>
                  <a:pt x="401" y="406"/>
                </a:lnTo>
                <a:lnTo>
                  <a:pt x="402" y="404"/>
                </a:lnTo>
                <a:lnTo>
                  <a:pt x="404" y="406"/>
                </a:lnTo>
                <a:lnTo>
                  <a:pt x="408" y="408"/>
                </a:lnTo>
                <a:lnTo>
                  <a:pt x="408" y="408"/>
                </a:lnTo>
                <a:lnTo>
                  <a:pt x="410" y="411"/>
                </a:lnTo>
                <a:lnTo>
                  <a:pt x="411" y="414"/>
                </a:lnTo>
                <a:lnTo>
                  <a:pt x="410" y="420"/>
                </a:lnTo>
                <a:lnTo>
                  <a:pt x="407" y="424"/>
                </a:lnTo>
                <a:lnTo>
                  <a:pt x="407" y="427"/>
                </a:lnTo>
                <a:lnTo>
                  <a:pt x="407" y="427"/>
                </a:lnTo>
                <a:lnTo>
                  <a:pt x="408" y="428"/>
                </a:lnTo>
                <a:lnTo>
                  <a:pt x="411" y="428"/>
                </a:lnTo>
                <a:lnTo>
                  <a:pt x="415" y="427"/>
                </a:lnTo>
                <a:lnTo>
                  <a:pt x="418" y="426"/>
                </a:lnTo>
                <a:lnTo>
                  <a:pt x="418" y="426"/>
                </a:lnTo>
                <a:lnTo>
                  <a:pt x="421" y="427"/>
                </a:lnTo>
                <a:lnTo>
                  <a:pt x="422" y="428"/>
                </a:lnTo>
                <a:lnTo>
                  <a:pt x="428" y="434"/>
                </a:lnTo>
                <a:lnTo>
                  <a:pt x="431" y="441"/>
                </a:lnTo>
                <a:lnTo>
                  <a:pt x="431" y="448"/>
                </a:lnTo>
                <a:lnTo>
                  <a:pt x="431" y="448"/>
                </a:lnTo>
                <a:lnTo>
                  <a:pt x="431" y="454"/>
                </a:lnTo>
                <a:lnTo>
                  <a:pt x="431" y="460"/>
                </a:lnTo>
                <a:lnTo>
                  <a:pt x="434" y="464"/>
                </a:lnTo>
                <a:lnTo>
                  <a:pt x="439" y="468"/>
                </a:lnTo>
                <a:lnTo>
                  <a:pt x="439" y="468"/>
                </a:lnTo>
                <a:lnTo>
                  <a:pt x="447" y="473"/>
                </a:lnTo>
                <a:lnTo>
                  <a:pt x="449" y="475"/>
                </a:lnTo>
                <a:lnTo>
                  <a:pt x="452" y="475"/>
                </a:lnTo>
                <a:lnTo>
                  <a:pt x="457" y="475"/>
                </a:lnTo>
                <a:lnTo>
                  <a:pt x="457" y="475"/>
                </a:lnTo>
                <a:lnTo>
                  <a:pt x="465" y="477"/>
                </a:lnTo>
                <a:lnTo>
                  <a:pt x="474" y="480"/>
                </a:lnTo>
                <a:lnTo>
                  <a:pt x="482" y="484"/>
                </a:lnTo>
                <a:lnTo>
                  <a:pt x="489" y="487"/>
                </a:lnTo>
                <a:lnTo>
                  <a:pt x="489" y="487"/>
                </a:lnTo>
                <a:lnTo>
                  <a:pt x="491" y="488"/>
                </a:lnTo>
                <a:lnTo>
                  <a:pt x="494" y="488"/>
                </a:lnTo>
                <a:lnTo>
                  <a:pt x="499" y="487"/>
                </a:lnTo>
                <a:lnTo>
                  <a:pt x="505" y="481"/>
                </a:lnTo>
                <a:lnTo>
                  <a:pt x="509" y="475"/>
                </a:lnTo>
                <a:lnTo>
                  <a:pt x="509" y="475"/>
                </a:lnTo>
                <a:lnTo>
                  <a:pt x="511" y="473"/>
                </a:lnTo>
                <a:lnTo>
                  <a:pt x="512" y="473"/>
                </a:lnTo>
                <a:lnTo>
                  <a:pt x="513" y="473"/>
                </a:lnTo>
                <a:lnTo>
                  <a:pt x="515" y="473"/>
                </a:lnTo>
                <a:lnTo>
                  <a:pt x="518" y="475"/>
                </a:lnTo>
                <a:lnTo>
                  <a:pt x="516" y="477"/>
                </a:lnTo>
                <a:lnTo>
                  <a:pt x="516" y="478"/>
                </a:lnTo>
                <a:lnTo>
                  <a:pt x="516" y="478"/>
                </a:lnTo>
                <a:lnTo>
                  <a:pt x="515" y="480"/>
                </a:lnTo>
                <a:lnTo>
                  <a:pt x="513" y="481"/>
                </a:lnTo>
                <a:lnTo>
                  <a:pt x="515" y="484"/>
                </a:lnTo>
                <a:lnTo>
                  <a:pt x="518" y="485"/>
                </a:lnTo>
                <a:lnTo>
                  <a:pt x="518" y="484"/>
                </a:lnTo>
                <a:lnTo>
                  <a:pt x="519" y="482"/>
                </a:lnTo>
                <a:lnTo>
                  <a:pt x="519" y="482"/>
                </a:lnTo>
                <a:lnTo>
                  <a:pt x="521" y="478"/>
                </a:lnTo>
                <a:lnTo>
                  <a:pt x="522" y="477"/>
                </a:lnTo>
                <a:lnTo>
                  <a:pt x="523" y="480"/>
                </a:lnTo>
                <a:lnTo>
                  <a:pt x="523" y="480"/>
                </a:lnTo>
                <a:lnTo>
                  <a:pt x="525" y="482"/>
                </a:lnTo>
                <a:lnTo>
                  <a:pt x="528" y="485"/>
                </a:lnTo>
                <a:lnTo>
                  <a:pt x="530" y="487"/>
                </a:lnTo>
                <a:lnTo>
                  <a:pt x="533" y="490"/>
                </a:lnTo>
                <a:lnTo>
                  <a:pt x="533" y="490"/>
                </a:lnTo>
                <a:lnTo>
                  <a:pt x="538" y="494"/>
                </a:lnTo>
                <a:lnTo>
                  <a:pt x="539" y="495"/>
                </a:lnTo>
                <a:lnTo>
                  <a:pt x="539" y="494"/>
                </a:lnTo>
                <a:lnTo>
                  <a:pt x="539" y="494"/>
                </a:lnTo>
                <a:lnTo>
                  <a:pt x="539" y="491"/>
                </a:lnTo>
                <a:lnTo>
                  <a:pt x="540" y="488"/>
                </a:lnTo>
                <a:lnTo>
                  <a:pt x="542" y="487"/>
                </a:lnTo>
                <a:lnTo>
                  <a:pt x="546" y="484"/>
                </a:lnTo>
                <a:lnTo>
                  <a:pt x="546" y="484"/>
                </a:lnTo>
                <a:lnTo>
                  <a:pt x="553" y="480"/>
                </a:lnTo>
                <a:lnTo>
                  <a:pt x="562" y="474"/>
                </a:lnTo>
                <a:lnTo>
                  <a:pt x="562" y="474"/>
                </a:lnTo>
                <a:lnTo>
                  <a:pt x="565" y="471"/>
                </a:lnTo>
                <a:lnTo>
                  <a:pt x="569" y="471"/>
                </a:lnTo>
                <a:lnTo>
                  <a:pt x="579" y="468"/>
                </a:lnTo>
                <a:lnTo>
                  <a:pt x="595" y="467"/>
                </a:lnTo>
                <a:lnTo>
                  <a:pt x="595" y="467"/>
                </a:lnTo>
                <a:lnTo>
                  <a:pt x="596" y="464"/>
                </a:lnTo>
                <a:lnTo>
                  <a:pt x="597" y="455"/>
                </a:lnTo>
                <a:lnTo>
                  <a:pt x="600" y="436"/>
                </a:lnTo>
                <a:lnTo>
                  <a:pt x="600" y="436"/>
                </a:lnTo>
                <a:lnTo>
                  <a:pt x="602" y="428"/>
                </a:lnTo>
                <a:lnTo>
                  <a:pt x="606" y="423"/>
                </a:lnTo>
                <a:lnTo>
                  <a:pt x="610" y="417"/>
                </a:lnTo>
                <a:lnTo>
                  <a:pt x="612" y="410"/>
                </a:lnTo>
                <a:lnTo>
                  <a:pt x="612" y="410"/>
                </a:lnTo>
                <a:lnTo>
                  <a:pt x="614" y="400"/>
                </a:lnTo>
                <a:lnTo>
                  <a:pt x="620" y="389"/>
                </a:lnTo>
                <a:lnTo>
                  <a:pt x="626" y="380"/>
                </a:lnTo>
                <a:lnTo>
                  <a:pt x="629" y="376"/>
                </a:lnTo>
                <a:lnTo>
                  <a:pt x="629" y="376"/>
                </a:lnTo>
                <a:lnTo>
                  <a:pt x="634" y="373"/>
                </a:lnTo>
                <a:lnTo>
                  <a:pt x="637" y="370"/>
                </a:lnTo>
                <a:lnTo>
                  <a:pt x="639" y="364"/>
                </a:lnTo>
                <a:lnTo>
                  <a:pt x="639" y="364"/>
                </a:lnTo>
                <a:lnTo>
                  <a:pt x="640" y="360"/>
                </a:lnTo>
                <a:lnTo>
                  <a:pt x="643" y="354"/>
                </a:lnTo>
                <a:lnTo>
                  <a:pt x="646" y="349"/>
                </a:lnTo>
                <a:lnTo>
                  <a:pt x="647" y="343"/>
                </a:lnTo>
                <a:lnTo>
                  <a:pt x="647" y="343"/>
                </a:lnTo>
                <a:lnTo>
                  <a:pt x="649" y="336"/>
                </a:lnTo>
                <a:lnTo>
                  <a:pt x="650" y="330"/>
                </a:lnTo>
                <a:lnTo>
                  <a:pt x="651" y="326"/>
                </a:lnTo>
                <a:lnTo>
                  <a:pt x="651" y="322"/>
                </a:lnTo>
                <a:lnTo>
                  <a:pt x="651" y="322"/>
                </a:lnTo>
                <a:lnTo>
                  <a:pt x="650" y="316"/>
                </a:lnTo>
                <a:lnTo>
                  <a:pt x="650" y="310"/>
                </a:lnTo>
                <a:lnTo>
                  <a:pt x="653" y="306"/>
                </a:lnTo>
                <a:lnTo>
                  <a:pt x="653" y="306"/>
                </a:lnTo>
                <a:lnTo>
                  <a:pt x="654" y="305"/>
                </a:lnTo>
                <a:lnTo>
                  <a:pt x="654" y="302"/>
                </a:lnTo>
                <a:lnTo>
                  <a:pt x="654" y="298"/>
                </a:lnTo>
                <a:lnTo>
                  <a:pt x="653" y="295"/>
                </a:lnTo>
                <a:lnTo>
                  <a:pt x="653" y="293"/>
                </a:lnTo>
                <a:lnTo>
                  <a:pt x="654" y="292"/>
                </a:lnTo>
                <a:lnTo>
                  <a:pt x="654" y="292"/>
                </a:lnTo>
                <a:close/>
                <a:moveTo>
                  <a:pt x="538" y="534"/>
                </a:moveTo>
                <a:lnTo>
                  <a:pt x="538" y="534"/>
                </a:lnTo>
                <a:lnTo>
                  <a:pt x="530" y="532"/>
                </a:lnTo>
                <a:lnTo>
                  <a:pt x="522" y="529"/>
                </a:lnTo>
                <a:lnTo>
                  <a:pt x="515" y="527"/>
                </a:lnTo>
                <a:lnTo>
                  <a:pt x="511" y="525"/>
                </a:lnTo>
                <a:lnTo>
                  <a:pt x="511" y="525"/>
                </a:lnTo>
                <a:lnTo>
                  <a:pt x="511" y="527"/>
                </a:lnTo>
                <a:lnTo>
                  <a:pt x="511" y="529"/>
                </a:lnTo>
                <a:lnTo>
                  <a:pt x="515" y="539"/>
                </a:lnTo>
                <a:lnTo>
                  <a:pt x="519" y="549"/>
                </a:lnTo>
                <a:lnTo>
                  <a:pt x="519" y="554"/>
                </a:lnTo>
                <a:lnTo>
                  <a:pt x="518" y="558"/>
                </a:lnTo>
                <a:lnTo>
                  <a:pt x="518" y="558"/>
                </a:lnTo>
                <a:lnTo>
                  <a:pt x="518" y="561"/>
                </a:lnTo>
                <a:lnTo>
                  <a:pt x="519" y="564"/>
                </a:lnTo>
                <a:lnTo>
                  <a:pt x="525" y="572"/>
                </a:lnTo>
                <a:lnTo>
                  <a:pt x="533" y="579"/>
                </a:lnTo>
                <a:lnTo>
                  <a:pt x="539" y="582"/>
                </a:lnTo>
                <a:lnTo>
                  <a:pt x="539" y="582"/>
                </a:lnTo>
                <a:lnTo>
                  <a:pt x="543" y="582"/>
                </a:lnTo>
                <a:lnTo>
                  <a:pt x="545" y="579"/>
                </a:lnTo>
                <a:lnTo>
                  <a:pt x="546" y="576"/>
                </a:lnTo>
                <a:lnTo>
                  <a:pt x="549" y="576"/>
                </a:lnTo>
                <a:lnTo>
                  <a:pt x="549" y="576"/>
                </a:lnTo>
                <a:lnTo>
                  <a:pt x="550" y="575"/>
                </a:lnTo>
                <a:lnTo>
                  <a:pt x="552" y="574"/>
                </a:lnTo>
                <a:lnTo>
                  <a:pt x="552" y="568"/>
                </a:lnTo>
                <a:lnTo>
                  <a:pt x="552" y="568"/>
                </a:lnTo>
                <a:lnTo>
                  <a:pt x="552" y="566"/>
                </a:lnTo>
                <a:lnTo>
                  <a:pt x="553" y="566"/>
                </a:lnTo>
                <a:lnTo>
                  <a:pt x="556" y="568"/>
                </a:lnTo>
                <a:lnTo>
                  <a:pt x="558" y="569"/>
                </a:lnTo>
                <a:lnTo>
                  <a:pt x="562" y="569"/>
                </a:lnTo>
                <a:lnTo>
                  <a:pt x="562" y="569"/>
                </a:lnTo>
                <a:lnTo>
                  <a:pt x="562" y="568"/>
                </a:lnTo>
                <a:lnTo>
                  <a:pt x="563" y="566"/>
                </a:lnTo>
                <a:lnTo>
                  <a:pt x="563" y="559"/>
                </a:lnTo>
                <a:lnTo>
                  <a:pt x="563" y="555"/>
                </a:lnTo>
                <a:lnTo>
                  <a:pt x="565" y="552"/>
                </a:lnTo>
                <a:lnTo>
                  <a:pt x="566" y="552"/>
                </a:lnTo>
                <a:lnTo>
                  <a:pt x="566" y="552"/>
                </a:lnTo>
                <a:lnTo>
                  <a:pt x="567" y="551"/>
                </a:lnTo>
                <a:lnTo>
                  <a:pt x="569" y="549"/>
                </a:lnTo>
                <a:lnTo>
                  <a:pt x="569" y="542"/>
                </a:lnTo>
                <a:lnTo>
                  <a:pt x="565" y="528"/>
                </a:lnTo>
                <a:lnTo>
                  <a:pt x="565" y="528"/>
                </a:lnTo>
                <a:lnTo>
                  <a:pt x="563" y="527"/>
                </a:lnTo>
                <a:lnTo>
                  <a:pt x="562" y="525"/>
                </a:lnTo>
                <a:lnTo>
                  <a:pt x="555" y="528"/>
                </a:lnTo>
                <a:lnTo>
                  <a:pt x="546" y="531"/>
                </a:lnTo>
                <a:lnTo>
                  <a:pt x="538" y="534"/>
                </a:lnTo>
                <a:lnTo>
                  <a:pt x="538" y="53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50" name="Freeform 338">
            <a:extLst>
              <a:ext uri="{FF2B5EF4-FFF2-40B4-BE49-F238E27FC236}">
                <a16:creationId xmlns:a16="http://schemas.microsoft.com/office/drawing/2014/main" id="{C406DFDA-D81C-78A7-A561-15BB45326388}"/>
              </a:ext>
            </a:extLst>
          </p:cNvPr>
          <p:cNvSpPr>
            <a:spLocks noEditPoints="1"/>
          </p:cNvSpPr>
          <p:nvPr userDrawn="1"/>
        </p:nvSpPr>
        <p:spPr bwMode="gray">
          <a:xfrm>
            <a:off x="7808966" y="4117151"/>
            <a:ext cx="253600" cy="297817"/>
          </a:xfrm>
          <a:custGeom>
            <a:avLst/>
            <a:gdLst/>
            <a:ahLst/>
            <a:cxnLst>
              <a:cxn ang="0">
                <a:pos x="114" y="115"/>
              </a:cxn>
              <a:cxn ang="0">
                <a:pos x="104" y="120"/>
              </a:cxn>
              <a:cxn ang="0">
                <a:pos x="92" y="114"/>
              </a:cxn>
              <a:cxn ang="0">
                <a:pos x="87" y="124"/>
              </a:cxn>
              <a:cxn ang="0">
                <a:pos x="78" y="135"/>
              </a:cxn>
              <a:cxn ang="0">
                <a:pos x="67" y="155"/>
              </a:cxn>
              <a:cxn ang="0">
                <a:pos x="30" y="177"/>
              </a:cxn>
              <a:cxn ang="0">
                <a:pos x="14" y="189"/>
              </a:cxn>
              <a:cxn ang="0">
                <a:pos x="5" y="198"/>
              </a:cxn>
              <a:cxn ang="0">
                <a:pos x="0" y="214"/>
              </a:cxn>
              <a:cxn ang="0">
                <a:pos x="8" y="219"/>
              </a:cxn>
              <a:cxn ang="0">
                <a:pos x="20" y="224"/>
              </a:cxn>
              <a:cxn ang="0">
                <a:pos x="28" y="226"/>
              </a:cxn>
              <a:cxn ang="0">
                <a:pos x="48" y="226"/>
              </a:cxn>
              <a:cxn ang="0">
                <a:pos x="64" y="212"/>
              </a:cxn>
              <a:cxn ang="0">
                <a:pos x="68" y="201"/>
              </a:cxn>
              <a:cxn ang="0">
                <a:pos x="77" y="185"/>
              </a:cxn>
              <a:cxn ang="0">
                <a:pos x="94" y="174"/>
              </a:cxn>
              <a:cxn ang="0">
                <a:pos x="102" y="172"/>
              </a:cxn>
              <a:cxn ang="0">
                <a:pos x="99" y="162"/>
              </a:cxn>
              <a:cxn ang="0">
                <a:pos x="109" y="152"/>
              </a:cxn>
              <a:cxn ang="0">
                <a:pos x="112" y="144"/>
              </a:cxn>
              <a:cxn ang="0">
                <a:pos x="122" y="130"/>
              </a:cxn>
              <a:cxn ang="0">
                <a:pos x="122" y="118"/>
              </a:cxn>
              <a:cxn ang="0">
                <a:pos x="178" y="59"/>
              </a:cxn>
              <a:cxn ang="0">
                <a:pos x="168" y="59"/>
              </a:cxn>
              <a:cxn ang="0">
                <a:pos x="155" y="54"/>
              </a:cxn>
              <a:cxn ang="0">
                <a:pos x="152" y="43"/>
              </a:cxn>
              <a:cxn ang="0">
                <a:pos x="146" y="34"/>
              </a:cxn>
              <a:cxn ang="0">
                <a:pos x="145" y="41"/>
              </a:cxn>
              <a:cxn ang="0">
                <a:pos x="142" y="43"/>
              </a:cxn>
              <a:cxn ang="0">
                <a:pos x="136" y="40"/>
              </a:cxn>
              <a:cxn ang="0">
                <a:pos x="134" y="30"/>
              </a:cxn>
              <a:cxn ang="0">
                <a:pos x="126" y="14"/>
              </a:cxn>
              <a:cxn ang="0">
                <a:pos x="119" y="4"/>
              </a:cxn>
              <a:cxn ang="0">
                <a:pos x="105" y="2"/>
              </a:cxn>
              <a:cxn ang="0">
                <a:pos x="112" y="17"/>
              </a:cxn>
              <a:cxn ang="0">
                <a:pos x="124" y="29"/>
              </a:cxn>
              <a:cxn ang="0">
                <a:pos x="129" y="40"/>
              </a:cxn>
              <a:cxn ang="0">
                <a:pos x="134" y="44"/>
              </a:cxn>
              <a:cxn ang="0">
                <a:pos x="131" y="66"/>
              </a:cxn>
              <a:cxn ang="0">
                <a:pos x="116" y="80"/>
              </a:cxn>
              <a:cxn ang="0">
                <a:pos x="122" y="90"/>
              </a:cxn>
              <a:cxn ang="0">
                <a:pos x="141" y="103"/>
              </a:cxn>
              <a:cxn ang="0">
                <a:pos x="134" y="123"/>
              </a:cxn>
              <a:cxn ang="0">
                <a:pos x="138" y="127"/>
              </a:cxn>
              <a:cxn ang="0">
                <a:pos x="151" y="125"/>
              </a:cxn>
              <a:cxn ang="0">
                <a:pos x="166" y="103"/>
              </a:cxn>
              <a:cxn ang="0">
                <a:pos x="171" y="88"/>
              </a:cxn>
              <a:cxn ang="0">
                <a:pos x="176" y="83"/>
              </a:cxn>
              <a:cxn ang="0">
                <a:pos x="183" y="80"/>
              </a:cxn>
              <a:cxn ang="0">
                <a:pos x="189" y="73"/>
              </a:cxn>
              <a:cxn ang="0">
                <a:pos x="192" y="63"/>
              </a:cxn>
              <a:cxn ang="0">
                <a:pos x="193" y="54"/>
              </a:cxn>
              <a:cxn ang="0">
                <a:pos x="178" y="59"/>
              </a:cxn>
            </a:cxnLst>
            <a:rect l="0" t="0" r="r" b="b"/>
            <a:pathLst>
              <a:path w="195" h="229">
                <a:moveTo>
                  <a:pt x="121" y="115"/>
                </a:moveTo>
                <a:lnTo>
                  <a:pt x="121" y="115"/>
                </a:lnTo>
                <a:lnTo>
                  <a:pt x="116" y="115"/>
                </a:lnTo>
                <a:lnTo>
                  <a:pt x="114" y="115"/>
                </a:lnTo>
                <a:lnTo>
                  <a:pt x="108" y="120"/>
                </a:lnTo>
                <a:lnTo>
                  <a:pt x="108" y="120"/>
                </a:lnTo>
                <a:lnTo>
                  <a:pt x="105" y="120"/>
                </a:lnTo>
                <a:lnTo>
                  <a:pt x="104" y="120"/>
                </a:lnTo>
                <a:lnTo>
                  <a:pt x="99" y="115"/>
                </a:lnTo>
                <a:lnTo>
                  <a:pt x="97" y="113"/>
                </a:lnTo>
                <a:lnTo>
                  <a:pt x="94" y="113"/>
                </a:lnTo>
                <a:lnTo>
                  <a:pt x="92" y="114"/>
                </a:lnTo>
                <a:lnTo>
                  <a:pt x="92" y="114"/>
                </a:lnTo>
                <a:lnTo>
                  <a:pt x="88" y="117"/>
                </a:lnTo>
                <a:lnTo>
                  <a:pt x="88" y="120"/>
                </a:lnTo>
                <a:lnTo>
                  <a:pt x="87" y="124"/>
                </a:lnTo>
                <a:lnTo>
                  <a:pt x="84" y="127"/>
                </a:lnTo>
                <a:lnTo>
                  <a:pt x="84" y="127"/>
                </a:lnTo>
                <a:lnTo>
                  <a:pt x="79" y="131"/>
                </a:lnTo>
                <a:lnTo>
                  <a:pt x="78" y="135"/>
                </a:lnTo>
                <a:lnTo>
                  <a:pt x="75" y="141"/>
                </a:lnTo>
                <a:lnTo>
                  <a:pt x="71" y="150"/>
                </a:lnTo>
                <a:lnTo>
                  <a:pt x="71" y="150"/>
                </a:lnTo>
                <a:lnTo>
                  <a:pt x="67" y="155"/>
                </a:lnTo>
                <a:lnTo>
                  <a:pt x="61" y="160"/>
                </a:lnTo>
                <a:lnTo>
                  <a:pt x="47" y="167"/>
                </a:lnTo>
                <a:lnTo>
                  <a:pt x="34" y="174"/>
                </a:lnTo>
                <a:lnTo>
                  <a:pt x="30" y="177"/>
                </a:lnTo>
                <a:lnTo>
                  <a:pt x="27" y="179"/>
                </a:lnTo>
                <a:lnTo>
                  <a:pt x="27" y="179"/>
                </a:lnTo>
                <a:lnTo>
                  <a:pt x="21" y="184"/>
                </a:lnTo>
                <a:lnTo>
                  <a:pt x="14" y="189"/>
                </a:lnTo>
                <a:lnTo>
                  <a:pt x="8" y="194"/>
                </a:lnTo>
                <a:lnTo>
                  <a:pt x="7" y="197"/>
                </a:lnTo>
                <a:lnTo>
                  <a:pt x="5" y="198"/>
                </a:lnTo>
                <a:lnTo>
                  <a:pt x="5" y="198"/>
                </a:lnTo>
                <a:lnTo>
                  <a:pt x="4" y="202"/>
                </a:lnTo>
                <a:lnTo>
                  <a:pt x="1" y="206"/>
                </a:lnTo>
                <a:lnTo>
                  <a:pt x="0" y="211"/>
                </a:lnTo>
                <a:lnTo>
                  <a:pt x="0" y="214"/>
                </a:lnTo>
                <a:lnTo>
                  <a:pt x="1" y="215"/>
                </a:lnTo>
                <a:lnTo>
                  <a:pt x="1" y="215"/>
                </a:lnTo>
                <a:lnTo>
                  <a:pt x="5" y="218"/>
                </a:lnTo>
                <a:lnTo>
                  <a:pt x="8" y="219"/>
                </a:lnTo>
                <a:lnTo>
                  <a:pt x="13" y="219"/>
                </a:lnTo>
                <a:lnTo>
                  <a:pt x="17" y="222"/>
                </a:lnTo>
                <a:lnTo>
                  <a:pt x="17" y="222"/>
                </a:lnTo>
                <a:lnTo>
                  <a:pt x="20" y="224"/>
                </a:lnTo>
                <a:lnTo>
                  <a:pt x="23" y="225"/>
                </a:lnTo>
                <a:lnTo>
                  <a:pt x="25" y="225"/>
                </a:lnTo>
                <a:lnTo>
                  <a:pt x="28" y="226"/>
                </a:lnTo>
                <a:lnTo>
                  <a:pt x="28" y="226"/>
                </a:lnTo>
                <a:lnTo>
                  <a:pt x="30" y="228"/>
                </a:lnTo>
                <a:lnTo>
                  <a:pt x="31" y="229"/>
                </a:lnTo>
                <a:lnTo>
                  <a:pt x="38" y="229"/>
                </a:lnTo>
                <a:lnTo>
                  <a:pt x="48" y="226"/>
                </a:lnTo>
                <a:lnTo>
                  <a:pt x="52" y="224"/>
                </a:lnTo>
                <a:lnTo>
                  <a:pt x="57" y="219"/>
                </a:lnTo>
                <a:lnTo>
                  <a:pt x="57" y="219"/>
                </a:lnTo>
                <a:lnTo>
                  <a:pt x="64" y="212"/>
                </a:lnTo>
                <a:lnTo>
                  <a:pt x="65" y="208"/>
                </a:lnTo>
                <a:lnTo>
                  <a:pt x="65" y="204"/>
                </a:lnTo>
                <a:lnTo>
                  <a:pt x="68" y="201"/>
                </a:lnTo>
                <a:lnTo>
                  <a:pt x="68" y="201"/>
                </a:lnTo>
                <a:lnTo>
                  <a:pt x="71" y="198"/>
                </a:lnTo>
                <a:lnTo>
                  <a:pt x="72" y="194"/>
                </a:lnTo>
                <a:lnTo>
                  <a:pt x="77" y="185"/>
                </a:lnTo>
                <a:lnTo>
                  <a:pt x="77" y="185"/>
                </a:lnTo>
                <a:lnTo>
                  <a:pt x="78" y="181"/>
                </a:lnTo>
                <a:lnTo>
                  <a:pt x="81" y="177"/>
                </a:lnTo>
                <a:lnTo>
                  <a:pt x="87" y="175"/>
                </a:lnTo>
                <a:lnTo>
                  <a:pt x="94" y="174"/>
                </a:lnTo>
                <a:lnTo>
                  <a:pt x="94" y="174"/>
                </a:lnTo>
                <a:lnTo>
                  <a:pt x="101" y="174"/>
                </a:lnTo>
                <a:lnTo>
                  <a:pt x="101" y="172"/>
                </a:lnTo>
                <a:lnTo>
                  <a:pt x="102" y="172"/>
                </a:lnTo>
                <a:lnTo>
                  <a:pt x="101" y="169"/>
                </a:lnTo>
                <a:lnTo>
                  <a:pt x="99" y="165"/>
                </a:lnTo>
                <a:lnTo>
                  <a:pt x="99" y="165"/>
                </a:lnTo>
                <a:lnTo>
                  <a:pt x="99" y="162"/>
                </a:lnTo>
                <a:lnTo>
                  <a:pt x="101" y="161"/>
                </a:lnTo>
                <a:lnTo>
                  <a:pt x="104" y="158"/>
                </a:lnTo>
                <a:lnTo>
                  <a:pt x="108" y="155"/>
                </a:lnTo>
                <a:lnTo>
                  <a:pt x="109" y="152"/>
                </a:lnTo>
                <a:lnTo>
                  <a:pt x="109" y="150"/>
                </a:lnTo>
                <a:lnTo>
                  <a:pt x="109" y="150"/>
                </a:lnTo>
                <a:lnTo>
                  <a:pt x="111" y="147"/>
                </a:lnTo>
                <a:lnTo>
                  <a:pt x="112" y="144"/>
                </a:lnTo>
                <a:lnTo>
                  <a:pt x="118" y="140"/>
                </a:lnTo>
                <a:lnTo>
                  <a:pt x="122" y="134"/>
                </a:lnTo>
                <a:lnTo>
                  <a:pt x="122" y="131"/>
                </a:lnTo>
                <a:lnTo>
                  <a:pt x="122" y="130"/>
                </a:lnTo>
                <a:lnTo>
                  <a:pt x="122" y="130"/>
                </a:lnTo>
                <a:lnTo>
                  <a:pt x="121" y="125"/>
                </a:lnTo>
                <a:lnTo>
                  <a:pt x="122" y="121"/>
                </a:lnTo>
                <a:lnTo>
                  <a:pt x="122" y="118"/>
                </a:lnTo>
                <a:lnTo>
                  <a:pt x="121" y="115"/>
                </a:lnTo>
                <a:lnTo>
                  <a:pt x="121" y="115"/>
                </a:lnTo>
                <a:close/>
                <a:moveTo>
                  <a:pt x="178" y="59"/>
                </a:moveTo>
                <a:lnTo>
                  <a:pt x="178" y="59"/>
                </a:lnTo>
                <a:lnTo>
                  <a:pt x="176" y="60"/>
                </a:lnTo>
                <a:lnTo>
                  <a:pt x="175" y="61"/>
                </a:lnTo>
                <a:lnTo>
                  <a:pt x="172" y="60"/>
                </a:lnTo>
                <a:lnTo>
                  <a:pt x="168" y="59"/>
                </a:lnTo>
                <a:lnTo>
                  <a:pt x="162" y="57"/>
                </a:lnTo>
                <a:lnTo>
                  <a:pt x="162" y="57"/>
                </a:lnTo>
                <a:lnTo>
                  <a:pt x="158" y="57"/>
                </a:lnTo>
                <a:lnTo>
                  <a:pt x="155" y="54"/>
                </a:lnTo>
                <a:lnTo>
                  <a:pt x="153" y="51"/>
                </a:lnTo>
                <a:lnTo>
                  <a:pt x="153" y="47"/>
                </a:lnTo>
                <a:lnTo>
                  <a:pt x="153" y="47"/>
                </a:lnTo>
                <a:lnTo>
                  <a:pt x="152" y="43"/>
                </a:lnTo>
                <a:lnTo>
                  <a:pt x="152" y="39"/>
                </a:lnTo>
                <a:lnTo>
                  <a:pt x="149" y="36"/>
                </a:lnTo>
                <a:lnTo>
                  <a:pt x="146" y="34"/>
                </a:lnTo>
                <a:lnTo>
                  <a:pt x="146" y="34"/>
                </a:lnTo>
                <a:lnTo>
                  <a:pt x="143" y="36"/>
                </a:lnTo>
                <a:lnTo>
                  <a:pt x="143" y="36"/>
                </a:lnTo>
                <a:lnTo>
                  <a:pt x="145" y="39"/>
                </a:lnTo>
                <a:lnTo>
                  <a:pt x="145" y="41"/>
                </a:lnTo>
                <a:lnTo>
                  <a:pt x="145" y="44"/>
                </a:lnTo>
                <a:lnTo>
                  <a:pt x="145" y="44"/>
                </a:lnTo>
                <a:lnTo>
                  <a:pt x="143" y="44"/>
                </a:lnTo>
                <a:lnTo>
                  <a:pt x="142" y="43"/>
                </a:lnTo>
                <a:lnTo>
                  <a:pt x="141" y="41"/>
                </a:lnTo>
                <a:lnTo>
                  <a:pt x="139" y="40"/>
                </a:lnTo>
                <a:lnTo>
                  <a:pt x="139" y="40"/>
                </a:lnTo>
                <a:lnTo>
                  <a:pt x="136" y="40"/>
                </a:lnTo>
                <a:lnTo>
                  <a:pt x="135" y="37"/>
                </a:lnTo>
                <a:lnTo>
                  <a:pt x="134" y="34"/>
                </a:lnTo>
                <a:lnTo>
                  <a:pt x="134" y="30"/>
                </a:lnTo>
                <a:lnTo>
                  <a:pt x="134" y="30"/>
                </a:lnTo>
                <a:lnTo>
                  <a:pt x="132" y="26"/>
                </a:lnTo>
                <a:lnTo>
                  <a:pt x="129" y="23"/>
                </a:lnTo>
                <a:lnTo>
                  <a:pt x="128" y="20"/>
                </a:lnTo>
                <a:lnTo>
                  <a:pt x="126" y="14"/>
                </a:lnTo>
                <a:lnTo>
                  <a:pt x="126" y="14"/>
                </a:lnTo>
                <a:lnTo>
                  <a:pt x="126" y="12"/>
                </a:lnTo>
                <a:lnTo>
                  <a:pt x="125" y="9"/>
                </a:lnTo>
                <a:lnTo>
                  <a:pt x="119" y="4"/>
                </a:lnTo>
                <a:lnTo>
                  <a:pt x="114" y="2"/>
                </a:lnTo>
                <a:lnTo>
                  <a:pt x="106" y="0"/>
                </a:lnTo>
                <a:lnTo>
                  <a:pt x="106" y="0"/>
                </a:lnTo>
                <a:lnTo>
                  <a:pt x="105" y="2"/>
                </a:lnTo>
                <a:lnTo>
                  <a:pt x="104" y="3"/>
                </a:lnTo>
                <a:lnTo>
                  <a:pt x="105" y="7"/>
                </a:lnTo>
                <a:lnTo>
                  <a:pt x="109" y="13"/>
                </a:lnTo>
                <a:lnTo>
                  <a:pt x="112" y="17"/>
                </a:lnTo>
                <a:lnTo>
                  <a:pt x="112" y="17"/>
                </a:lnTo>
                <a:lnTo>
                  <a:pt x="119" y="23"/>
                </a:lnTo>
                <a:lnTo>
                  <a:pt x="122" y="26"/>
                </a:lnTo>
                <a:lnTo>
                  <a:pt x="124" y="29"/>
                </a:lnTo>
                <a:lnTo>
                  <a:pt x="124" y="29"/>
                </a:lnTo>
                <a:lnTo>
                  <a:pt x="124" y="31"/>
                </a:lnTo>
                <a:lnTo>
                  <a:pt x="126" y="36"/>
                </a:lnTo>
                <a:lnTo>
                  <a:pt x="129" y="40"/>
                </a:lnTo>
                <a:lnTo>
                  <a:pt x="132" y="41"/>
                </a:lnTo>
                <a:lnTo>
                  <a:pt x="132" y="41"/>
                </a:lnTo>
                <a:lnTo>
                  <a:pt x="134" y="43"/>
                </a:lnTo>
                <a:lnTo>
                  <a:pt x="134" y="44"/>
                </a:lnTo>
                <a:lnTo>
                  <a:pt x="134" y="50"/>
                </a:lnTo>
                <a:lnTo>
                  <a:pt x="131" y="57"/>
                </a:lnTo>
                <a:lnTo>
                  <a:pt x="131" y="66"/>
                </a:lnTo>
                <a:lnTo>
                  <a:pt x="131" y="66"/>
                </a:lnTo>
                <a:lnTo>
                  <a:pt x="129" y="71"/>
                </a:lnTo>
                <a:lnTo>
                  <a:pt x="125" y="74"/>
                </a:lnTo>
                <a:lnTo>
                  <a:pt x="121" y="77"/>
                </a:lnTo>
                <a:lnTo>
                  <a:pt x="116" y="80"/>
                </a:lnTo>
                <a:lnTo>
                  <a:pt x="116" y="80"/>
                </a:lnTo>
                <a:lnTo>
                  <a:pt x="116" y="83"/>
                </a:lnTo>
                <a:lnTo>
                  <a:pt x="116" y="86"/>
                </a:lnTo>
                <a:lnTo>
                  <a:pt x="122" y="90"/>
                </a:lnTo>
                <a:lnTo>
                  <a:pt x="131" y="94"/>
                </a:lnTo>
                <a:lnTo>
                  <a:pt x="138" y="100"/>
                </a:lnTo>
                <a:lnTo>
                  <a:pt x="138" y="100"/>
                </a:lnTo>
                <a:lnTo>
                  <a:pt x="141" y="103"/>
                </a:lnTo>
                <a:lnTo>
                  <a:pt x="141" y="105"/>
                </a:lnTo>
                <a:lnTo>
                  <a:pt x="138" y="113"/>
                </a:lnTo>
                <a:lnTo>
                  <a:pt x="135" y="120"/>
                </a:lnTo>
                <a:lnTo>
                  <a:pt x="134" y="123"/>
                </a:lnTo>
                <a:lnTo>
                  <a:pt x="134" y="125"/>
                </a:lnTo>
                <a:lnTo>
                  <a:pt x="134" y="125"/>
                </a:lnTo>
                <a:lnTo>
                  <a:pt x="135" y="127"/>
                </a:lnTo>
                <a:lnTo>
                  <a:pt x="138" y="127"/>
                </a:lnTo>
                <a:lnTo>
                  <a:pt x="142" y="128"/>
                </a:lnTo>
                <a:lnTo>
                  <a:pt x="148" y="127"/>
                </a:lnTo>
                <a:lnTo>
                  <a:pt x="148" y="127"/>
                </a:lnTo>
                <a:lnTo>
                  <a:pt x="151" y="125"/>
                </a:lnTo>
                <a:lnTo>
                  <a:pt x="153" y="123"/>
                </a:lnTo>
                <a:lnTo>
                  <a:pt x="158" y="115"/>
                </a:lnTo>
                <a:lnTo>
                  <a:pt x="162" y="108"/>
                </a:lnTo>
                <a:lnTo>
                  <a:pt x="166" y="103"/>
                </a:lnTo>
                <a:lnTo>
                  <a:pt x="166" y="103"/>
                </a:lnTo>
                <a:lnTo>
                  <a:pt x="169" y="98"/>
                </a:lnTo>
                <a:lnTo>
                  <a:pt x="169" y="94"/>
                </a:lnTo>
                <a:lnTo>
                  <a:pt x="171" y="88"/>
                </a:lnTo>
                <a:lnTo>
                  <a:pt x="171" y="86"/>
                </a:lnTo>
                <a:lnTo>
                  <a:pt x="171" y="86"/>
                </a:lnTo>
                <a:lnTo>
                  <a:pt x="173" y="83"/>
                </a:lnTo>
                <a:lnTo>
                  <a:pt x="176" y="83"/>
                </a:lnTo>
                <a:lnTo>
                  <a:pt x="182" y="81"/>
                </a:lnTo>
                <a:lnTo>
                  <a:pt x="182" y="81"/>
                </a:lnTo>
                <a:lnTo>
                  <a:pt x="183" y="81"/>
                </a:lnTo>
                <a:lnTo>
                  <a:pt x="183" y="80"/>
                </a:lnTo>
                <a:lnTo>
                  <a:pt x="185" y="77"/>
                </a:lnTo>
                <a:lnTo>
                  <a:pt x="186" y="74"/>
                </a:lnTo>
                <a:lnTo>
                  <a:pt x="186" y="73"/>
                </a:lnTo>
                <a:lnTo>
                  <a:pt x="189" y="73"/>
                </a:lnTo>
                <a:lnTo>
                  <a:pt x="189" y="73"/>
                </a:lnTo>
                <a:lnTo>
                  <a:pt x="190" y="71"/>
                </a:lnTo>
                <a:lnTo>
                  <a:pt x="192" y="68"/>
                </a:lnTo>
                <a:lnTo>
                  <a:pt x="192" y="63"/>
                </a:lnTo>
                <a:lnTo>
                  <a:pt x="193" y="59"/>
                </a:lnTo>
                <a:lnTo>
                  <a:pt x="193" y="59"/>
                </a:lnTo>
                <a:lnTo>
                  <a:pt x="195" y="56"/>
                </a:lnTo>
                <a:lnTo>
                  <a:pt x="193" y="54"/>
                </a:lnTo>
                <a:lnTo>
                  <a:pt x="188" y="54"/>
                </a:lnTo>
                <a:lnTo>
                  <a:pt x="182" y="56"/>
                </a:lnTo>
                <a:lnTo>
                  <a:pt x="178" y="59"/>
                </a:lnTo>
                <a:lnTo>
                  <a:pt x="178" y="59"/>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51" name="Freeform 339">
            <a:extLst>
              <a:ext uri="{FF2B5EF4-FFF2-40B4-BE49-F238E27FC236}">
                <a16:creationId xmlns:a16="http://schemas.microsoft.com/office/drawing/2014/main" id="{82CE52C3-7D9C-23C5-B591-B6D39428F008}"/>
              </a:ext>
            </a:extLst>
          </p:cNvPr>
          <p:cNvSpPr>
            <a:spLocks/>
          </p:cNvSpPr>
          <p:nvPr userDrawn="1"/>
        </p:nvSpPr>
        <p:spPr bwMode="gray">
          <a:xfrm>
            <a:off x="5448542" y="2392676"/>
            <a:ext cx="293915" cy="185973"/>
          </a:xfrm>
          <a:custGeom>
            <a:avLst/>
            <a:gdLst/>
            <a:ahLst/>
            <a:cxnLst>
              <a:cxn ang="0">
                <a:pos x="214" y="86"/>
              </a:cxn>
              <a:cxn ang="0">
                <a:pos x="203" y="81"/>
              </a:cxn>
              <a:cxn ang="0">
                <a:pos x="183" y="70"/>
              </a:cxn>
              <a:cxn ang="0">
                <a:pos x="172" y="60"/>
              </a:cxn>
              <a:cxn ang="0">
                <a:pos x="159" y="52"/>
              </a:cxn>
              <a:cxn ang="0">
                <a:pos x="149" y="32"/>
              </a:cxn>
              <a:cxn ang="0">
                <a:pos x="132" y="27"/>
              </a:cxn>
              <a:cxn ang="0">
                <a:pos x="122" y="26"/>
              </a:cxn>
              <a:cxn ang="0">
                <a:pos x="116" y="9"/>
              </a:cxn>
              <a:cxn ang="0">
                <a:pos x="103" y="5"/>
              </a:cxn>
              <a:cxn ang="0">
                <a:pos x="92" y="2"/>
              </a:cxn>
              <a:cxn ang="0">
                <a:pos x="85" y="6"/>
              </a:cxn>
              <a:cxn ang="0">
                <a:pos x="81" y="10"/>
              </a:cxn>
              <a:cxn ang="0">
                <a:pos x="69" y="19"/>
              </a:cxn>
              <a:cxn ang="0">
                <a:pos x="64" y="27"/>
              </a:cxn>
              <a:cxn ang="0">
                <a:pos x="52" y="25"/>
              </a:cxn>
              <a:cxn ang="0">
                <a:pos x="41" y="22"/>
              </a:cxn>
              <a:cxn ang="0">
                <a:pos x="25" y="7"/>
              </a:cxn>
              <a:cxn ang="0">
                <a:pos x="10" y="7"/>
              </a:cxn>
              <a:cxn ang="0">
                <a:pos x="4" y="15"/>
              </a:cxn>
              <a:cxn ang="0">
                <a:pos x="12" y="12"/>
              </a:cxn>
              <a:cxn ang="0">
                <a:pos x="21" y="25"/>
              </a:cxn>
              <a:cxn ang="0">
                <a:pos x="28" y="29"/>
              </a:cxn>
              <a:cxn ang="0">
                <a:pos x="32" y="36"/>
              </a:cxn>
              <a:cxn ang="0">
                <a:pos x="20" y="40"/>
              </a:cxn>
              <a:cxn ang="0">
                <a:pos x="2" y="36"/>
              </a:cxn>
              <a:cxn ang="0">
                <a:pos x="0" y="44"/>
              </a:cxn>
              <a:cxn ang="0">
                <a:pos x="4" y="53"/>
              </a:cxn>
              <a:cxn ang="0">
                <a:pos x="5" y="63"/>
              </a:cxn>
              <a:cxn ang="0">
                <a:pos x="7" y="64"/>
              </a:cxn>
              <a:cxn ang="0">
                <a:pos x="14" y="67"/>
              </a:cxn>
              <a:cxn ang="0">
                <a:pos x="18" y="80"/>
              </a:cxn>
              <a:cxn ang="0">
                <a:pos x="18" y="101"/>
              </a:cxn>
              <a:cxn ang="0">
                <a:pos x="31" y="99"/>
              </a:cxn>
              <a:cxn ang="0">
                <a:pos x="45" y="89"/>
              </a:cxn>
              <a:cxn ang="0">
                <a:pos x="56" y="87"/>
              </a:cxn>
              <a:cxn ang="0">
                <a:pos x="75" y="87"/>
              </a:cxn>
              <a:cxn ang="0">
                <a:pos x="86" y="93"/>
              </a:cxn>
              <a:cxn ang="0">
                <a:pos x="91" y="96"/>
              </a:cxn>
              <a:cxn ang="0">
                <a:pos x="106" y="99"/>
              </a:cxn>
              <a:cxn ang="0">
                <a:pos x="111" y="104"/>
              </a:cxn>
              <a:cxn ang="0">
                <a:pos x="118" y="108"/>
              </a:cxn>
              <a:cxn ang="0">
                <a:pos x="126" y="116"/>
              </a:cxn>
              <a:cxn ang="0">
                <a:pos x="138" y="117"/>
              </a:cxn>
              <a:cxn ang="0">
                <a:pos x="142" y="137"/>
              </a:cxn>
              <a:cxn ang="0">
                <a:pos x="153" y="138"/>
              </a:cxn>
              <a:cxn ang="0">
                <a:pos x="157" y="143"/>
              </a:cxn>
              <a:cxn ang="0">
                <a:pos x="169" y="134"/>
              </a:cxn>
              <a:cxn ang="0">
                <a:pos x="179" y="128"/>
              </a:cxn>
              <a:cxn ang="0">
                <a:pos x="192" y="121"/>
              </a:cxn>
              <a:cxn ang="0">
                <a:pos x="202" y="106"/>
              </a:cxn>
              <a:cxn ang="0">
                <a:pos x="207" y="103"/>
              </a:cxn>
              <a:cxn ang="0">
                <a:pos x="220" y="100"/>
              </a:cxn>
            </a:cxnLst>
            <a:rect l="0" t="0" r="r" b="b"/>
            <a:pathLst>
              <a:path w="226" h="143">
                <a:moveTo>
                  <a:pt x="224" y="90"/>
                </a:moveTo>
                <a:lnTo>
                  <a:pt x="224" y="90"/>
                </a:lnTo>
                <a:lnTo>
                  <a:pt x="219" y="87"/>
                </a:lnTo>
                <a:lnTo>
                  <a:pt x="214" y="86"/>
                </a:lnTo>
                <a:lnTo>
                  <a:pt x="210" y="86"/>
                </a:lnTo>
                <a:lnTo>
                  <a:pt x="210" y="86"/>
                </a:lnTo>
                <a:lnTo>
                  <a:pt x="207" y="84"/>
                </a:lnTo>
                <a:lnTo>
                  <a:pt x="203" y="81"/>
                </a:lnTo>
                <a:lnTo>
                  <a:pt x="199" y="77"/>
                </a:lnTo>
                <a:lnTo>
                  <a:pt x="194" y="74"/>
                </a:lnTo>
                <a:lnTo>
                  <a:pt x="194" y="74"/>
                </a:lnTo>
                <a:lnTo>
                  <a:pt x="183" y="70"/>
                </a:lnTo>
                <a:lnTo>
                  <a:pt x="179" y="67"/>
                </a:lnTo>
                <a:lnTo>
                  <a:pt x="176" y="64"/>
                </a:lnTo>
                <a:lnTo>
                  <a:pt x="176" y="64"/>
                </a:lnTo>
                <a:lnTo>
                  <a:pt x="172" y="60"/>
                </a:lnTo>
                <a:lnTo>
                  <a:pt x="166" y="57"/>
                </a:lnTo>
                <a:lnTo>
                  <a:pt x="162" y="54"/>
                </a:lnTo>
                <a:lnTo>
                  <a:pt x="159" y="52"/>
                </a:lnTo>
                <a:lnTo>
                  <a:pt x="159" y="52"/>
                </a:lnTo>
                <a:lnTo>
                  <a:pt x="156" y="46"/>
                </a:lnTo>
                <a:lnTo>
                  <a:pt x="152" y="39"/>
                </a:lnTo>
                <a:lnTo>
                  <a:pt x="152" y="39"/>
                </a:lnTo>
                <a:lnTo>
                  <a:pt x="149" y="32"/>
                </a:lnTo>
                <a:lnTo>
                  <a:pt x="148" y="29"/>
                </a:lnTo>
                <a:lnTo>
                  <a:pt x="146" y="29"/>
                </a:lnTo>
                <a:lnTo>
                  <a:pt x="146" y="29"/>
                </a:lnTo>
                <a:lnTo>
                  <a:pt x="132" y="27"/>
                </a:lnTo>
                <a:lnTo>
                  <a:pt x="125" y="27"/>
                </a:lnTo>
                <a:lnTo>
                  <a:pt x="122" y="26"/>
                </a:lnTo>
                <a:lnTo>
                  <a:pt x="122" y="26"/>
                </a:lnTo>
                <a:lnTo>
                  <a:pt x="122" y="26"/>
                </a:lnTo>
                <a:lnTo>
                  <a:pt x="121" y="16"/>
                </a:lnTo>
                <a:lnTo>
                  <a:pt x="119" y="10"/>
                </a:lnTo>
                <a:lnTo>
                  <a:pt x="118" y="9"/>
                </a:lnTo>
                <a:lnTo>
                  <a:pt x="116" y="9"/>
                </a:lnTo>
                <a:lnTo>
                  <a:pt x="116" y="9"/>
                </a:lnTo>
                <a:lnTo>
                  <a:pt x="109" y="6"/>
                </a:lnTo>
                <a:lnTo>
                  <a:pt x="103" y="5"/>
                </a:lnTo>
                <a:lnTo>
                  <a:pt x="103" y="5"/>
                </a:lnTo>
                <a:lnTo>
                  <a:pt x="98" y="0"/>
                </a:lnTo>
                <a:lnTo>
                  <a:pt x="95" y="0"/>
                </a:lnTo>
                <a:lnTo>
                  <a:pt x="92" y="2"/>
                </a:lnTo>
                <a:lnTo>
                  <a:pt x="92" y="2"/>
                </a:lnTo>
                <a:lnTo>
                  <a:pt x="89" y="3"/>
                </a:lnTo>
                <a:lnTo>
                  <a:pt x="86" y="5"/>
                </a:lnTo>
                <a:lnTo>
                  <a:pt x="86" y="5"/>
                </a:lnTo>
                <a:lnTo>
                  <a:pt x="85" y="6"/>
                </a:lnTo>
                <a:lnTo>
                  <a:pt x="84" y="7"/>
                </a:lnTo>
                <a:lnTo>
                  <a:pt x="82" y="10"/>
                </a:lnTo>
                <a:lnTo>
                  <a:pt x="81" y="10"/>
                </a:lnTo>
                <a:lnTo>
                  <a:pt x="81" y="10"/>
                </a:lnTo>
                <a:lnTo>
                  <a:pt x="76" y="12"/>
                </a:lnTo>
                <a:lnTo>
                  <a:pt x="72" y="13"/>
                </a:lnTo>
                <a:lnTo>
                  <a:pt x="69" y="16"/>
                </a:lnTo>
                <a:lnTo>
                  <a:pt x="69" y="19"/>
                </a:lnTo>
                <a:lnTo>
                  <a:pt x="69" y="19"/>
                </a:lnTo>
                <a:lnTo>
                  <a:pt x="68" y="25"/>
                </a:lnTo>
                <a:lnTo>
                  <a:pt x="66" y="26"/>
                </a:lnTo>
                <a:lnTo>
                  <a:pt x="64" y="27"/>
                </a:lnTo>
                <a:lnTo>
                  <a:pt x="64" y="27"/>
                </a:lnTo>
                <a:lnTo>
                  <a:pt x="58" y="26"/>
                </a:lnTo>
                <a:lnTo>
                  <a:pt x="52" y="25"/>
                </a:lnTo>
                <a:lnTo>
                  <a:pt x="52" y="25"/>
                </a:lnTo>
                <a:lnTo>
                  <a:pt x="51" y="25"/>
                </a:lnTo>
                <a:lnTo>
                  <a:pt x="48" y="26"/>
                </a:lnTo>
                <a:lnTo>
                  <a:pt x="44" y="25"/>
                </a:lnTo>
                <a:lnTo>
                  <a:pt x="41" y="22"/>
                </a:lnTo>
                <a:lnTo>
                  <a:pt x="41" y="22"/>
                </a:lnTo>
                <a:lnTo>
                  <a:pt x="35" y="16"/>
                </a:lnTo>
                <a:lnTo>
                  <a:pt x="31" y="10"/>
                </a:lnTo>
                <a:lnTo>
                  <a:pt x="25" y="7"/>
                </a:lnTo>
                <a:lnTo>
                  <a:pt x="21" y="6"/>
                </a:lnTo>
                <a:lnTo>
                  <a:pt x="21" y="6"/>
                </a:lnTo>
                <a:lnTo>
                  <a:pt x="15" y="6"/>
                </a:lnTo>
                <a:lnTo>
                  <a:pt x="10" y="7"/>
                </a:lnTo>
                <a:lnTo>
                  <a:pt x="7" y="9"/>
                </a:lnTo>
                <a:lnTo>
                  <a:pt x="5" y="10"/>
                </a:lnTo>
                <a:lnTo>
                  <a:pt x="4" y="12"/>
                </a:lnTo>
                <a:lnTo>
                  <a:pt x="4" y="15"/>
                </a:lnTo>
                <a:lnTo>
                  <a:pt x="4" y="15"/>
                </a:lnTo>
                <a:lnTo>
                  <a:pt x="7" y="13"/>
                </a:lnTo>
                <a:lnTo>
                  <a:pt x="12" y="12"/>
                </a:lnTo>
                <a:lnTo>
                  <a:pt x="12" y="12"/>
                </a:lnTo>
                <a:lnTo>
                  <a:pt x="15" y="13"/>
                </a:lnTo>
                <a:lnTo>
                  <a:pt x="18" y="15"/>
                </a:lnTo>
                <a:lnTo>
                  <a:pt x="20" y="20"/>
                </a:lnTo>
                <a:lnTo>
                  <a:pt x="21" y="25"/>
                </a:lnTo>
                <a:lnTo>
                  <a:pt x="22" y="26"/>
                </a:lnTo>
                <a:lnTo>
                  <a:pt x="24" y="27"/>
                </a:lnTo>
                <a:lnTo>
                  <a:pt x="24" y="27"/>
                </a:lnTo>
                <a:lnTo>
                  <a:pt x="28" y="29"/>
                </a:lnTo>
                <a:lnTo>
                  <a:pt x="32" y="32"/>
                </a:lnTo>
                <a:lnTo>
                  <a:pt x="34" y="34"/>
                </a:lnTo>
                <a:lnTo>
                  <a:pt x="34" y="36"/>
                </a:lnTo>
                <a:lnTo>
                  <a:pt x="32" y="36"/>
                </a:lnTo>
                <a:lnTo>
                  <a:pt x="32" y="36"/>
                </a:lnTo>
                <a:lnTo>
                  <a:pt x="28" y="37"/>
                </a:lnTo>
                <a:lnTo>
                  <a:pt x="24" y="39"/>
                </a:lnTo>
                <a:lnTo>
                  <a:pt x="20" y="40"/>
                </a:lnTo>
                <a:lnTo>
                  <a:pt x="15" y="40"/>
                </a:lnTo>
                <a:lnTo>
                  <a:pt x="15" y="40"/>
                </a:lnTo>
                <a:lnTo>
                  <a:pt x="7" y="36"/>
                </a:lnTo>
                <a:lnTo>
                  <a:pt x="2" y="36"/>
                </a:lnTo>
                <a:lnTo>
                  <a:pt x="2" y="37"/>
                </a:lnTo>
                <a:lnTo>
                  <a:pt x="1" y="40"/>
                </a:lnTo>
                <a:lnTo>
                  <a:pt x="1" y="40"/>
                </a:lnTo>
                <a:lnTo>
                  <a:pt x="0" y="44"/>
                </a:lnTo>
                <a:lnTo>
                  <a:pt x="0" y="49"/>
                </a:lnTo>
                <a:lnTo>
                  <a:pt x="0" y="52"/>
                </a:lnTo>
                <a:lnTo>
                  <a:pt x="4" y="53"/>
                </a:lnTo>
                <a:lnTo>
                  <a:pt x="4" y="53"/>
                </a:lnTo>
                <a:lnTo>
                  <a:pt x="8" y="53"/>
                </a:lnTo>
                <a:lnTo>
                  <a:pt x="10" y="56"/>
                </a:lnTo>
                <a:lnTo>
                  <a:pt x="8" y="59"/>
                </a:lnTo>
                <a:lnTo>
                  <a:pt x="5" y="63"/>
                </a:lnTo>
                <a:lnTo>
                  <a:pt x="5" y="63"/>
                </a:lnTo>
                <a:lnTo>
                  <a:pt x="4" y="64"/>
                </a:lnTo>
                <a:lnTo>
                  <a:pt x="4" y="64"/>
                </a:lnTo>
                <a:lnTo>
                  <a:pt x="7" y="64"/>
                </a:lnTo>
                <a:lnTo>
                  <a:pt x="11" y="64"/>
                </a:lnTo>
                <a:lnTo>
                  <a:pt x="14" y="66"/>
                </a:lnTo>
                <a:lnTo>
                  <a:pt x="14" y="67"/>
                </a:lnTo>
                <a:lnTo>
                  <a:pt x="14" y="67"/>
                </a:lnTo>
                <a:lnTo>
                  <a:pt x="15" y="70"/>
                </a:lnTo>
                <a:lnTo>
                  <a:pt x="17" y="71"/>
                </a:lnTo>
                <a:lnTo>
                  <a:pt x="18" y="74"/>
                </a:lnTo>
                <a:lnTo>
                  <a:pt x="18" y="80"/>
                </a:lnTo>
                <a:lnTo>
                  <a:pt x="18" y="80"/>
                </a:lnTo>
                <a:lnTo>
                  <a:pt x="17" y="90"/>
                </a:lnTo>
                <a:lnTo>
                  <a:pt x="18" y="101"/>
                </a:lnTo>
                <a:lnTo>
                  <a:pt x="18" y="101"/>
                </a:lnTo>
                <a:lnTo>
                  <a:pt x="25" y="100"/>
                </a:lnTo>
                <a:lnTo>
                  <a:pt x="28" y="100"/>
                </a:lnTo>
                <a:lnTo>
                  <a:pt x="31" y="99"/>
                </a:lnTo>
                <a:lnTo>
                  <a:pt x="31" y="99"/>
                </a:lnTo>
                <a:lnTo>
                  <a:pt x="37" y="93"/>
                </a:lnTo>
                <a:lnTo>
                  <a:pt x="41" y="90"/>
                </a:lnTo>
                <a:lnTo>
                  <a:pt x="45" y="89"/>
                </a:lnTo>
                <a:lnTo>
                  <a:pt x="45" y="89"/>
                </a:lnTo>
                <a:lnTo>
                  <a:pt x="51" y="89"/>
                </a:lnTo>
                <a:lnTo>
                  <a:pt x="54" y="89"/>
                </a:lnTo>
                <a:lnTo>
                  <a:pt x="56" y="87"/>
                </a:lnTo>
                <a:lnTo>
                  <a:pt x="56" y="87"/>
                </a:lnTo>
                <a:lnTo>
                  <a:pt x="59" y="86"/>
                </a:lnTo>
                <a:lnTo>
                  <a:pt x="65" y="84"/>
                </a:lnTo>
                <a:lnTo>
                  <a:pt x="71" y="86"/>
                </a:lnTo>
                <a:lnTo>
                  <a:pt x="75" y="87"/>
                </a:lnTo>
                <a:lnTo>
                  <a:pt x="75" y="87"/>
                </a:lnTo>
                <a:lnTo>
                  <a:pt x="78" y="90"/>
                </a:lnTo>
                <a:lnTo>
                  <a:pt x="81" y="91"/>
                </a:lnTo>
                <a:lnTo>
                  <a:pt x="86" y="93"/>
                </a:lnTo>
                <a:lnTo>
                  <a:pt x="86" y="93"/>
                </a:lnTo>
                <a:lnTo>
                  <a:pt x="88" y="93"/>
                </a:lnTo>
                <a:lnTo>
                  <a:pt x="89" y="94"/>
                </a:lnTo>
                <a:lnTo>
                  <a:pt x="91" y="96"/>
                </a:lnTo>
                <a:lnTo>
                  <a:pt x="95" y="97"/>
                </a:lnTo>
                <a:lnTo>
                  <a:pt x="95" y="97"/>
                </a:lnTo>
                <a:lnTo>
                  <a:pt x="103" y="97"/>
                </a:lnTo>
                <a:lnTo>
                  <a:pt x="106" y="99"/>
                </a:lnTo>
                <a:lnTo>
                  <a:pt x="108" y="101"/>
                </a:lnTo>
                <a:lnTo>
                  <a:pt x="108" y="101"/>
                </a:lnTo>
                <a:lnTo>
                  <a:pt x="109" y="103"/>
                </a:lnTo>
                <a:lnTo>
                  <a:pt x="111" y="104"/>
                </a:lnTo>
                <a:lnTo>
                  <a:pt x="112" y="106"/>
                </a:lnTo>
                <a:lnTo>
                  <a:pt x="115" y="107"/>
                </a:lnTo>
                <a:lnTo>
                  <a:pt x="115" y="107"/>
                </a:lnTo>
                <a:lnTo>
                  <a:pt x="118" y="108"/>
                </a:lnTo>
                <a:lnTo>
                  <a:pt x="121" y="111"/>
                </a:lnTo>
                <a:lnTo>
                  <a:pt x="123" y="114"/>
                </a:lnTo>
                <a:lnTo>
                  <a:pt x="126" y="116"/>
                </a:lnTo>
                <a:lnTo>
                  <a:pt x="126" y="116"/>
                </a:lnTo>
                <a:lnTo>
                  <a:pt x="133" y="116"/>
                </a:lnTo>
                <a:lnTo>
                  <a:pt x="136" y="116"/>
                </a:lnTo>
                <a:lnTo>
                  <a:pt x="138" y="117"/>
                </a:lnTo>
                <a:lnTo>
                  <a:pt x="138" y="117"/>
                </a:lnTo>
                <a:lnTo>
                  <a:pt x="138" y="126"/>
                </a:lnTo>
                <a:lnTo>
                  <a:pt x="140" y="137"/>
                </a:lnTo>
                <a:lnTo>
                  <a:pt x="140" y="137"/>
                </a:lnTo>
                <a:lnTo>
                  <a:pt x="142" y="137"/>
                </a:lnTo>
                <a:lnTo>
                  <a:pt x="143" y="137"/>
                </a:lnTo>
                <a:lnTo>
                  <a:pt x="143" y="137"/>
                </a:lnTo>
                <a:lnTo>
                  <a:pt x="149" y="137"/>
                </a:lnTo>
                <a:lnTo>
                  <a:pt x="153" y="138"/>
                </a:lnTo>
                <a:lnTo>
                  <a:pt x="155" y="140"/>
                </a:lnTo>
                <a:lnTo>
                  <a:pt x="155" y="140"/>
                </a:lnTo>
                <a:lnTo>
                  <a:pt x="156" y="141"/>
                </a:lnTo>
                <a:lnTo>
                  <a:pt x="157" y="143"/>
                </a:lnTo>
                <a:lnTo>
                  <a:pt x="163" y="141"/>
                </a:lnTo>
                <a:lnTo>
                  <a:pt x="167" y="140"/>
                </a:lnTo>
                <a:lnTo>
                  <a:pt x="169" y="137"/>
                </a:lnTo>
                <a:lnTo>
                  <a:pt x="169" y="134"/>
                </a:lnTo>
                <a:lnTo>
                  <a:pt x="169" y="134"/>
                </a:lnTo>
                <a:lnTo>
                  <a:pt x="170" y="133"/>
                </a:lnTo>
                <a:lnTo>
                  <a:pt x="172" y="131"/>
                </a:lnTo>
                <a:lnTo>
                  <a:pt x="179" y="128"/>
                </a:lnTo>
                <a:lnTo>
                  <a:pt x="187" y="126"/>
                </a:lnTo>
                <a:lnTo>
                  <a:pt x="190" y="124"/>
                </a:lnTo>
                <a:lnTo>
                  <a:pt x="192" y="121"/>
                </a:lnTo>
                <a:lnTo>
                  <a:pt x="192" y="121"/>
                </a:lnTo>
                <a:lnTo>
                  <a:pt x="196" y="110"/>
                </a:lnTo>
                <a:lnTo>
                  <a:pt x="197" y="107"/>
                </a:lnTo>
                <a:lnTo>
                  <a:pt x="200" y="106"/>
                </a:lnTo>
                <a:lnTo>
                  <a:pt x="202" y="106"/>
                </a:lnTo>
                <a:lnTo>
                  <a:pt x="202" y="106"/>
                </a:lnTo>
                <a:lnTo>
                  <a:pt x="203" y="106"/>
                </a:lnTo>
                <a:lnTo>
                  <a:pt x="204" y="106"/>
                </a:lnTo>
                <a:lnTo>
                  <a:pt x="207" y="103"/>
                </a:lnTo>
                <a:lnTo>
                  <a:pt x="210" y="100"/>
                </a:lnTo>
                <a:lnTo>
                  <a:pt x="214" y="99"/>
                </a:lnTo>
                <a:lnTo>
                  <a:pt x="214" y="99"/>
                </a:lnTo>
                <a:lnTo>
                  <a:pt x="220" y="100"/>
                </a:lnTo>
                <a:lnTo>
                  <a:pt x="223" y="101"/>
                </a:lnTo>
                <a:lnTo>
                  <a:pt x="226" y="101"/>
                </a:lnTo>
                <a:lnTo>
                  <a:pt x="224" y="9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52" name="Freeform 340">
            <a:extLst>
              <a:ext uri="{FF2B5EF4-FFF2-40B4-BE49-F238E27FC236}">
                <a16:creationId xmlns:a16="http://schemas.microsoft.com/office/drawing/2014/main" id="{B601C1E9-0A70-DA70-E7C4-D79CC9B007BA}"/>
              </a:ext>
            </a:extLst>
          </p:cNvPr>
          <p:cNvSpPr>
            <a:spLocks/>
          </p:cNvSpPr>
          <p:nvPr userDrawn="1"/>
        </p:nvSpPr>
        <p:spPr bwMode="gray">
          <a:xfrm>
            <a:off x="5265171" y="2461603"/>
            <a:ext cx="407059" cy="347236"/>
          </a:xfrm>
          <a:custGeom>
            <a:avLst/>
            <a:gdLst/>
            <a:ahLst/>
            <a:cxnLst>
              <a:cxn ang="0">
                <a:pos x="304" y="222"/>
              </a:cxn>
              <a:cxn ang="0">
                <a:pos x="293" y="209"/>
              </a:cxn>
              <a:cxn ang="0">
                <a:pos x="280" y="195"/>
              </a:cxn>
              <a:cxn ang="0">
                <a:pos x="274" y="181"/>
              </a:cxn>
              <a:cxn ang="0">
                <a:pos x="287" y="162"/>
              </a:cxn>
              <a:cxn ang="0">
                <a:pos x="271" y="154"/>
              </a:cxn>
              <a:cxn ang="0">
                <a:pos x="270" y="135"/>
              </a:cxn>
              <a:cxn ang="0">
                <a:pos x="270" y="118"/>
              </a:cxn>
              <a:cxn ang="0">
                <a:pos x="274" y="100"/>
              </a:cxn>
              <a:cxn ang="0">
                <a:pos x="281" y="84"/>
              </a:cxn>
              <a:cxn ang="0">
                <a:pos x="277" y="63"/>
              </a:cxn>
              <a:cxn ang="0">
                <a:pos x="262" y="58"/>
              </a:cxn>
              <a:cxn ang="0">
                <a:pos x="252" y="51"/>
              </a:cxn>
              <a:cxn ang="0">
                <a:pos x="244" y="44"/>
              </a:cxn>
              <a:cxn ang="0">
                <a:pos x="229" y="40"/>
              </a:cxn>
              <a:cxn ang="0">
                <a:pos x="216" y="34"/>
              </a:cxn>
              <a:cxn ang="0">
                <a:pos x="197" y="34"/>
              </a:cxn>
              <a:cxn ang="0">
                <a:pos x="186" y="36"/>
              </a:cxn>
              <a:cxn ang="0">
                <a:pos x="169" y="47"/>
              </a:cxn>
              <a:cxn ang="0">
                <a:pos x="158" y="57"/>
              </a:cxn>
              <a:cxn ang="0">
                <a:pos x="124" y="64"/>
              </a:cxn>
              <a:cxn ang="0">
                <a:pos x="102" y="50"/>
              </a:cxn>
              <a:cxn ang="0">
                <a:pos x="87" y="44"/>
              </a:cxn>
              <a:cxn ang="0">
                <a:pos x="67" y="23"/>
              </a:cxn>
              <a:cxn ang="0">
                <a:pos x="65" y="10"/>
              </a:cxn>
              <a:cxn ang="0">
                <a:pos x="47" y="14"/>
              </a:cxn>
              <a:cxn ang="0">
                <a:pos x="21" y="17"/>
              </a:cxn>
              <a:cxn ang="0">
                <a:pos x="14" y="9"/>
              </a:cxn>
              <a:cxn ang="0">
                <a:pos x="7" y="0"/>
              </a:cxn>
              <a:cxn ang="0">
                <a:pos x="3" y="9"/>
              </a:cxn>
              <a:cxn ang="0">
                <a:pos x="0" y="14"/>
              </a:cxn>
              <a:cxn ang="0">
                <a:pos x="1" y="36"/>
              </a:cxn>
              <a:cxn ang="0">
                <a:pos x="10" y="48"/>
              </a:cxn>
              <a:cxn ang="0">
                <a:pos x="14" y="61"/>
              </a:cxn>
              <a:cxn ang="0">
                <a:pos x="21" y="73"/>
              </a:cxn>
              <a:cxn ang="0">
                <a:pos x="31" y="80"/>
              </a:cxn>
              <a:cxn ang="0">
                <a:pos x="28" y="88"/>
              </a:cxn>
              <a:cxn ang="0">
                <a:pos x="24" y="98"/>
              </a:cxn>
              <a:cxn ang="0">
                <a:pos x="23" y="114"/>
              </a:cxn>
              <a:cxn ang="0">
                <a:pos x="32" y="125"/>
              </a:cxn>
              <a:cxn ang="0">
                <a:pos x="45" y="135"/>
              </a:cxn>
              <a:cxn ang="0">
                <a:pos x="57" y="147"/>
              </a:cxn>
              <a:cxn ang="0">
                <a:pos x="57" y="156"/>
              </a:cxn>
              <a:cxn ang="0">
                <a:pos x="62" y="168"/>
              </a:cxn>
              <a:cxn ang="0">
                <a:pos x="71" y="181"/>
              </a:cxn>
              <a:cxn ang="0">
                <a:pos x="79" y="176"/>
              </a:cxn>
              <a:cxn ang="0">
                <a:pos x="94" y="178"/>
              </a:cxn>
              <a:cxn ang="0">
                <a:pos x="109" y="202"/>
              </a:cxn>
              <a:cxn ang="0">
                <a:pos x="124" y="219"/>
              </a:cxn>
              <a:cxn ang="0">
                <a:pos x="146" y="232"/>
              </a:cxn>
              <a:cxn ang="0">
                <a:pos x="180" y="240"/>
              </a:cxn>
              <a:cxn ang="0">
                <a:pos x="200" y="233"/>
              </a:cxn>
              <a:cxn ang="0">
                <a:pos x="213" y="255"/>
              </a:cxn>
              <a:cxn ang="0">
                <a:pos x="269" y="266"/>
              </a:cxn>
              <a:cxn ang="0">
                <a:pos x="286" y="263"/>
              </a:cxn>
              <a:cxn ang="0">
                <a:pos x="296" y="246"/>
              </a:cxn>
              <a:cxn ang="0">
                <a:pos x="313" y="240"/>
              </a:cxn>
            </a:cxnLst>
            <a:rect l="0" t="0" r="r" b="b"/>
            <a:pathLst>
              <a:path w="313" h="267">
                <a:moveTo>
                  <a:pt x="306" y="230"/>
                </a:moveTo>
                <a:lnTo>
                  <a:pt x="306" y="230"/>
                </a:lnTo>
                <a:lnTo>
                  <a:pt x="306" y="229"/>
                </a:lnTo>
                <a:lnTo>
                  <a:pt x="304" y="228"/>
                </a:lnTo>
                <a:lnTo>
                  <a:pt x="304" y="222"/>
                </a:lnTo>
                <a:lnTo>
                  <a:pt x="303" y="216"/>
                </a:lnTo>
                <a:lnTo>
                  <a:pt x="301" y="213"/>
                </a:lnTo>
                <a:lnTo>
                  <a:pt x="298" y="212"/>
                </a:lnTo>
                <a:lnTo>
                  <a:pt x="298" y="212"/>
                </a:lnTo>
                <a:lnTo>
                  <a:pt x="293" y="209"/>
                </a:lnTo>
                <a:lnTo>
                  <a:pt x="289" y="206"/>
                </a:lnTo>
                <a:lnTo>
                  <a:pt x="284" y="202"/>
                </a:lnTo>
                <a:lnTo>
                  <a:pt x="281" y="198"/>
                </a:lnTo>
                <a:lnTo>
                  <a:pt x="281" y="198"/>
                </a:lnTo>
                <a:lnTo>
                  <a:pt x="280" y="195"/>
                </a:lnTo>
                <a:lnTo>
                  <a:pt x="276" y="191"/>
                </a:lnTo>
                <a:lnTo>
                  <a:pt x="273" y="188"/>
                </a:lnTo>
                <a:lnTo>
                  <a:pt x="271" y="185"/>
                </a:lnTo>
                <a:lnTo>
                  <a:pt x="271" y="185"/>
                </a:lnTo>
                <a:lnTo>
                  <a:pt x="274" y="181"/>
                </a:lnTo>
                <a:lnTo>
                  <a:pt x="281" y="174"/>
                </a:lnTo>
                <a:lnTo>
                  <a:pt x="286" y="168"/>
                </a:lnTo>
                <a:lnTo>
                  <a:pt x="289" y="165"/>
                </a:lnTo>
                <a:lnTo>
                  <a:pt x="287" y="162"/>
                </a:lnTo>
                <a:lnTo>
                  <a:pt x="287" y="162"/>
                </a:lnTo>
                <a:lnTo>
                  <a:pt x="287" y="159"/>
                </a:lnTo>
                <a:lnTo>
                  <a:pt x="284" y="158"/>
                </a:lnTo>
                <a:lnTo>
                  <a:pt x="280" y="156"/>
                </a:lnTo>
                <a:lnTo>
                  <a:pt x="274" y="155"/>
                </a:lnTo>
                <a:lnTo>
                  <a:pt x="271" y="154"/>
                </a:lnTo>
                <a:lnTo>
                  <a:pt x="271" y="154"/>
                </a:lnTo>
                <a:lnTo>
                  <a:pt x="271" y="147"/>
                </a:lnTo>
                <a:lnTo>
                  <a:pt x="271" y="141"/>
                </a:lnTo>
                <a:lnTo>
                  <a:pt x="270" y="135"/>
                </a:lnTo>
                <a:lnTo>
                  <a:pt x="270" y="135"/>
                </a:lnTo>
                <a:lnTo>
                  <a:pt x="269" y="129"/>
                </a:lnTo>
                <a:lnTo>
                  <a:pt x="269" y="125"/>
                </a:lnTo>
                <a:lnTo>
                  <a:pt x="270" y="121"/>
                </a:lnTo>
                <a:lnTo>
                  <a:pt x="270" y="118"/>
                </a:lnTo>
                <a:lnTo>
                  <a:pt x="270" y="118"/>
                </a:lnTo>
                <a:lnTo>
                  <a:pt x="269" y="114"/>
                </a:lnTo>
                <a:lnTo>
                  <a:pt x="269" y="111"/>
                </a:lnTo>
                <a:lnTo>
                  <a:pt x="271" y="104"/>
                </a:lnTo>
                <a:lnTo>
                  <a:pt x="271" y="104"/>
                </a:lnTo>
                <a:lnTo>
                  <a:pt x="274" y="100"/>
                </a:lnTo>
                <a:lnTo>
                  <a:pt x="277" y="95"/>
                </a:lnTo>
                <a:lnTo>
                  <a:pt x="277" y="91"/>
                </a:lnTo>
                <a:lnTo>
                  <a:pt x="277" y="91"/>
                </a:lnTo>
                <a:lnTo>
                  <a:pt x="279" y="87"/>
                </a:lnTo>
                <a:lnTo>
                  <a:pt x="281" y="84"/>
                </a:lnTo>
                <a:lnTo>
                  <a:pt x="281" y="84"/>
                </a:lnTo>
                <a:lnTo>
                  <a:pt x="279" y="73"/>
                </a:lnTo>
                <a:lnTo>
                  <a:pt x="279" y="64"/>
                </a:lnTo>
                <a:lnTo>
                  <a:pt x="279" y="64"/>
                </a:lnTo>
                <a:lnTo>
                  <a:pt x="277" y="63"/>
                </a:lnTo>
                <a:lnTo>
                  <a:pt x="274" y="63"/>
                </a:lnTo>
                <a:lnTo>
                  <a:pt x="267" y="63"/>
                </a:lnTo>
                <a:lnTo>
                  <a:pt x="267" y="63"/>
                </a:lnTo>
                <a:lnTo>
                  <a:pt x="264" y="61"/>
                </a:lnTo>
                <a:lnTo>
                  <a:pt x="262" y="58"/>
                </a:lnTo>
                <a:lnTo>
                  <a:pt x="259" y="55"/>
                </a:lnTo>
                <a:lnTo>
                  <a:pt x="256" y="54"/>
                </a:lnTo>
                <a:lnTo>
                  <a:pt x="256" y="54"/>
                </a:lnTo>
                <a:lnTo>
                  <a:pt x="253" y="53"/>
                </a:lnTo>
                <a:lnTo>
                  <a:pt x="252" y="51"/>
                </a:lnTo>
                <a:lnTo>
                  <a:pt x="250" y="50"/>
                </a:lnTo>
                <a:lnTo>
                  <a:pt x="249" y="48"/>
                </a:lnTo>
                <a:lnTo>
                  <a:pt x="249" y="48"/>
                </a:lnTo>
                <a:lnTo>
                  <a:pt x="247" y="46"/>
                </a:lnTo>
                <a:lnTo>
                  <a:pt x="244" y="44"/>
                </a:lnTo>
                <a:lnTo>
                  <a:pt x="236" y="44"/>
                </a:lnTo>
                <a:lnTo>
                  <a:pt x="236" y="44"/>
                </a:lnTo>
                <a:lnTo>
                  <a:pt x="232" y="43"/>
                </a:lnTo>
                <a:lnTo>
                  <a:pt x="230" y="41"/>
                </a:lnTo>
                <a:lnTo>
                  <a:pt x="229" y="40"/>
                </a:lnTo>
                <a:lnTo>
                  <a:pt x="227" y="40"/>
                </a:lnTo>
                <a:lnTo>
                  <a:pt x="227" y="40"/>
                </a:lnTo>
                <a:lnTo>
                  <a:pt x="222" y="38"/>
                </a:lnTo>
                <a:lnTo>
                  <a:pt x="219" y="37"/>
                </a:lnTo>
                <a:lnTo>
                  <a:pt x="216" y="34"/>
                </a:lnTo>
                <a:lnTo>
                  <a:pt x="216" y="34"/>
                </a:lnTo>
                <a:lnTo>
                  <a:pt x="212" y="33"/>
                </a:lnTo>
                <a:lnTo>
                  <a:pt x="206" y="31"/>
                </a:lnTo>
                <a:lnTo>
                  <a:pt x="200" y="33"/>
                </a:lnTo>
                <a:lnTo>
                  <a:pt x="197" y="34"/>
                </a:lnTo>
                <a:lnTo>
                  <a:pt x="197" y="34"/>
                </a:lnTo>
                <a:lnTo>
                  <a:pt x="195" y="36"/>
                </a:lnTo>
                <a:lnTo>
                  <a:pt x="192" y="36"/>
                </a:lnTo>
                <a:lnTo>
                  <a:pt x="186" y="36"/>
                </a:lnTo>
                <a:lnTo>
                  <a:pt x="186" y="36"/>
                </a:lnTo>
                <a:lnTo>
                  <a:pt x="182" y="37"/>
                </a:lnTo>
                <a:lnTo>
                  <a:pt x="178" y="40"/>
                </a:lnTo>
                <a:lnTo>
                  <a:pt x="172" y="46"/>
                </a:lnTo>
                <a:lnTo>
                  <a:pt x="172" y="46"/>
                </a:lnTo>
                <a:lnTo>
                  <a:pt x="169" y="47"/>
                </a:lnTo>
                <a:lnTo>
                  <a:pt x="166" y="47"/>
                </a:lnTo>
                <a:lnTo>
                  <a:pt x="159" y="48"/>
                </a:lnTo>
                <a:lnTo>
                  <a:pt x="159" y="48"/>
                </a:lnTo>
                <a:lnTo>
                  <a:pt x="159" y="53"/>
                </a:lnTo>
                <a:lnTo>
                  <a:pt x="158" y="57"/>
                </a:lnTo>
                <a:lnTo>
                  <a:pt x="158" y="57"/>
                </a:lnTo>
                <a:lnTo>
                  <a:pt x="153" y="58"/>
                </a:lnTo>
                <a:lnTo>
                  <a:pt x="145" y="61"/>
                </a:lnTo>
                <a:lnTo>
                  <a:pt x="133" y="63"/>
                </a:lnTo>
                <a:lnTo>
                  <a:pt x="124" y="64"/>
                </a:lnTo>
                <a:lnTo>
                  <a:pt x="124" y="64"/>
                </a:lnTo>
                <a:lnTo>
                  <a:pt x="119" y="63"/>
                </a:lnTo>
                <a:lnTo>
                  <a:pt x="115" y="61"/>
                </a:lnTo>
                <a:lnTo>
                  <a:pt x="109" y="55"/>
                </a:lnTo>
                <a:lnTo>
                  <a:pt x="102" y="50"/>
                </a:lnTo>
                <a:lnTo>
                  <a:pt x="99" y="47"/>
                </a:lnTo>
                <a:lnTo>
                  <a:pt x="94" y="47"/>
                </a:lnTo>
                <a:lnTo>
                  <a:pt x="94" y="47"/>
                </a:lnTo>
                <a:lnTo>
                  <a:pt x="89" y="46"/>
                </a:lnTo>
                <a:lnTo>
                  <a:pt x="87" y="44"/>
                </a:lnTo>
                <a:lnTo>
                  <a:pt x="81" y="40"/>
                </a:lnTo>
                <a:lnTo>
                  <a:pt x="77" y="34"/>
                </a:lnTo>
                <a:lnTo>
                  <a:pt x="75" y="27"/>
                </a:lnTo>
                <a:lnTo>
                  <a:pt x="75" y="27"/>
                </a:lnTo>
                <a:lnTo>
                  <a:pt x="67" y="23"/>
                </a:lnTo>
                <a:lnTo>
                  <a:pt x="64" y="21"/>
                </a:lnTo>
                <a:lnTo>
                  <a:pt x="62" y="18"/>
                </a:lnTo>
                <a:lnTo>
                  <a:pt x="62" y="18"/>
                </a:lnTo>
                <a:lnTo>
                  <a:pt x="64" y="16"/>
                </a:lnTo>
                <a:lnTo>
                  <a:pt x="65" y="10"/>
                </a:lnTo>
                <a:lnTo>
                  <a:pt x="64" y="4"/>
                </a:lnTo>
                <a:lnTo>
                  <a:pt x="62" y="4"/>
                </a:lnTo>
                <a:lnTo>
                  <a:pt x="60" y="4"/>
                </a:lnTo>
                <a:lnTo>
                  <a:pt x="60" y="4"/>
                </a:lnTo>
                <a:lnTo>
                  <a:pt x="47" y="14"/>
                </a:lnTo>
                <a:lnTo>
                  <a:pt x="37" y="17"/>
                </a:lnTo>
                <a:lnTo>
                  <a:pt x="32" y="18"/>
                </a:lnTo>
                <a:lnTo>
                  <a:pt x="28" y="18"/>
                </a:lnTo>
                <a:lnTo>
                  <a:pt x="28" y="18"/>
                </a:lnTo>
                <a:lnTo>
                  <a:pt x="21" y="17"/>
                </a:lnTo>
                <a:lnTo>
                  <a:pt x="20" y="16"/>
                </a:lnTo>
                <a:lnTo>
                  <a:pt x="20" y="14"/>
                </a:lnTo>
                <a:lnTo>
                  <a:pt x="17" y="13"/>
                </a:lnTo>
                <a:lnTo>
                  <a:pt x="17" y="13"/>
                </a:lnTo>
                <a:lnTo>
                  <a:pt x="14" y="9"/>
                </a:lnTo>
                <a:lnTo>
                  <a:pt x="13" y="6"/>
                </a:lnTo>
                <a:lnTo>
                  <a:pt x="11" y="1"/>
                </a:lnTo>
                <a:lnTo>
                  <a:pt x="10" y="1"/>
                </a:lnTo>
                <a:lnTo>
                  <a:pt x="7" y="0"/>
                </a:lnTo>
                <a:lnTo>
                  <a:pt x="7" y="0"/>
                </a:lnTo>
                <a:lnTo>
                  <a:pt x="5" y="0"/>
                </a:lnTo>
                <a:lnTo>
                  <a:pt x="4" y="1"/>
                </a:lnTo>
                <a:lnTo>
                  <a:pt x="3" y="4"/>
                </a:lnTo>
                <a:lnTo>
                  <a:pt x="3" y="7"/>
                </a:lnTo>
                <a:lnTo>
                  <a:pt x="3" y="9"/>
                </a:lnTo>
                <a:lnTo>
                  <a:pt x="1" y="9"/>
                </a:lnTo>
                <a:lnTo>
                  <a:pt x="1" y="9"/>
                </a:lnTo>
                <a:lnTo>
                  <a:pt x="1" y="9"/>
                </a:lnTo>
                <a:lnTo>
                  <a:pt x="0" y="10"/>
                </a:lnTo>
                <a:lnTo>
                  <a:pt x="0" y="14"/>
                </a:lnTo>
                <a:lnTo>
                  <a:pt x="3" y="21"/>
                </a:lnTo>
                <a:lnTo>
                  <a:pt x="3" y="21"/>
                </a:lnTo>
                <a:lnTo>
                  <a:pt x="3" y="26"/>
                </a:lnTo>
                <a:lnTo>
                  <a:pt x="1" y="31"/>
                </a:lnTo>
                <a:lnTo>
                  <a:pt x="1" y="36"/>
                </a:lnTo>
                <a:lnTo>
                  <a:pt x="3" y="38"/>
                </a:lnTo>
                <a:lnTo>
                  <a:pt x="3" y="38"/>
                </a:lnTo>
                <a:lnTo>
                  <a:pt x="4" y="41"/>
                </a:lnTo>
                <a:lnTo>
                  <a:pt x="7" y="44"/>
                </a:lnTo>
                <a:lnTo>
                  <a:pt x="10" y="48"/>
                </a:lnTo>
                <a:lnTo>
                  <a:pt x="10" y="51"/>
                </a:lnTo>
                <a:lnTo>
                  <a:pt x="10" y="51"/>
                </a:lnTo>
                <a:lnTo>
                  <a:pt x="11" y="54"/>
                </a:lnTo>
                <a:lnTo>
                  <a:pt x="13" y="57"/>
                </a:lnTo>
                <a:lnTo>
                  <a:pt x="14" y="61"/>
                </a:lnTo>
                <a:lnTo>
                  <a:pt x="15" y="64"/>
                </a:lnTo>
                <a:lnTo>
                  <a:pt x="15" y="64"/>
                </a:lnTo>
                <a:lnTo>
                  <a:pt x="17" y="67"/>
                </a:lnTo>
                <a:lnTo>
                  <a:pt x="18" y="71"/>
                </a:lnTo>
                <a:lnTo>
                  <a:pt x="21" y="73"/>
                </a:lnTo>
                <a:lnTo>
                  <a:pt x="24" y="74"/>
                </a:lnTo>
                <a:lnTo>
                  <a:pt x="24" y="74"/>
                </a:lnTo>
                <a:lnTo>
                  <a:pt x="30" y="75"/>
                </a:lnTo>
                <a:lnTo>
                  <a:pt x="31" y="77"/>
                </a:lnTo>
                <a:lnTo>
                  <a:pt x="31" y="80"/>
                </a:lnTo>
                <a:lnTo>
                  <a:pt x="31" y="80"/>
                </a:lnTo>
                <a:lnTo>
                  <a:pt x="31" y="82"/>
                </a:lnTo>
                <a:lnTo>
                  <a:pt x="31" y="85"/>
                </a:lnTo>
                <a:lnTo>
                  <a:pt x="31" y="88"/>
                </a:lnTo>
                <a:lnTo>
                  <a:pt x="28" y="88"/>
                </a:lnTo>
                <a:lnTo>
                  <a:pt x="28" y="88"/>
                </a:lnTo>
                <a:lnTo>
                  <a:pt x="28" y="90"/>
                </a:lnTo>
                <a:lnTo>
                  <a:pt x="27" y="91"/>
                </a:lnTo>
                <a:lnTo>
                  <a:pt x="25" y="94"/>
                </a:lnTo>
                <a:lnTo>
                  <a:pt x="24" y="98"/>
                </a:lnTo>
                <a:lnTo>
                  <a:pt x="23" y="101"/>
                </a:lnTo>
                <a:lnTo>
                  <a:pt x="23" y="101"/>
                </a:lnTo>
                <a:lnTo>
                  <a:pt x="21" y="104"/>
                </a:lnTo>
                <a:lnTo>
                  <a:pt x="21" y="110"/>
                </a:lnTo>
                <a:lnTo>
                  <a:pt x="23" y="114"/>
                </a:lnTo>
                <a:lnTo>
                  <a:pt x="24" y="117"/>
                </a:lnTo>
                <a:lnTo>
                  <a:pt x="24" y="117"/>
                </a:lnTo>
                <a:lnTo>
                  <a:pt x="30" y="119"/>
                </a:lnTo>
                <a:lnTo>
                  <a:pt x="31" y="122"/>
                </a:lnTo>
                <a:lnTo>
                  <a:pt x="32" y="125"/>
                </a:lnTo>
                <a:lnTo>
                  <a:pt x="32" y="125"/>
                </a:lnTo>
                <a:lnTo>
                  <a:pt x="32" y="127"/>
                </a:lnTo>
                <a:lnTo>
                  <a:pt x="34" y="128"/>
                </a:lnTo>
                <a:lnTo>
                  <a:pt x="40" y="132"/>
                </a:lnTo>
                <a:lnTo>
                  <a:pt x="45" y="135"/>
                </a:lnTo>
                <a:lnTo>
                  <a:pt x="50" y="137"/>
                </a:lnTo>
                <a:lnTo>
                  <a:pt x="50" y="137"/>
                </a:lnTo>
                <a:lnTo>
                  <a:pt x="52" y="138"/>
                </a:lnTo>
                <a:lnTo>
                  <a:pt x="54" y="141"/>
                </a:lnTo>
                <a:lnTo>
                  <a:pt x="57" y="147"/>
                </a:lnTo>
                <a:lnTo>
                  <a:pt x="57" y="147"/>
                </a:lnTo>
                <a:lnTo>
                  <a:pt x="58" y="149"/>
                </a:lnTo>
                <a:lnTo>
                  <a:pt x="58" y="152"/>
                </a:lnTo>
                <a:lnTo>
                  <a:pt x="57" y="155"/>
                </a:lnTo>
                <a:lnTo>
                  <a:pt x="57" y="156"/>
                </a:lnTo>
                <a:lnTo>
                  <a:pt x="57" y="156"/>
                </a:lnTo>
                <a:lnTo>
                  <a:pt x="57" y="159"/>
                </a:lnTo>
                <a:lnTo>
                  <a:pt x="60" y="162"/>
                </a:lnTo>
                <a:lnTo>
                  <a:pt x="61" y="165"/>
                </a:lnTo>
                <a:lnTo>
                  <a:pt x="62" y="168"/>
                </a:lnTo>
                <a:lnTo>
                  <a:pt x="62" y="168"/>
                </a:lnTo>
                <a:lnTo>
                  <a:pt x="62" y="171"/>
                </a:lnTo>
                <a:lnTo>
                  <a:pt x="65" y="174"/>
                </a:lnTo>
                <a:lnTo>
                  <a:pt x="71" y="181"/>
                </a:lnTo>
                <a:lnTo>
                  <a:pt x="71" y="181"/>
                </a:lnTo>
                <a:lnTo>
                  <a:pt x="75" y="179"/>
                </a:lnTo>
                <a:lnTo>
                  <a:pt x="75" y="179"/>
                </a:lnTo>
                <a:lnTo>
                  <a:pt x="77" y="179"/>
                </a:lnTo>
                <a:lnTo>
                  <a:pt x="79" y="178"/>
                </a:lnTo>
                <a:lnTo>
                  <a:pt x="79" y="176"/>
                </a:lnTo>
                <a:lnTo>
                  <a:pt x="82" y="178"/>
                </a:lnTo>
                <a:lnTo>
                  <a:pt x="82" y="178"/>
                </a:lnTo>
                <a:lnTo>
                  <a:pt x="85" y="179"/>
                </a:lnTo>
                <a:lnTo>
                  <a:pt x="88" y="179"/>
                </a:lnTo>
                <a:lnTo>
                  <a:pt x="94" y="178"/>
                </a:lnTo>
                <a:lnTo>
                  <a:pt x="94" y="178"/>
                </a:lnTo>
                <a:lnTo>
                  <a:pt x="96" y="181"/>
                </a:lnTo>
                <a:lnTo>
                  <a:pt x="101" y="186"/>
                </a:lnTo>
                <a:lnTo>
                  <a:pt x="109" y="202"/>
                </a:lnTo>
                <a:lnTo>
                  <a:pt x="109" y="202"/>
                </a:lnTo>
                <a:lnTo>
                  <a:pt x="114" y="212"/>
                </a:lnTo>
                <a:lnTo>
                  <a:pt x="115" y="215"/>
                </a:lnTo>
                <a:lnTo>
                  <a:pt x="119" y="218"/>
                </a:lnTo>
                <a:lnTo>
                  <a:pt x="119" y="218"/>
                </a:lnTo>
                <a:lnTo>
                  <a:pt x="124" y="219"/>
                </a:lnTo>
                <a:lnTo>
                  <a:pt x="128" y="220"/>
                </a:lnTo>
                <a:lnTo>
                  <a:pt x="132" y="222"/>
                </a:lnTo>
                <a:lnTo>
                  <a:pt x="138" y="228"/>
                </a:lnTo>
                <a:lnTo>
                  <a:pt x="138" y="228"/>
                </a:lnTo>
                <a:lnTo>
                  <a:pt x="146" y="232"/>
                </a:lnTo>
                <a:lnTo>
                  <a:pt x="156" y="238"/>
                </a:lnTo>
                <a:lnTo>
                  <a:pt x="166" y="240"/>
                </a:lnTo>
                <a:lnTo>
                  <a:pt x="175" y="240"/>
                </a:lnTo>
                <a:lnTo>
                  <a:pt x="175" y="240"/>
                </a:lnTo>
                <a:lnTo>
                  <a:pt x="180" y="240"/>
                </a:lnTo>
                <a:lnTo>
                  <a:pt x="186" y="236"/>
                </a:lnTo>
                <a:lnTo>
                  <a:pt x="193" y="235"/>
                </a:lnTo>
                <a:lnTo>
                  <a:pt x="196" y="233"/>
                </a:lnTo>
                <a:lnTo>
                  <a:pt x="200" y="233"/>
                </a:lnTo>
                <a:lnTo>
                  <a:pt x="200" y="233"/>
                </a:lnTo>
                <a:lnTo>
                  <a:pt x="205" y="235"/>
                </a:lnTo>
                <a:lnTo>
                  <a:pt x="206" y="238"/>
                </a:lnTo>
                <a:lnTo>
                  <a:pt x="209" y="243"/>
                </a:lnTo>
                <a:lnTo>
                  <a:pt x="210" y="250"/>
                </a:lnTo>
                <a:lnTo>
                  <a:pt x="213" y="255"/>
                </a:lnTo>
                <a:lnTo>
                  <a:pt x="213" y="255"/>
                </a:lnTo>
                <a:lnTo>
                  <a:pt x="216" y="257"/>
                </a:lnTo>
                <a:lnTo>
                  <a:pt x="222" y="259"/>
                </a:lnTo>
                <a:lnTo>
                  <a:pt x="240" y="262"/>
                </a:lnTo>
                <a:lnTo>
                  <a:pt x="269" y="266"/>
                </a:lnTo>
                <a:lnTo>
                  <a:pt x="269" y="266"/>
                </a:lnTo>
                <a:lnTo>
                  <a:pt x="286" y="267"/>
                </a:lnTo>
                <a:lnTo>
                  <a:pt x="286" y="267"/>
                </a:lnTo>
                <a:lnTo>
                  <a:pt x="286" y="263"/>
                </a:lnTo>
                <a:lnTo>
                  <a:pt x="286" y="263"/>
                </a:lnTo>
                <a:lnTo>
                  <a:pt x="286" y="257"/>
                </a:lnTo>
                <a:lnTo>
                  <a:pt x="289" y="253"/>
                </a:lnTo>
                <a:lnTo>
                  <a:pt x="291" y="249"/>
                </a:lnTo>
                <a:lnTo>
                  <a:pt x="296" y="246"/>
                </a:lnTo>
                <a:lnTo>
                  <a:pt x="296" y="246"/>
                </a:lnTo>
                <a:lnTo>
                  <a:pt x="303" y="243"/>
                </a:lnTo>
                <a:lnTo>
                  <a:pt x="310" y="242"/>
                </a:lnTo>
                <a:lnTo>
                  <a:pt x="310" y="242"/>
                </a:lnTo>
                <a:lnTo>
                  <a:pt x="311" y="242"/>
                </a:lnTo>
                <a:lnTo>
                  <a:pt x="313" y="240"/>
                </a:lnTo>
                <a:lnTo>
                  <a:pt x="311" y="236"/>
                </a:lnTo>
                <a:lnTo>
                  <a:pt x="308" y="232"/>
                </a:lnTo>
                <a:lnTo>
                  <a:pt x="306" y="230"/>
                </a:lnTo>
                <a:lnTo>
                  <a:pt x="306" y="23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53" name="Freeform 341">
            <a:extLst>
              <a:ext uri="{FF2B5EF4-FFF2-40B4-BE49-F238E27FC236}">
                <a16:creationId xmlns:a16="http://schemas.microsoft.com/office/drawing/2014/main" id="{D3A63CB2-3D76-9F39-80E6-7227D737312E}"/>
              </a:ext>
            </a:extLst>
          </p:cNvPr>
          <p:cNvSpPr>
            <a:spLocks noEditPoints="1"/>
          </p:cNvSpPr>
          <p:nvPr userDrawn="1"/>
        </p:nvSpPr>
        <p:spPr bwMode="gray">
          <a:xfrm>
            <a:off x="5317191" y="2049342"/>
            <a:ext cx="849233" cy="394055"/>
          </a:xfrm>
          <a:custGeom>
            <a:avLst/>
            <a:gdLst/>
            <a:ahLst/>
            <a:cxnLst>
              <a:cxn ang="0">
                <a:pos x="626" y="124"/>
              </a:cxn>
              <a:cxn ang="0">
                <a:pos x="608" y="105"/>
              </a:cxn>
              <a:cxn ang="0">
                <a:pos x="574" y="101"/>
              </a:cxn>
              <a:cxn ang="0">
                <a:pos x="544" y="99"/>
              </a:cxn>
              <a:cxn ang="0">
                <a:pos x="499" y="37"/>
              </a:cxn>
              <a:cxn ang="0">
                <a:pos x="483" y="23"/>
              </a:cxn>
              <a:cxn ang="0">
                <a:pos x="448" y="38"/>
              </a:cxn>
              <a:cxn ang="0">
                <a:pos x="445" y="31"/>
              </a:cxn>
              <a:cxn ang="0">
                <a:pos x="426" y="31"/>
              </a:cxn>
              <a:cxn ang="0">
                <a:pos x="406" y="27"/>
              </a:cxn>
              <a:cxn ang="0">
                <a:pos x="402" y="8"/>
              </a:cxn>
              <a:cxn ang="0">
                <a:pos x="369" y="0"/>
              </a:cxn>
              <a:cxn ang="0">
                <a:pos x="314" y="17"/>
              </a:cxn>
              <a:cxn ang="0">
                <a:pos x="258" y="28"/>
              </a:cxn>
              <a:cxn ang="0">
                <a:pos x="241" y="42"/>
              </a:cxn>
              <a:cxn ang="0">
                <a:pos x="236" y="55"/>
              </a:cxn>
              <a:cxn ang="0">
                <a:pos x="227" y="81"/>
              </a:cxn>
              <a:cxn ang="0">
                <a:pos x="244" y="99"/>
              </a:cxn>
              <a:cxn ang="0">
                <a:pos x="219" y="104"/>
              </a:cxn>
              <a:cxn ang="0">
                <a:pos x="199" y="95"/>
              </a:cxn>
              <a:cxn ang="0">
                <a:pos x="166" y="94"/>
              </a:cxn>
              <a:cxn ang="0">
                <a:pos x="135" y="99"/>
              </a:cxn>
              <a:cxn ang="0">
                <a:pos x="112" y="85"/>
              </a:cxn>
              <a:cxn ang="0">
                <a:pos x="84" y="84"/>
              </a:cxn>
              <a:cxn ang="0">
                <a:pos x="47" y="94"/>
              </a:cxn>
              <a:cxn ang="0">
                <a:pos x="35" y="118"/>
              </a:cxn>
              <a:cxn ang="0">
                <a:pos x="12" y="114"/>
              </a:cxn>
              <a:cxn ang="0">
                <a:pos x="10" y="131"/>
              </a:cxn>
              <a:cxn ang="0">
                <a:pos x="8" y="149"/>
              </a:cxn>
              <a:cxn ang="0">
                <a:pos x="28" y="163"/>
              </a:cxn>
              <a:cxn ang="0">
                <a:pos x="39" y="189"/>
              </a:cxn>
              <a:cxn ang="0">
                <a:pos x="95" y="180"/>
              </a:cxn>
              <a:cxn ang="0">
                <a:pos x="108" y="209"/>
              </a:cxn>
              <a:cxn ang="0">
                <a:pos x="72" y="219"/>
              </a:cxn>
              <a:cxn ang="0">
                <a:pos x="59" y="233"/>
              </a:cxn>
              <a:cxn ang="0">
                <a:pos x="79" y="256"/>
              </a:cxn>
              <a:cxn ang="0">
                <a:pos x="98" y="270"/>
              </a:cxn>
              <a:cxn ang="0">
                <a:pos x="105" y="276"/>
              </a:cxn>
              <a:cxn ang="0">
                <a:pos x="142" y="286"/>
              </a:cxn>
              <a:cxn ang="0">
                <a:pos x="200" y="200"/>
              </a:cxn>
              <a:cxn ang="0">
                <a:pos x="219" y="196"/>
              </a:cxn>
              <a:cxn ang="0">
                <a:pos x="230" y="227"/>
              </a:cxn>
              <a:cxn ang="0">
                <a:pos x="286" y="247"/>
              </a:cxn>
              <a:cxn ang="0">
                <a:pos x="318" y="271"/>
              </a:cxn>
              <a:cxn ang="0">
                <a:pos x="350" y="296"/>
              </a:cxn>
              <a:cxn ang="0">
                <a:pos x="372" y="289"/>
              </a:cxn>
              <a:cxn ang="0">
                <a:pos x="404" y="264"/>
              </a:cxn>
              <a:cxn ang="0">
                <a:pos x="439" y="261"/>
              </a:cxn>
              <a:cxn ang="0">
                <a:pos x="478" y="261"/>
              </a:cxn>
              <a:cxn ang="0">
                <a:pos x="540" y="271"/>
              </a:cxn>
              <a:cxn ang="0">
                <a:pos x="554" y="252"/>
              </a:cxn>
              <a:cxn ang="0">
                <a:pos x="547" y="219"/>
              </a:cxn>
              <a:cxn ang="0">
                <a:pos x="583" y="216"/>
              </a:cxn>
              <a:cxn ang="0">
                <a:pos x="594" y="175"/>
              </a:cxn>
              <a:cxn ang="0">
                <a:pos x="631" y="175"/>
              </a:cxn>
              <a:cxn ang="0">
                <a:pos x="643" y="148"/>
              </a:cxn>
              <a:cxn ang="0">
                <a:pos x="648" y="124"/>
              </a:cxn>
              <a:cxn ang="0">
                <a:pos x="233" y="186"/>
              </a:cxn>
              <a:cxn ang="0">
                <a:pos x="463" y="193"/>
              </a:cxn>
              <a:cxn ang="0">
                <a:pos x="445" y="216"/>
              </a:cxn>
              <a:cxn ang="0">
                <a:pos x="489" y="186"/>
              </a:cxn>
              <a:cxn ang="0">
                <a:pos x="512" y="192"/>
              </a:cxn>
            </a:cxnLst>
            <a:rect l="0" t="0" r="r" b="b"/>
            <a:pathLst>
              <a:path w="653" h="303">
                <a:moveTo>
                  <a:pt x="648" y="124"/>
                </a:moveTo>
                <a:lnTo>
                  <a:pt x="648" y="124"/>
                </a:lnTo>
                <a:lnTo>
                  <a:pt x="648" y="122"/>
                </a:lnTo>
                <a:lnTo>
                  <a:pt x="647" y="122"/>
                </a:lnTo>
                <a:lnTo>
                  <a:pt x="643" y="124"/>
                </a:lnTo>
                <a:lnTo>
                  <a:pt x="643" y="124"/>
                </a:lnTo>
                <a:lnTo>
                  <a:pt x="637" y="125"/>
                </a:lnTo>
                <a:lnTo>
                  <a:pt x="630" y="126"/>
                </a:lnTo>
                <a:lnTo>
                  <a:pt x="630" y="126"/>
                </a:lnTo>
                <a:lnTo>
                  <a:pt x="627" y="125"/>
                </a:lnTo>
                <a:lnTo>
                  <a:pt x="626" y="124"/>
                </a:lnTo>
                <a:lnTo>
                  <a:pt x="623" y="121"/>
                </a:lnTo>
                <a:lnTo>
                  <a:pt x="623" y="119"/>
                </a:lnTo>
                <a:lnTo>
                  <a:pt x="623" y="119"/>
                </a:lnTo>
                <a:lnTo>
                  <a:pt x="621" y="115"/>
                </a:lnTo>
                <a:lnTo>
                  <a:pt x="620" y="114"/>
                </a:lnTo>
                <a:lnTo>
                  <a:pt x="618" y="114"/>
                </a:lnTo>
                <a:lnTo>
                  <a:pt x="618" y="114"/>
                </a:lnTo>
                <a:lnTo>
                  <a:pt x="616" y="112"/>
                </a:lnTo>
                <a:lnTo>
                  <a:pt x="614" y="112"/>
                </a:lnTo>
                <a:lnTo>
                  <a:pt x="611" y="109"/>
                </a:lnTo>
                <a:lnTo>
                  <a:pt x="608" y="105"/>
                </a:lnTo>
                <a:lnTo>
                  <a:pt x="608" y="105"/>
                </a:lnTo>
                <a:lnTo>
                  <a:pt x="606" y="101"/>
                </a:lnTo>
                <a:lnTo>
                  <a:pt x="604" y="99"/>
                </a:lnTo>
                <a:lnTo>
                  <a:pt x="598" y="96"/>
                </a:lnTo>
                <a:lnTo>
                  <a:pt x="598" y="96"/>
                </a:lnTo>
                <a:lnTo>
                  <a:pt x="596" y="96"/>
                </a:lnTo>
                <a:lnTo>
                  <a:pt x="590" y="98"/>
                </a:lnTo>
                <a:lnTo>
                  <a:pt x="583" y="101"/>
                </a:lnTo>
                <a:lnTo>
                  <a:pt x="583" y="101"/>
                </a:lnTo>
                <a:lnTo>
                  <a:pt x="579" y="101"/>
                </a:lnTo>
                <a:lnTo>
                  <a:pt x="574" y="101"/>
                </a:lnTo>
                <a:lnTo>
                  <a:pt x="567" y="98"/>
                </a:lnTo>
                <a:lnTo>
                  <a:pt x="567" y="98"/>
                </a:lnTo>
                <a:lnTo>
                  <a:pt x="563" y="96"/>
                </a:lnTo>
                <a:lnTo>
                  <a:pt x="560" y="94"/>
                </a:lnTo>
                <a:lnTo>
                  <a:pt x="557" y="91"/>
                </a:lnTo>
                <a:lnTo>
                  <a:pt x="554" y="89"/>
                </a:lnTo>
                <a:lnTo>
                  <a:pt x="554" y="89"/>
                </a:lnTo>
                <a:lnTo>
                  <a:pt x="552" y="92"/>
                </a:lnTo>
                <a:lnTo>
                  <a:pt x="549" y="95"/>
                </a:lnTo>
                <a:lnTo>
                  <a:pt x="547" y="98"/>
                </a:lnTo>
                <a:lnTo>
                  <a:pt x="544" y="99"/>
                </a:lnTo>
                <a:lnTo>
                  <a:pt x="544" y="99"/>
                </a:lnTo>
                <a:lnTo>
                  <a:pt x="543" y="99"/>
                </a:lnTo>
                <a:lnTo>
                  <a:pt x="542" y="96"/>
                </a:lnTo>
                <a:lnTo>
                  <a:pt x="537" y="89"/>
                </a:lnTo>
                <a:lnTo>
                  <a:pt x="533" y="79"/>
                </a:lnTo>
                <a:lnTo>
                  <a:pt x="529" y="71"/>
                </a:lnTo>
                <a:lnTo>
                  <a:pt x="529" y="71"/>
                </a:lnTo>
                <a:lnTo>
                  <a:pt x="515" y="51"/>
                </a:lnTo>
                <a:lnTo>
                  <a:pt x="507" y="42"/>
                </a:lnTo>
                <a:lnTo>
                  <a:pt x="503" y="38"/>
                </a:lnTo>
                <a:lnTo>
                  <a:pt x="499" y="37"/>
                </a:lnTo>
                <a:lnTo>
                  <a:pt x="499" y="37"/>
                </a:lnTo>
                <a:lnTo>
                  <a:pt x="493" y="32"/>
                </a:lnTo>
                <a:lnTo>
                  <a:pt x="492" y="30"/>
                </a:lnTo>
                <a:lnTo>
                  <a:pt x="492" y="27"/>
                </a:lnTo>
                <a:lnTo>
                  <a:pt x="495" y="24"/>
                </a:lnTo>
                <a:lnTo>
                  <a:pt x="495" y="24"/>
                </a:lnTo>
                <a:lnTo>
                  <a:pt x="495" y="23"/>
                </a:lnTo>
                <a:lnTo>
                  <a:pt x="495" y="23"/>
                </a:lnTo>
                <a:lnTo>
                  <a:pt x="492" y="21"/>
                </a:lnTo>
                <a:lnTo>
                  <a:pt x="488" y="23"/>
                </a:lnTo>
                <a:lnTo>
                  <a:pt x="483" y="23"/>
                </a:lnTo>
                <a:lnTo>
                  <a:pt x="483" y="23"/>
                </a:lnTo>
                <a:lnTo>
                  <a:pt x="476" y="28"/>
                </a:lnTo>
                <a:lnTo>
                  <a:pt x="473" y="30"/>
                </a:lnTo>
                <a:lnTo>
                  <a:pt x="469" y="31"/>
                </a:lnTo>
                <a:lnTo>
                  <a:pt x="469" y="31"/>
                </a:lnTo>
                <a:lnTo>
                  <a:pt x="465" y="32"/>
                </a:lnTo>
                <a:lnTo>
                  <a:pt x="460" y="35"/>
                </a:lnTo>
                <a:lnTo>
                  <a:pt x="456" y="38"/>
                </a:lnTo>
                <a:lnTo>
                  <a:pt x="452" y="38"/>
                </a:lnTo>
                <a:lnTo>
                  <a:pt x="452" y="38"/>
                </a:lnTo>
                <a:lnTo>
                  <a:pt x="448" y="38"/>
                </a:lnTo>
                <a:lnTo>
                  <a:pt x="445" y="41"/>
                </a:lnTo>
                <a:lnTo>
                  <a:pt x="442" y="42"/>
                </a:lnTo>
                <a:lnTo>
                  <a:pt x="441" y="42"/>
                </a:lnTo>
                <a:lnTo>
                  <a:pt x="439" y="41"/>
                </a:lnTo>
                <a:lnTo>
                  <a:pt x="439" y="41"/>
                </a:lnTo>
                <a:lnTo>
                  <a:pt x="438" y="40"/>
                </a:lnTo>
                <a:lnTo>
                  <a:pt x="438" y="38"/>
                </a:lnTo>
                <a:lnTo>
                  <a:pt x="441" y="35"/>
                </a:lnTo>
                <a:lnTo>
                  <a:pt x="443" y="34"/>
                </a:lnTo>
                <a:lnTo>
                  <a:pt x="445" y="31"/>
                </a:lnTo>
                <a:lnTo>
                  <a:pt x="445" y="31"/>
                </a:lnTo>
                <a:lnTo>
                  <a:pt x="443" y="30"/>
                </a:lnTo>
                <a:lnTo>
                  <a:pt x="442" y="30"/>
                </a:lnTo>
                <a:lnTo>
                  <a:pt x="439" y="31"/>
                </a:lnTo>
                <a:lnTo>
                  <a:pt x="436" y="30"/>
                </a:lnTo>
                <a:lnTo>
                  <a:pt x="436" y="30"/>
                </a:lnTo>
                <a:lnTo>
                  <a:pt x="432" y="27"/>
                </a:lnTo>
                <a:lnTo>
                  <a:pt x="429" y="27"/>
                </a:lnTo>
                <a:lnTo>
                  <a:pt x="429" y="28"/>
                </a:lnTo>
                <a:lnTo>
                  <a:pt x="429" y="28"/>
                </a:lnTo>
                <a:lnTo>
                  <a:pt x="428" y="30"/>
                </a:lnTo>
                <a:lnTo>
                  <a:pt x="426" y="31"/>
                </a:lnTo>
                <a:lnTo>
                  <a:pt x="425" y="30"/>
                </a:lnTo>
                <a:lnTo>
                  <a:pt x="425" y="28"/>
                </a:lnTo>
                <a:lnTo>
                  <a:pt x="425" y="28"/>
                </a:lnTo>
                <a:lnTo>
                  <a:pt x="424" y="25"/>
                </a:lnTo>
                <a:lnTo>
                  <a:pt x="422" y="24"/>
                </a:lnTo>
                <a:lnTo>
                  <a:pt x="421" y="23"/>
                </a:lnTo>
                <a:lnTo>
                  <a:pt x="418" y="24"/>
                </a:lnTo>
                <a:lnTo>
                  <a:pt x="418" y="24"/>
                </a:lnTo>
                <a:lnTo>
                  <a:pt x="415" y="25"/>
                </a:lnTo>
                <a:lnTo>
                  <a:pt x="411" y="27"/>
                </a:lnTo>
                <a:lnTo>
                  <a:pt x="406" y="27"/>
                </a:lnTo>
                <a:lnTo>
                  <a:pt x="404" y="27"/>
                </a:lnTo>
                <a:lnTo>
                  <a:pt x="404" y="27"/>
                </a:lnTo>
                <a:lnTo>
                  <a:pt x="404" y="24"/>
                </a:lnTo>
                <a:lnTo>
                  <a:pt x="404" y="23"/>
                </a:lnTo>
                <a:lnTo>
                  <a:pt x="405" y="20"/>
                </a:lnTo>
                <a:lnTo>
                  <a:pt x="405" y="20"/>
                </a:lnTo>
                <a:lnTo>
                  <a:pt x="405" y="17"/>
                </a:lnTo>
                <a:lnTo>
                  <a:pt x="404" y="14"/>
                </a:lnTo>
                <a:lnTo>
                  <a:pt x="402" y="11"/>
                </a:lnTo>
                <a:lnTo>
                  <a:pt x="402" y="8"/>
                </a:lnTo>
                <a:lnTo>
                  <a:pt x="402" y="8"/>
                </a:lnTo>
                <a:lnTo>
                  <a:pt x="402" y="5"/>
                </a:lnTo>
                <a:lnTo>
                  <a:pt x="399" y="3"/>
                </a:lnTo>
                <a:lnTo>
                  <a:pt x="395" y="1"/>
                </a:lnTo>
                <a:lnTo>
                  <a:pt x="392" y="1"/>
                </a:lnTo>
                <a:lnTo>
                  <a:pt x="392" y="1"/>
                </a:lnTo>
                <a:lnTo>
                  <a:pt x="389" y="3"/>
                </a:lnTo>
                <a:lnTo>
                  <a:pt x="387" y="3"/>
                </a:lnTo>
                <a:lnTo>
                  <a:pt x="379" y="0"/>
                </a:lnTo>
                <a:lnTo>
                  <a:pt x="379" y="0"/>
                </a:lnTo>
                <a:lnTo>
                  <a:pt x="375" y="0"/>
                </a:lnTo>
                <a:lnTo>
                  <a:pt x="369" y="0"/>
                </a:lnTo>
                <a:lnTo>
                  <a:pt x="362" y="3"/>
                </a:lnTo>
                <a:lnTo>
                  <a:pt x="359" y="4"/>
                </a:lnTo>
                <a:lnTo>
                  <a:pt x="359" y="4"/>
                </a:lnTo>
                <a:lnTo>
                  <a:pt x="359" y="5"/>
                </a:lnTo>
                <a:lnTo>
                  <a:pt x="357" y="7"/>
                </a:lnTo>
                <a:lnTo>
                  <a:pt x="350" y="10"/>
                </a:lnTo>
                <a:lnTo>
                  <a:pt x="337" y="13"/>
                </a:lnTo>
                <a:lnTo>
                  <a:pt x="337" y="13"/>
                </a:lnTo>
                <a:lnTo>
                  <a:pt x="325" y="15"/>
                </a:lnTo>
                <a:lnTo>
                  <a:pt x="314" y="17"/>
                </a:lnTo>
                <a:lnTo>
                  <a:pt x="314" y="17"/>
                </a:lnTo>
                <a:lnTo>
                  <a:pt x="305" y="20"/>
                </a:lnTo>
                <a:lnTo>
                  <a:pt x="303" y="21"/>
                </a:lnTo>
                <a:lnTo>
                  <a:pt x="297" y="21"/>
                </a:lnTo>
                <a:lnTo>
                  <a:pt x="297" y="21"/>
                </a:lnTo>
                <a:lnTo>
                  <a:pt x="286" y="23"/>
                </a:lnTo>
                <a:lnTo>
                  <a:pt x="278" y="24"/>
                </a:lnTo>
                <a:lnTo>
                  <a:pt x="273" y="27"/>
                </a:lnTo>
                <a:lnTo>
                  <a:pt x="273" y="27"/>
                </a:lnTo>
                <a:lnTo>
                  <a:pt x="268" y="28"/>
                </a:lnTo>
                <a:lnTo>
                  <a:pt x="263" y="28"/>
                </a:lnTo>
                <a:lnTo>
                  <a:pt x="258" y="28"/>
                </a:lnTo>
                <a:lnTo>
                  <a:pt x="254" y="28"/>
                </a:lnTo>
                <a:lnTo>
                  <a:pt x="254" y="28"/>
                </a:lnTo>
                <a:lnTo>
                  <a:pt x="250" y="30"/>
                </a:lnTo>
                <a:lnTo>
                  <a:pt x="247" y="30"/>
                </a:lnTo>
                <a:lnTo>
                  <a:pt x="243" y="30"/>
                </a:lnTo>
                <a:lnTo>
                  <a:pt x="240" y="30"/>
                </a:lnTo>
                <a:lnTo>
                  <a:pt x="240" y="30"/>
                </a:lnTo>
                <a:lnTo>
                  <a:pt x="240" y="31"/>
                </a:lnTo>
                <a:lnTo>
                  <a:pt x="239" y="35"/>
                </a:lnTo>
                <a:lnTo>
                  <a:pt x="240" y="40"/>
                </a:lnTo>
                <a:lnTo>
                  <a:pt x="241" y="42"/>
                </a:lnTo>
                <a:lnTo>
                  <a:pt x="241" y="42"/>
                </a:lnTo>
                <a:lnTo>
                  <a:pt x="244" y="45"/>
                </a:lnTo>
                <a:lnTo>
                  <a:pt x="249" y="47"/>
                </a:lnTo>
                <a:lnTo>
                  <a:pt x="253" y="48"/>
                </a:lnTo>
                <a:lnTo>
                  <a:pt x="256" y="50"/>
                </a:lnTo>
                <a:lnTo>
                  <a:pt x="256" y="50"/>
                </a:lnTo>
                <a:lnTo>
                  <a:pt x="254" y="51"/>
                </a:lnTo>
                <a:lnTo>
                  <a:pt x="250" y="52"/>
                </a:lnTo>
                <a:lnTo>
                  <a:pt x="239" y="52"/>
                </a:lnTo>
                <a:lnTo>
                  <a:pt x="239" y="52"/>
                </a:lnTo>
                <a:lnTo>
                  <a:pt x="236" y="55"/>
                </a:lnTo>
                <a:lnTo>
                  <a:pt x="234" y="58"/>
                </a:lnTo>
                <a:lnTo>
                  <a:pt x="234" y="61"/>
                </a:lnTo>
                <a:lnTo>
                  <a:pt x="236" y="64"/>
                </a:lnTo>
                <a:lnTo>
                  <a:pt x="236" y="64"/>
                </a:lnTo>
                <a:lnTo>
                  <a:pt x="236" y="67"/>
                </a:lnTo>
                <a:lnTo>
                  <a:pt x="233" y="69"/>
                </a:lnTo>
                <a:lnTo>
                  <a:pt x="226" y="72"/>
                </a:lnTo>
                <a:lnTo>
                  <a:pt x="226" y="72"/>
                </a:lnTo>
                <a:lnTo>
                  <a:pt x="224" y="75"/>
                </a:lnTo>
                <a:lnTo>
                  <a:pt x="224" y="78"/>
                </a:lnTo>
                <a:lnTo>
                  <a:pt x="227" y="81"/>
                </a:lnTo>
                <a:lnTo>
                  <a:pt x="230" y="81"/>
                </a:lnTo>
                <a:lnTo>
                  <a:pt x="230" y="81"/>
                </a:lnTo>
                <a:lnTo>
                  <a:pt x="233" y="82"/>
                </a:lnTo>
                <a:lnTo>
                  <a:pt x="236" y="84"/>
                </a:lnTo>
                <a:lnTo>
                  <a:pt x="241" y="85"/>
                </a:lnTo>
                <a:lnTo>
                  <a:pt x="241" y="85"/>
                </a:lnTo>
                <a:lnTo>
                  <a:pt x="243" y="87"/>
                </a:lnTo>
                <a:lnTo>
                  <a:pt x="244" y="89"/>
                </a:lnTo>
                <a:lnTo>
                  <a:pt x="246" y="96"/>
                </a:lnTo>
                <a:lnTo>
                  <a:pt x="246" y="96"/>
                </a:lnTo>
                <a:lnTo>
                  <a:pt x="244" y="99"/>
                </a:lnTo>
                <a:lnTo>
                  <a:pt x="243" y="101"/>
                </a:lnTo>
                <a:lnTo>
                  <a:pt x="240" y="102"/>
                </a:lnTo>
                <a:lnTo>
                  <a:pt x="236" y="102"/>
                </a:lnTo>
                <a:lnTo>
                  <a:pt x="236" y="102"/>
                </a:lnTo>
                <a:lnTo>
                  <a:pt x="231" y="101"/>
                </a:lnTo>
                <a:lnTo>
                  <a:pt x="229" y="99"/>
                </a:lnTo>
                <a:lnTo>
                  <a:pt x="223" y="96"/>
                </a:lnTo>
                <a:lnTo>
                  <a:pt x="223" y="96"/>
                </a:lnTo>
                <a:lnTo>
                  <a:pt x="222" y="98"/>
                </a:lnTo>
                <a:lnTo>
                  <a:pt x="220" y="101"/>
                </a:lnTo>
                <a:lnTo>
                  <a:pt x="219" y="104"/>
                </a:lnTo>
                <a:lnTo>
                  <a:pt x="217" y="105"/>
                </a:lnTo>
                <a:lnTo>
                  <a:pt x="217" y="105"/>
                </a:lnTo>
                <a:lnTo>
                  <a:pt x="216" y="105"/>
                </a:lnTo>
                <a:lnTo>
                  <a:pt x="214" y="104"/>
                </a:lnTo>
                <a:lnTo>
                  <a:pt x="213" y="101"/>
                </a:lnTo>
                <a:lnTo>
                  <a:pt x="210" y="99"/>
                </a:lnTo>
                <a:lnTo>
                  <a:pt x="210" y="99"/>
                </a:lnTo>
                <a:lnTo>
                  <a:pt x="203" y="99"/>
                </a:lnTo>
                <a:lnTo>
                  <a:pt x="202" y="98"/>
                </a:lnTo>
                <a:lnTo>
                  <a:pt x="199" y="95"/>
                </a:lnTo>
                <a:lnTo>
                  <a:pt x="199" y="95"/>
                </a:lnTo>
                <a:lnTo>
                  <a:pt x="197" y="92"/>
                </a:lnTo>
                <a:lnTo>
                  <a:pt x="193" y="91"/>
                </a:lnTo>
                <a:lnTo>
                  <a:pt x="187" y="92"/>
                </a:lnTo>
                <a:lnTo>
                  <a:pt x="183" y="94"/>
                </a:lnTo>
                <a:lnTo>
                  <a:pt x="183" y="94"/>
                </a:lnTo>
                <a:lnTo>
                  <a:pt x="180" y="96"/>
                </a:lnTo>
                <a:lnTo>
                  <a:pt x="179" y="96"/>
                </a:lnTo>
                <a:lnTo>
                  <a:pt x="175" y="94"/>
                </a:lnTo>
                <a:lnTo>
                  <a:pt x="175" y="94"/>
                </a:lnTo>
                <a:lnTo>
                  <a:pt x="170" y="92"/>
                </a:lnTo>
                <a:lnTo>
                  <a:pt x="166" y="94"/>
                </a:lnTo>
                <a:lnTo>
                  <a:pt x="162" y="96"/>
                </a:lnTo>
                <a:lnTo>
                  <a:pt x="159" y="98"/>
                </a:lnTo>
                <a:lnTo>
                  <a:pt x="159" y="98"/>
                </a:lnTo>
                <a:lnTo>
                  <a:pt x="156" y="101"/>
                </a:lnTo>
                <a:lnTo>
                  <a:pt x="153" y="102"/>
                </a:lnTo>
                <a:lnTo>
                  <a:pt x="149" y="102"/>
                </a:lnTo>
                <a:lnTo>
                  <a:pt x="143" y="99"/>
                </a:lnTo>
                <a:lnTo>
                  <a:pt x="143" y="99"/>
                </a:lnTo>
                <a:lnTo>
                  <a:pt x="138" y="96"/>
                </a:lnTo>
                <a:lnTo>
                  <a:pt x="135" y="98"/>
                </a:lnTo>
                <a:lnTo>
                  <a:pt x="135" y="99"/>
                </a:lnTo>
                <a:lnTo>
                  <a:pt x="135" y="99"/>
                </a:lnTo>
                <a:lnTo>
                  <a:pt x="133" y="102"/>
                </a:lnTo>
                <a:lnTo>
                  <a:pt x="132" y="102"/>
                </a:lnTo>
                <a:lnTo>
                  <a:pt x="130" y="99"/>
                </a:lnTo>
                <a:lnTo>
                  <a:pt x="130" y="98"/>
                </a:lnTo>
                <a:lnTo>
                  <a:pt x="130" y="98"/>
                </a:lnTo>
                <a:lnTo>
                  <a:pt x="129" y="95"/>
                </a:lnTo>
                <a:lnTo>
                  <a:pt x="125" y="92"/>
                </a:lnTo>
                <a:lnTo>
                  <a:pt x="116" y="87"/>
                </a:lnTo>
                <a:lnTo>
                  <a:pt x="116" y="87"/>
                </a:lnTo>
                <a:lnTo>
                  <a:pt x="112" y="85"/>
                </a:lnTo>
                <a:lnTo>
                  <a:pt x="106" y="84"/>
                </a:lnTo>
                <a:lnTo>
                  <a:pt x="101" y="82"/>
                </a:lnTo>
                <a:lnTo>
                  <a:pt x="98" y="81"/>
                </a:lnTo>
                <a:lnTo>
                  <a:pt x="98" y="81"/>
                </a:lnTo>
                <a:lnTo>
                  <a:pt x="96" y="79"/>
                </a:lnTo>
                <a:lnTo>
                  <a:pt x="93" y="78"/>
                </a:lnTo>
                <a:lnTo>
                  <a:pt x="89" y="78"/>
                </a:lnTo>
                <a:lnTo>
                  <a:pt x="86" y="81"/>
                </a:lnTo>
                <a:lnTo>
                  <a:pt x="86" y="81"/>
                </a:lnTo>
                <a:lnTo>
                  <a:pt x="85" y="84"/>
                </a:lnTo>
                <a:lnTo>
                  <a:pt x="84" y="84"/>
                </a:lnTo>
                <a:lnTo>
                  <a:pt x="78" y="81"/>
                </a:lnTo>
                <a:lnTo>
                  <a:pt x="78" y="81"/>
                </a:lnTo>
                <a:lnTo>
                  <a:pt x="75" y="81"/>
                </a:lnTo>
                <a:lnTo>
                  <a:pt x="72" y="81"/>
                </a:lnTo>
                <a:lnTo>
                  <a:pt x="66" y="84"/>
                </a:lnTo>
                <a:lnTo>
                  <a:pt x="66" y="84"/>
                </a:lnTo>
                <a:lnTo>
                  <a:pt x="58" y="89"/>
                </a:lnTo>
                <a:lnTo>
                  <a:pt x="54" y="91"/>
                </a:lnTo>
                <a:lnTo>
                  <a:pt x="49" y="92"/>
                </a:lnTo>
                <a:lnTo>
                  <a:pt x="49" y="92"/>
                </a:lnTo>
                <a:lnTo>
                  <a:pt x="47" y="94"/>
                </a:lnTo>
                <a:lnTo>
                  <a:pt x="45" y="95"/>
                </a:lnTo>
                <a:lnTo>
                  <a:pt x="44" y="98"/>
                </a:lnTo>
                <a:lnTo>
                  <a:pt x="41" y="99"/>
                </a:lnTo>
                <a:lnTo>
                  <a:pt x="41" y="99"/>
                </a:lnTo>
                <a:lnTo>
                  <a:pt x="37" y="101"/>
                </a:lnTo>
                <a:lnTo>
                  <a:pt x="35" y="104"/>
                </a:lnTo>
                <a:lnTo>
                  <a:pt x="37" y="108"/>
                </a:lnTo>
                <a:lnTo>
                  <a:pt x="37" y="108"/>
                </a:lnTo>
                <a:lnTo>
                  <a:pt x="38" y="114"/>
                </a:lnTo>
                <a:lnTo>
                  <a:pt x="38" y="116"/>
                </a:lnTo>
                <a:lnTo>
                  <a:pt x="35" y="118"/>
                </a:lnTo>
                <a:lnTo>
                  <a:pt x="35" y="118"/>
                </a:lnTo>
                <a:lnTo>
                  <a:pt x="32" y="119"/>
                </a:lnTo>
                <a:lnTo>
                  <a:pt x="31" y="118"/>
                </a:lnTo>
                <a:lnTo>
                  <a:pt x="28" y="115"/>
                </a:lnTo>
                <a:lnTo>
                  <a:pt x="25" y="111"/>
                </a:lnTo>
                <a:lnTo>
                  <a:pt x="22" y="108"/>
                </a:lnTo>
                <a:lnTo>
                  <a:pt x="22" y="108"/>
                </a:lnTo>
                <a:lnTo>
                  <a:pt x="18" y="106"/>
                </a:lnTo>
                <a:lnTo>
                  <a:pt x="15" y="108"/>
                </a:lnTo>
                <a:lnTo>
                  <a:pt x="14" y="109"/>
                </a:lnTo>
                <a:lnTo>
                  <a:pt x="12" y="114"/>
                </a:lnTo>
                <a:lnTo>
                  <a:pt x="12" y="114"/>
                </a:lnTo>
                <a:lnTo>
                  <a:pt x="12" y="116"/>
                </a:lnTo>
                <a:lnTo>
                  <a:pt x="10" y="118"/>
                </a:lnTo>
                <a:lnTo>
                  <a:pt x="7" y="121"/>
                </a:lnTo>
                <a:lnTo>
                  <a:pt x="4" y="124"/>
                </a:lnTo>
                <a:lnTo>
                  <a:pt x="4" y="124"/>
                </a:lnTo>
                <a:lnTo>
                  <a:pt x="4" y="126"/>
                </a:lnTo>
                <a:lnTo>
                  <a:pt x="5" y="128"/>
                </a:lnTo>
                <a:lnTo>
                  <a:pt x="8" y="129"/>
                </a:lnTo>
                <a:lnTo>
                  <a:pt x="10" y="131"/>
                </a:lnTo>
                <a:lnTo>
                  <a:pt x="10" y="131"/>
                </a:lnTo>
                <a:lnTo>
                  <a:pt x="8" y="133"/>
                </a:lnTo>
                <a:lnTo>
                  <a:pt x="7" y="135"/>
                </a:lnTo>
                <a:lnTo>
                  <a:pt x="4" y="136"/>
                </a:lnTo>
                <a:lnTo>
                  <a:pt x="4" y="136"/>
                </a:lnTo>
                <a:lnTo>
                  <a:pt x="1" y="141"/>
                </a:lnTo>
                <a:lnTo>
                  <a:pt x="0" y="143"/>
                </a:lnTo>
                <a:lnTo>
                  <a:pt x="0" y="146"/>
                </a:lnTo>
                <a:lnTo>
                  <a:pt x="0" y="146"/>
                </a:lnTo>
                <a:lnTo>
                  <a:pt x="2" y="148"/>
                </a:lnTo>
                <a:lnTo>
                  <a:pt x="5" y="148"/>
                </a:lnTo>
                <a:lnTo>
                  <a:pt x="8" y="149"/>
                </a:lnTo>
                <a:lnTo>
                  <a:pt x="10" y="152"/>
                </a:lnTo>
                <a:lnTo>
                  <a:pt x="10" y="152"/>
                </a:lnTo>
                <a:lnTo>
                  <a:pt x="10" y="159"/>
                </a:lnTo>
                <a:lnTo>
                  <a:pt x="10" y="160"/>
                </a:lnTo>
                <a:lnTo>
                  <a:pt x="12" y="160"/>
                </a:lnTo>
                <a:lnTo>
                  <a:pt x="12" y="160"/>
                </a:lnTo>
                <a:lnTo>
                  <a:pt x="18" y="160"/>
                </a:lnTo>
                <a:lnTo>
                  <a:pt x="24" y="160"/>
                </a:lnTo>
                <a:lnTo>
                  <a:pt x="24" y="160"/>
                </a:lnTo>
                <a:lnTo>
                  <a:pt x="25" y="162"/>
                </a:lnTo>
                <a:lnTo>
                  <a:pt x="28" y="163"/>
                </a:lnTo>
                <a:lnTo>
                  <a:pt x="34" y="172"/>
                </a:lnTo>
                <a:lnTo>
                  <a:pt x="34" y="172"/>
                </a:lnTo>
                <a:lnTo>
                  <a:pt x="38" y="179"/>
                </a:lnTo>
                <a:lnTo>
                  <a:pt x="38" y="180"/>
                </a:lnTo>
                <a:lnTo>
                  <a:pt x="35" y="182"/>
                </a:lnTo>
                <a:lnTo>
                  <a:pt x="35" y="182"/>
                </a:lnTo>
                <a:lnTo>
                  <a:pt x="34" y="183"/>
                </a:lnTo>
                <a:lnTo>
                  <a:pt x="34" y="185"/>
                </a:lnTo>
                <a:lnTo>
                  <a:pt x="35" y="186"/>
                </a:lnTo>
                <a:lnTo>
                  <a:pt x="39" y="189"/>
                </a:lnTo>
                <a:lnTo>
                  <a:pt x="39" y="189"/>
                </a:lnTo>
                <a:lnTo>
                  <a:pt x="44" y="192"/>
                </a:lnTo>
                <a:lnTo>
                  <a:pt x="44" y="192"/>
                </a:lnTo>
                <a:lnTo>
                  <a:pt x="48" y="190"/>
                </a:lnTo>
                <a:lnTo>
                  <a:pt x="48" y="190"/>
                </a:lnTo>
                <a:lnTo>
                  <a:pt x="55" y="185"/>
                </a:lnTo>
                <a:lnTo>
                  <a:pt x="64" y="180"/>
                </a:lnTo>
                <a:lnTo>
                  <a:pt x="72" y="179"/>
                </a:lnTo>
                <a:lnTo>
                  <a:pt x="81" y="179"/>
                </a:lnTo>
                <a:lnTo>
                  <a:pt x="81" y="179"/>
                </a:lnTo>
                <a:lnTo>
                  <a:pt x="89" y="180"/>
                </a:lnTo>
                <a:lnTo>
                  <a:pt x="95" y="180"/>
                </a:lnTo>
                <a:lnTo>
                  <a:pt x="101" y="180"/>
                </a:lnTo>
                <a:lnTo>
                  <a:pt x="103" y="182"/>
                </a:lnTo>
                <a:lnTo>
                  <a:pt x="106" y="183"/>
                </a:lnTo>
                <a:lnTo>
                  <a:pt x="106" y="183"/>
                </a:lnTo>
                <a:lnTo>
                  <a:pt x="106" y="186"/>
                </a:lnTo>
                <a:lnTo>
                  <a:pt x="108" y="189"/>
                </a:lnTo>
                <a:lnTo>
                  <a:pt x="108" y="196"/>
                </a:lnTo>
                <a:lnTo>
                  <a:pt x="108" y="203"/>
                </a:lnTo>
                <a:lnTo>
                  <a:pt x="108" y="207"/>
                </a:lnTo>
                <a:lnTo>
                  <a:pt x="108" y="207"/>
                </a:lnTo>
                <a:lnTo>
                  <a:pt x="108" y="209"/>
                </a:lnTo>
                <a:lnTo>
                  <a:pt x="106" y="210"/>
                </a:lnTo>
                <a:lnTo>
                  <a:pt x="103" y="212"/>
                </a:lnTo>
                <a:lnTo>
                  <a:pt x="98" y="212"/>
                </a:lnTo>
                <a:lnTo>
                  <a:pt x="92" y="212"/>
                </a:lnTo>
                <a:lnTo>
                  <a:pt x="92" y="212"/>
                </a:lnTo>
                <a:lnTo>
                  <a:pt x="85" y="212"/>
                </a:lnTo>
                <a:lnTo>
                  <a:pt x="78" y="213"/>
                </a:lnTo>
                <a:lnTo>
                  <a:pt x="74" y="216"/>
                </a:lnTo>
                <a:lnTo>
                  <a:pt x="72" y="217"/>
                </a:lnTo>
                <a:lnTo>
                  <a:pt x="72" y="219"/>
                </a:lnTo>
                <a:lnTo>
                  <a:pt x="72" y="219"/>
                </a:lnTo>
                <a:lnTo>
                  <a:pt x="75" y="227"/>
                </a:lnTo>
                <a:lnTo>
                  <a:pt x="75" y="229"/>
                </a:lnTo>
                <a:lnTo>
                  <a:pt x="74" y="229"/>
                </a:lnTo>
                <a:lnTo>
                  <a:pt x="69" y="227"/>
                </a:lnTo>
                <a:lnTo>
                  <a:pt x="69" y="227"/>
                </a:lnTo>
                <a:lnTo>
                  <a:pt x="66" y="226"/>
                </a:lnTo>
                <a:lnTo>
                  <a:pt x="64" y="226"/>
                </a:lnTo>
                <a:lnTo>
                  <a:pt x="61" y="227"/>
                </a:lnTo>
                <a:lnTo>
                  <a:pt x="59" y="229"/>
                </a:lnTo>
                <a:lnTo>
                  <a:pt x="59" y="232"/>
                </a:lnTo>
                <a:lnTo>
                  <a:pt x="59" y="233"/>
                </a:lnTo>
                <a:lnTo>
                  <a:pt x="62" y="233"/>
                </a:lnTo>
                <a:lnTo>
                  <a:pt x="62" y="233"/>
                </a:lnTo>
                <a:lnTo>
                  <a:pt x="65" y="234"/>
                </a:lnTo>
                <a:lnTo>
                  <a:pt x="69" y="236"/>
                </a:lnTo>
                <a:lnTo>
                  <a:pt x="72" y="240"/>
                </a:lnTo>
                <a:lnTo>
                  <a:pt x="74" y="243"/>
                </a:lnTo>
                <a:lnTo>
                  <a:pt x="74" y="243"/>
                </a:lnTo>
                <a:lnTo>
                  <a:pt x="75" y="252"/>
                </a:lnTo>
                <a:lnTo>
                  <a:pt x="76" y="254"/>
                </a:lnTo>
                <a:lnTo>
                  <a:pt x="78" y="256"/>
                </a:lnTo>
                <a:lnTo>
                  <a:pt x="79" y="256"/>
                </a:lnTo>
                <a:lnTo>
                  <a:pt x="79" y="256"/>
                </a:lnTo>
                <a:lnTo>
                  <a:pt x="82" y="256"/>
                </a:lnTo>
                <a:lnTo>
                  <a:pt x="84" y="259"/>
                </a:lnTo>
                <a:lnTo>
                  <a:pt x="86" y="261"/>
                </a:lnTo>
                <a:lnTo>
                  <a:pt x="91" y="263"/>
                </a:lnTo>
                <a:lnTo>
                  <a:pt x="91" y="263"/>
                </a:lnTo>
                <a:lnTo>
                  <a:pt x="95" y="263"/>
                </a:lnTo>
                <a:lnTo>
                  <a:pt x="99" y="264"/>
                </a:lnTo>
                <a:lnTo>
                  <a:pt x="101" y="266"/>
                </a:lnTo>
                <a:lnTo>
                  <a:pt x="98" y="270"/>
                </a:lnTo>
                <a:lnTo>
                  <a:pt x="98" y="270"/>
                </a:lnTo>
                <a:lnTo>
                  <a:pt x="96" y="273"/>
                </a:lnTo>
                <a:lnTo>
                  <a:pt x="96" y="277"/>
                </a:lnTo>
                <a:lnTo>
                  <a:pt x="98" y="284"/>
                </a:lnTo>
                <a:lnTo>
                  <a:pt x="101" y="290"/>
                </a:lnTo>
                <a:lnTo>
                  <a:pt x="102" y="290"/>
                </a:lnTo>
                <a:lnTo>
                  <a:pt x="103" y="290"/>
                </a:lnTo>
                <a:lnTo>
                  <a:pt x="103" y="290"/>
                </a:lnTo>
                <a:lnTo>
                  <a:pt x="103" y="284"/>
                </a:lnTo>
                <a:lnTo>
                  <a:pt x="105" y="279"/>
                </a:lnTo>
                <a:lnTo>
                  <a:pt x="105" y="279"/>
                </a:lnTo>
                <a:lnTo>
                  <a:pt x="105" y="276"/>
                </a:lnTo>
                <a:lnTo>
                  <a:pt x="106" y="274"/>
                </a:lnTo>
                <a:lnTo>
                  <a:pt x="108" y="273"/>
                </a:lnTo>
                <a:lnTo>
                  <a:pt x="111" y="271"/>
                </a:lnTo>
                <a:lnTo>
                  <a:pt x="116" y="270"/>
                </a:lnTo>
                <a:lnTo>
                  <a:pt x="122" y="270"/>
                </a:lnTo>
                <a:lnTo>
                  <a:pt x="122" y="270"/>
                </a:lnTo>
                <a:lnTo>
                  <a:pt x="126" y="271"/>
                </a:lnTo>
                <a:lnTo>
                  <a:pt x="132" y="274"/>
                </a:lnTo>
                <a:lnTo>
                  <a:pt x="136" y="280"/>
                </a:lnTo>
                <a:lnTo>
                  <a:pt x="142" y="286"/>
                </a:lnTo>
                <a:lnTo>
                  <a:pt x="142" y="286"/>
                </a:lnTo>
                <a:lnTo>
                  <a:pt x="146" y="289"/>
                </a:lnTo>
                <a:lnTo>
                  <a:pt x="149" y="290"/>
                </a:lnTo>
                <a:lnTo>
                  <a:pt x="152" y="289"/>
                </a:lnTo>
                <a:lnTo>
                  <a:pt x="153" y="289"/>
                </a:lnTo>
                <a:lnTo>
                  <a:pt x="155" y="217"/>
                </a:lnTo>
                <a:lnTo>
                  <a:pt x="196" y="206"/>
                </a:lnTo>
                <a:lnTo>
                  <a:pt x="196" y="206"/>
                </a:lnTo>
                <a:lnTo>
                  <a:pt x="197" y="203"/>
                </a:lnTo>
                <a:lnTo>
                  <a:pt x="197" y="203"/>
                </a:lnTo>
                <a:lnTo>
                  <a:pt x="199" y="202"/>
                </a:lnTo>
                <a:lnTo>
                  <a:pt x="200" y="200"/>
                </a:lnTo>
                <a:lnTo>
                  <a:pt x="204" y="200"/>
                </a:lnTo>
                <a:lnTo>
                  <a:pt x="209" y="202"/>
                </a:lnTo>
                <a:lnTo>
                  <a:pt x="212" y="205"/>
                </a:lnTo>
                <a:lnTo>
                  <a:pt x="212" y="205"/>
                </a:lnTo>
                <a:lnTo>
                  <a:pt x="212" y="205"/>
                </a:lnTo>
                <a:lnTo>
                  <a:pt x="213" y="203"/>
                </a:lnTo>
                <a:lnTo>
                  <a:pt x="213" y="200"/>
                </a:lnTo>
                <a:lnTo>
                  <a:pt x="214" y="197"/>
                </a:lnTo>
                <a:lnTo>
                  <a:pt x="216" y="196"/>
                </a:lnTo>
                <a:lnTo>
                  <a:pt x="219" y="196"/>
                </a:lnTo>
                <a:lnTo>
                  <a:pt x="219" y="196"/>
                </a:lnTo>
                <a:lnTo>
                  <a:pt x="220" y="197"/>
                </a:lnTo>
                <a:lnTo>
                  <a:pt x="220" y="197"/>
                </a:lnTo>
                <a:lnTo>
                  <a:pt x="220" y="202"/>
                </a:lnTo>
                <a:lnTo>
                  <a:pt x="220" y="205"/>
                </a:lnTo>
                <a:lnTo>
                  <a:pt x="220" y="206"/>
                </a:lnTo>
                <a:lnTo>
                  <a:pt x="222" y="206"/>
                </a:lnTo>
                <a:lnTo>
                  <a:pt x="222" y="206"/>
                </a:lnTo>
                <a:lnTo>
                  <a:pt x="224" y="207"/>
                </a:lnTo>
                <a:lnTo>
                  <a:pt x="229" y="213"/>
                </a:lnTo>
                <a:lnTo>
                  <a:pt x="230" y="220"/>
                </a:lnTo>
                <a:lnTo>
                  <a:pt x="230" y="227"/>
                </a:lnTo>
                <a:lnTo>
                  <a:pt x="230" y="227"/>
                </a:lnTo>
                <a:lnTo>
                  <a:pt x="241" y="237"/>
                </a:lnTo>
                <a:lnTo>
                  <a:pt x="249" y="247"/>
                </a:lnTo>
                <a:lnTo>
                  <a:pt x="249" y="247"/>
                </a:lnTo>
                <a:lnTo>
                  <a:pt x="250" y="249"/>
                </a:lnTo>
                <a:lnTo>
                  <a:pt x="253" y="249"/>
                </a:lnTo>
                <a:lnTo>
                  <a:pt x="258" y="247"/>
                </a:lnTo>
                <a:lnTo>
                  <a:pt x="266" y="246"/>
                </a:lnTo>
                <a:lnTo>
                  <a:pt x="270" y="246"/>
                </a:lnTo>
                <a:lnTo>
                  <a:pt x="270" y="246"/>
                </a:lnTo>
                <a:lnTo>
                  <a:pt x="286" y="247"/>
                </a:lnTo>
                <a:lnTo>
                  <a:pt x="303" y="247"/>
                </a:lnTo>
                <a:lnTo>
                  <a:pt x="303" y="247"/>
                </a:lnTo>
                <a:lnTo>
                  <a:pt x="305" y="249"/>
                </a:lnTo>
                <a:lnTo>
                  <a:pt x="308" y="252"/>
                </a:lnTo>
                <a:lnTo>
                  <a:pt x="311" y="254"/>
                </a:lnTo>
                <a:lnTo>
                  <a:pt x="315" y="257"/>
                </a:lnTo>
                <a:lnTo>
                  <a:pt x="315" y="257"/>
                </a:lnTo>
                <a:lnTo>
                  <a:pt x="318" y="259"/>
                </a:lnTo>
                <a:lnTo>
                  <a:pt x="318" y="263"/>
                </a:lnTo>
                <a:lnTo>
                  <a:pt x="318" y="271"/>
                </a:lnTo>
                <a:lnTo>
                  <a:pt x="318" y="271"/>
                </a:lnTo>
                <a:lnTo>
                  <a:pt x="320" y="276"/>
                </a:lnTo>
                <a:lnTo>
                  <a:pt x="323" y="280"/>
                </a:lnTo>
                <a:lnTo>
                  <a:pt x="325" y="284"/>
                </a:lnTo>
                <a:lnTo>
                  <a:pt x="328" y="289"/>
                </a:lnTo>
                <a:lnTo>
                  <a:pt x="328" y="289"/>
                </a:lnTo>
                <a:lnTo>
                  <a:pt x="328" y="290"/>
                </a:lnTo>
                <a:lnTo>
                  <a:pt x="330" y="291"/>
                </a:lnTo>
                <a:lnTo>
                  <a:pt x="332" y="291"/>
                </a:lnTo>
                <a:lnTo>
                  <a:pt x="341" y="293"/>
                </a:lnTo>
                <a:lnTo>
                  <a:pt x="341" y="293"/>
                </a:lnTo>
                <a:lnTo>
                  <a:pt x="350" y="296"/>
                </a:lnTo>
                <a:lnTo>
                  <a:pt x="354" y="297"/>
                </a:lnTo>
                <a:lnTo>
                  <a:pt x="355" y="300"/>
                </a:lnTo>
                <a:lnTo>
                  <a:pt x="355" y="300"/>
                </a:lnTo>
                <a:lnTo>
                  <a:pt x="357" y="303"/>
                </a:lnTo>
                <a:lnTo>
                  <a:pt x="358" y="303"/>
                </a:lnTo>
                <a:lnTo>
                  <a:pt x="361" y="301"/>
                </a:lnTo>
                <a:lnTo>
                  <a:pt x="362" y="298"/>
                </a:lnTo>
                <a:lnTo>
                  <a:pt x="362" y="298"/>
                </a:lnTo>
                <a:lnTo>
                  <a:pt x="364" y="296"/>
                </a:lnTo>
                <a:lnTo>
                  <a:pt x="367" y="291"/>
                </a:lnTo>
                <a:lnTo>
                  <a:pt x="372" y="289"/>
                </a:lnTo>
                <a:lnTo>
                  <a:pt x="379" y="286"/>
                </a:lnTo>
                <a:lnTo>
                  <a:pt x="379" y="286"/>
                </a:lnTo>
                <a:lnTo>
                  <a:pt x="384" y="284"/>
                </a:lnTo>
                <a:lnTo>
                  <a:pt x="388" y="284"/>
                </a:lnTo>
                <a:lnTo>
                  <a:pt x="388" y="284"/>
                </a:lnTo>
                <a:lnTo>
                  <a:pt x="391" y="279"/>
                </a:lnTo>
                <a:lnTo>
                  <a:pt x="394" y="276"/>
                </a:lnTo>
                <a:lnTo>
                  <a:pt x="394" y="276"/>
                </a:lnTo>
                <a:lnTo>
                  <a:pt x="399" y="271"/>
                </a:lnTo>
                <a:lnTo>
                  <a:pt x="402" y="269"/>
                </a:lnTo>
                <a:lnTo>
                  <a:pt x="404" y="264"/>
                </a:lnTo>
                <a:lnTo>
                  <a:pt x="404" y="264"/>
                </a:lnTo>
                <a:lnTo>
                  <a:pt x="404" y="263"/>
                </a:lnTo>
                <a:lnTo>
                  <a:pt x="405" y="261"/>
                </a:lnTo>
                <a:lnTo>
                  <a:pt x="411" y="261"/>
                </a:lnTo>
                <a:lnTo>
                  <a:pt x="418" y="261"/>
                </a:lnTo>
                <a:lnTo>
                  <a:pt x="425" y="264"/>
                </a:lnTo>
                <a:lnTo>
                  <a:pt x="425" y="264"/>
                </a:lnTo>
                <a:lnTo>
                  <a:pt x="431" y="267"/>
                </a:lnTo>
                <a:lnTo>
                  <a:pt x="435" y="267"/>
                </a:lnTo>
                <a:lnTo>
                  <a:pt x="438" y="266"/>
                </a:lnTo>
                <a:lnTo>
                  <a:pt x="439" y="261"/>
                </a:lnTo>
                <a:lnTo>
                  <a:pt x="439" y="261"/>
                </a:lnTo>
                <a:lnTo>
                  <a:pt x="439" y="260"/>
                </a:lnTo>
                <a:lnTo>
                  <a:pt x="441" y="257"/>
                </a:lnTo>
                <a:lnTo>
                  <a:pt x="446" y="256"/>
                </a:lnTo>
                <a:lnTo>
                  <a:pt x="452" y="254"/>
                </a:lnTo>
                <a:lnTo>
                  <a:pt x="456" y="256"/>
                </a:lnTo>
                <a:lnTo>
                  <a:pt x="456" y="256"/>
                </a:lnTo>
                <a:lnTo>
                  <a:pt x="466" y="260"/>
                </a:lnTo>
                <a:lnTo>
                  <a:pt x="472" y="261"/>
                </a:lnTo>
                <a:lnTo>
                  <a:pt x="478" y="261"/>
                </a:lnTo>
                <a:lnTo>
                  <a:pt x="478" y="261"/>
                </a:lnTo>
                <a:lnTo>
                  <a:pt x="485" y="260"/>
                </a:lnTo>
                <a:lnTo>
                  <a:pt x="497" y="261"/>
                </a:lnTo>
                <a:lnTo>
                  <a:pt x="519" y="264"/>
                </a:lnTo>
                <a:lnTo>
                  <a:pt x="519" y="264"/>
                </a:lnTo>
                <a:lnTo>
                  <a:pt x="523" y="264"/>
                </a:lnTo>
                <a:lnTo>
                  <a:pt x="526" y="264"/>
                </a:lnTo>
                <a:lnTo>
                  <a:pt x="529" y="264"/>
                </a:lnTo>
                <a:lnTo>
                  <a:pt x="533" y="269"/>
                </a:lnTo>
                <a:lnTo>
                  <a:pt x="533" y="269"/>
                </a:lnTo>
                <a:lnTo>
                  <a:pt x="537" y="270"/>
                </a:lnTo>
                <a:lnTo>
                  <a:pt x="540" y="271"/>
                </a:lnTo>
                <a:lnTo>
                  <a:pt x="543" y="271"/>
                </a:lnTo>
                <a:lnTo>
                  <a:pt x="547" y="273"/>
                </a:lnTo>
                <a:lnTo>
                  <a:pt x="547" y="273"/>
                </a:lnTo>
                <a:lnTo>
                  <a:pt x="546" y="267"/>
                </a:lnTo>
                <a:lnTo>
                  <a:pt x="546" y="267"/>
                </a:lnTo>
                <a:lnTo>
                  <a:pt x="547" y="263"/>
                </a:lnTo>
                <a:lnTo>
                  <a:pt x="550" y="260"/>
                </a:lnTo>
                <a:lnTo>
                  <a:pt x="553" y="257"/>
                </a:lnTo>
                <a:lnTo>
                  <a:pt x="554" y="254"/>
                </a:lnTo>
                <a:lnTo>
                  <a:pt x="554" y="254"/>
                </a:lnTo>
                <a:lnTo>
                  <a:pt x="554" y="252"/>
                </a:lnTo>
                <a:lnTo>
                  <a:pt x="552" y="246"/>
                </a:lnTo>
                <a:lnTo>
                  <a:pt x="550" y="240"/>
                </a:lnTo>
                <a:lnTo>
                  <a:pt x="549" y="237"/>
                </a:lnTo>
                <a:lnTo>
                  <a:pt x="549" y="237"/>
                </a:lnTo>
                <a:lnTo>
                  <a:pt x="549" y="229"/>
                </a:lnTo>
                <a:lnTo>
                  <a:pt x="547" y="226"/>
                </a:lnTo>
                <a:lnTo>
                  <a:pt x="544" y="223"/>
                </a:lnTo>
                <a:lnTo>
                  <a:pt x="544" y="223"/>
                </a:lnTo>
                <a:lnTo>
                  <a:pt x="544" y="222"/>
                </a:lnTo>
                <a:lnTo>
                  <a:pt x="544" y="222"/>
                </a:lnTo>
                <a:lnTo>
                  <a:pt x="547" y="219"/>
                </a:lnTo>
                <a:lnTo>
                  <a:pt x="554" y="216"/>
                </a:lnTo>
                <a:lnTo>
                  <a:pt x="554" y="216"/>
                </a:lnTo>
                <a:lnTo>
                  <a:pt x="559" y="216"/>
                </a:lnTo>
                <a:lnTo>
                  <a:pt x="563" y="215"/>
                </a:lnTo>
                <a:lnTo>
                  <a:pt x="567" y="213"/>
                </a:lnTo>
                <a:lnTo>
                  <a:pt x="569" y="213"/>
                </a:lnTo>
                <a:lnTo>
                  <a:pt x="569" y="213"/>
                </a:lnTo>
                <a:lnTo>
                  <a:pt x="574" y="216"/>
                </a:lnTo>
                <a:lnTo>
                  <a:pt x="581" y="216"/>
                </a:lnTo>
                <a:lnTo>
                  <a:pt x="581" y="216"/>
                </a:lnTo>
                <a:lnTo>
                  <a:pt x="583" y="216"/>
                </a:lnTo>
                <a:lnTo>
                  <a:pt x="583" y="213"/>
                </a:lnTo>
                <a:lnTo>
                  <a:pt x="583" y="212"/>
                </a:lnTo>
                <a:lnTo>
                  <a:pt x="581" y="209"/>
                </a:lnTo>
                <a:lnTo>
                  <a:pt x="581" y="209"/>
                </a:lnTo>
                <a:lnTo>
                  <a:pt x="580" y="207"/>
                </a:lnTo>
                <a:lnTo>
                  <a:pt x="581" y="205"/>
                </a:lnTo>
                <a:lnTo>
                  <a:pt x="584" y="196"/>
                </a:lnTo>
                <a:lnTo>
                  <a:pt x="590" y="179"/>
                </a:lnTo>
                <a:lnTo>
                  <a:pt x="590" y="179"/>
                </a:lnTo>
                <a:lnTo>
                  <a:pt x="593" y="175"/>
                </a:lnTo>
                <a:lnTo>
                  <a:pt x="594" y="175"/>
                </a:lnTo>
                <a:lnTo>
                  <a:pt x="597" y="178"/>
                </a:lnTo>
                <a:lnTo>
                  <a:pt x="601" y="179"/>
                </a:lnTo>
                <a:lnTo>
                  <a:pt x="601" y="179"/>
                </a:lnTo>
                <a:lnTo>
                  <a:pt x="610" y="179"/>
                </a:lnTo>
                <a:lnTo>
                  <a:pt x="616" y="179"/>
                </a:lnTo>
                <a:lnTo>
                  <a:pt x="616" y="179"/>
                </a:lnTo>
                <a:lnTo>
                  <a:pt x="620" y="180"/>
                </a:lnTo>
                <a:lnTo>
                  <a:pt x="624" y="179"/>
                </a:lnTo>
                <a:lnTo>
                  <a:pt x="628" y="176"/>
                </a:lnTo>
                <a:lnTo>
                  <a:pt x="631" y="175"/>
                </a:lnTo>
                <a:lnTo>
                  <a:pt x="631" y="175"/>
                </a:lnTo>
                <a:lnTo>
                  <a:pt x="631" y="172"/>
                </a:lnTo>
                <a:lnTo>
                  <a:pt x="631" y="169"/>
                </a:lnTo>
                <a:lnTo>
                  <a:pt x="630" y="166"/>
                </a:lnTo>
                <a:lnTo>
                  <a:pt x="628" y="162"/>
                </a:lnTo>
                <a:lnTo>
                  <a:pt x="628" y="162"/>
                </a:lnTo>
                <a:lnTo>
                  <a:pt x="630" y="156"/>
                </a:lnTo>
                <a:lnTo>
                  <a:pt x="633" y="152"/>
                </a:lnTo>
                <a:lnTo>
                  <a:pt x="635" y="149"/>
                </a:lnTo>
                <a:lnTo>
                  <a:pt x="640" y="149"/>
                </a:lnTo>
                <a:lnTo>
                  <a:pt x="640" y="149"/>
                </a:lnTo>
                <a:lnTo>
                  <a:pt x="643" y="148"/>
                </a:lnTo>
                <a:lnTo>
                  <a:pt x="645" y="146"/>
                </a:lnTo>
                <a:lnTo>
                  <a:pt x="645" y="143"/>
                </a:lnTo>
                <a:lnTo>
                  <a:pt x="647" y="141"/>
                </a:lnTo>
                <a:lnTo>
                  <a:pt x="647" y="141"/>
                </a:lnTo>
                <a:lnTo>
                  <a:pt x="647" y="138"/>
                </a:lnTo>
                <a:lnTo>
                  <a:pt x="648" y="135"/>
                </a:lnTo>
                <a:lnTo>
                  <a:pt x="651" y="133"/>
                </a:lnTo>
                <a:lnTo>
                  <a:pt x="653" y="129"/>
                </a:lnTo>
                <a:lnTo>
                  <a:pt x="653" y="129"/>
                </a:lnTo>
                <a:lnTo>
                  <a:pt x="650" y="126"/>
                </a:lnTo>
                <a:lnTo>
                  <a:pt x="648" y="124"/>
                </a:lnTo>
                <a:lnTo>
                  <a:pt x="648" y="124"/>
                </a:lnTo>
                <a:close/>
                <a:moveTo>
                  <a:pt x="243" y="193"/>
                </a:moveTo>
                <a:lnTo>
                  <a:pt x="243" y="193"/>
                </a:lnTo>
                <a:lnTo>
                  <a:pt x="239" y="195"/>
                </a:lnTo>
                <a:lnTo>
                  <a:pt x="231" y="193"/>
                </a:lnTo>
                <a:lnTo>
                  <a:pt x="224" y="190"/>
                </a:lnTo>
                <a:lnTo>
                  <a:pt x="220" y="188"/>
                </a:lnTo>
                <a:lnTo>
                  <a:pt x="220" y="188"/>
                </a:lnTo>
                <a:lnTo>
                  <a:pt x="222" y="186"/>
                </a:lnTo>
                <a:lnTo>
                  <a:pt x="224" y="186"/>
                </a:lnTo>
                <a:lnTo>
                  <a:pt x="233" y="186"/>
                </a:lnTo>
                <a:lnTo>
                  <a:pt x="241" y="189"/>
                </a:lnTo>
                <a:lnTo>
                  <a:pt x="243" y="192"/>
                </a:lnTo>
                <a:lnTo>
                  <a:pt x="243" y="193"/>
                </a:lnTo>
                <a:lnTo>
                  <a:pt x="243" y="193"/>
                </a:lnTo>
                <a:close/>
                <a:moveTo>
                  <a:pt x="512" y="192"/>
                </a:moveTo>
                <a:lnTo>
                  <a:pt x="512" y="192"/>
                </a:lnTo>
                <a:lnTo>
                  <a:pt x="499" y="190"/>
                </a:lnTo>
                <a:lnTo>
                  <a:pt x="485" y="190"/>
                </a:lnTo>
                <a:lnTo>
                  <a:pt x="476" y="190"/>
                </a:lnTo>
                <a:lnTo>
                  <a:pt x="469" y="192"/>
                </a:lnTo>
                <a:lnTo>
                  <a:pt x="463" y="193"/>
                </a:lnTo>
                <a:lnTo>
                  <a:pt x="458" y="197"/>
                </a:lnTo>
                <a:lnTo>
                  <a:pt x="458" y="197"/>
                </a:lnTo>
                <a:lnTo>
                  <a:pt x="453" y="202"/>
                </a:lnTo>
                <a:lnTo>
                  <a:pt x="452" y="206"/>
                </a:lnTo>
                <a:lnTo>
                  <a:pt x="451" y="213"/>
                </a:lnTo>
                <a:lnTo>
                  <a:pt x="451" y="216"/>
                </a:lnTo>
                <a:lnTo>
                  <a:pt x="451" y="217"/>
                </a:lnTo>
                <a:lnTo>
                  <a:pt x="449" y="219"/>
                </a:lnTo>
                <a:lnTo>
                  <a:pt x="449" y="219"/>
                </a:lnTo>
                <a:lnTo>
                  <a:pt x="446" y="217"/>
                </a:lnTo>
                <a:lnTo>
                  <a:pt x="445" y="216"/>
                </a:lnTo>
                <a:lnTo>
                  <a:pt x="443" y="207"/>
                </a:lnTo>
                <a:lnTo>
                  <a:pt x="443" y="199"/>
                </a:lnTo>
                <a:lnTo>
                  <a:pt x="445" y="195"/>
                </a:lnTo>
                <a:lnTo>
                  <a:pt x="448" y="192"/>
                </a:lnTo>
                <a:lnTo>
                  <a:pt x="448" y="192"/>
                </a:lnTo>
                <a:lnTo>
                  <a:pt x="451" y="190"/>
                </a:lnTo>
                <a:lnTo>
                  <a:pt x="455" y="188"/>
                </a:lnTo>
                <a:lnTo>
                  <a:pt x="465" y="185"/>
                </a:lnTo>
                <a:lnTo>
                  <a:pt x="478" y="185"/>
                </a:lnTo>
                <a:lnTo>
                  <a:pt x="489" y="186"/>
                </a:lnTo>
                <a:lnTo>
                  <a:pt x="489" y="186"/>
                </a:lnTo>
                <a:lnTo>
                  <a:pt x="500" y="188"/>
                </a:lnTo>
                <a:lnTo>
                  <a:pt x="512" y="186"/>
                </a:lnTo>
                <a:lnTo>
                  <a:pt x="523" y="185"/>
                </a:lnTo>
                <a:lnTo>
                  <a:pt x="529" y="185"/>
                </a:lnTo>
                <a:lnTo>
                  <a:pt x="529" y="185"/>
                </a:lnTo>
                <a:lnTo>
                  <a:pt x="529" y="185"/>
                </a:lnTo>
                <a:lnTo>
                  <a:pt x="529" y="186"/>
                </a:lnTo>
                <a:lnTo>
                  <a:pt x="526" y="188"/>
                </a:lnTo>
                <a:lnTo>
                  <a:pt x="520" y="190"/>
                </a:lnTo>
                <a:lnTo>
                  <a:pt x="512" y="192"/>
                </a:lnTo>
                <a:lnTo>
                  <a:pt x="512" y="192"/>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54" name="Freeform 342">
            <a:extLst>
              <a:ext uri="{FF2B5EF4-FFF2-40B4-BE49-F238E27FC236}">
                <a16:creationId xmlns:a16="http://schemas.microsoft.com/office/drawing/2014/main" id="{CAD9D054-888B-3144-64A8-6D07B8537684}"/>
              </a:ext>
            </a:extLst>
          </p:cNvPr>
          <p:cNvSpPr>
            <a:spLocks noEditPoints="1"/>
          </p:cNvSpPr>
          <p:nvPr userDrawn="1"/>
        </p:nvSpPr>
        <p:spPr bwMode="gray">
          <a:xfrm>
            <a:off x="4757972" y="1248229"/>
            <a:ext cx="3559493" cy="1179562"/>
          </a:xfrm>
          <a:custGeom>
            <a:avLst/>
            <a:gdLst/>
            <a:ahLst/>
            <a:cxnLst>
              <a:cxn ang="0">
                <a:pos x="819" y="141"/>
              </a:cxn>
              <a:cxn ang="0">
                <a:pos x="1960" y="651"/>
              </a:cxn>
              <a:cxn ang="0">
                <a:pos x="1975" y="749"/>
              </a:cxn>
              <a:cxn ang="0">
                <a:pos x="2636" y="306"/>
              </a:cxn>
              <a:cxn ang="0">
                <a:pos x="2384" y="256"/>
              </a:cxn>
              <a:cxn ang="0">
                <a:pos x="2159" y="217"/>
              </a:cxn>
              <a:cxn ang="0">
                <a:pos x="2014" y="180"/>
              </a:cxn>
              <a:cxn ang="0">
                <a:pos x="1912" y="202"/>
              </a:cxn>
              <a:cxn ang="0">
                <a:pos x="1750" y="202"/>
              </a:cxn>
              <a:cxn ang="0">
                <a:pos x="1671" y="126"/>
              </a:cxn>
              <a:cxn ang="0">
                <a:pos x="1495" y="139"/>
              </a:cxn>
              <a:cxn ang="0">
                <a:pos x="1388" y="138"/>
              </a:cxn>
              <a:cxn ang="0">
                <a:pos x="1472" y="38"/>
              </a:cxn>
              <a:cxn ang="0">
                <a:pos x="1330" y="1"/>
              </a:cxn>
              <a:cxn ang="0">
                <a:pos x="1209" y="52"/>
              </a:cxn>
              <a:cxn ang="0">
                <a:pos x="1078" y="99"/>
              </a:cxn>
              <a:cxn ang="0">
                <a:pos x="990" y="155"/>
              </a:cxn>
              <a:cxn ang="0">
                <a:pos x="946" y="206"/>
              </a:cxn>
              <a:cxn ang="0">
                <a:pos x="881" y="236"/>
              </a:cxn>
              <a:cxn ang="0">
                <a:pos x="898" y="276"/>
              </a:cxn>
              <a:cxn ang="0">
                <a:pos x="839" y="335"/>
              </a:cxn>
              <a:cxn ang="0">
                <a:pos x="855" y="190"/>
              </a:cxn>
              <a:cxn ang="0">
                <a:pos x="797" y="274"/>
              </a:cxn>
              <a:cxn ang="0">
                <a:pos x="653" y="280"/>
              </a:cxn>
              <a:cxn ang="0">
                <a:pos x="529" y="287"/>
              </a:cxn>
              <a:cxn ang="0">
                <a:pos x="407" y="281"/>
              </a:cxn>
              <a:cxn ang="0">
                <a:pos x="327" y="374"/>
              </a:cxn>
              <a:cxn ang="0">
                <a:pos x="240" y="374"/>
              </a:cxn>
              <a:cxn ang="0">
                <a:pos x="333" y="299"/>
              </a:cxn>
              <a:cxn ang="0">
                <a:pos x="178" y="250"/>
              </a:cxn>
              <a:cxn ang="0">
                <a:pos x="168" y="384"/>
              </a:cxn>
              <a:cxn ang="0">
                <a:pos x="137" y="510"/>
              </a:cxn>
              <a:cxn ang="0">
                <a:pos x="185" y="633"/>
              </a:cxn>
              <a:cxn ang="0">
                <a:pos x="262" y="721"/>
              </a:cxn>
              <a:cxn ang="0">
                <a:pos x="310" y="789"/>
              </a:cxn>
              <a:cxn ang="0">
                <a:pos x="410" y="879"/>
              </a:cxn>
              <a:cxn ang="0">
                <a:pos x="454" y="776"/>
              </a:cxn>
              <a:cxn ang="0">
                <a:pos x="514" y="700"/>
              </a:cxn>
              <a:cxn ang="0">
                <a:pos x="666" y="718"/>
              </a:cxn>
              <a:cxn ang="0">
                <a:pos x="780" y="626"/>
              </a:cxn>
              <a:cxn ang="0">
                <a:pos x="882" y="654"/>
              </a:cxn>
              <a:cxn ang="0">
                <a:pos x="1053" y="737"/>
              </a:cxn>
              <a:cxn ang="0">
                <a:pos x="1229" y="738"/>
              </a:cxn>
              <a:cxn ang="0">
                <a:pos x="1373" y="727"/>
              </a:cxn>
              <a:cxn ang="0">
                <a:pos x="1578" y="734"/>
              </a:cxn>
              <a:cxn ang="0">
                <a:pos x="1720" y="728"/>
              </a:cxn>
              <a:cxn ang="0">
                <a:pos x="1809" y="828"/>
              </a:cxn>
              <a:cxn ang="0">
                <a:pos x="1935" y="707"/>
              </a:cxn>
              <a:cxn ang="0">
                <a:pos x="1871" y="650"/>
              </a:cxn>
              <a:cxn ang="0">
                <a:pos x="2054" y="525"/>
              </a:cxn>
              <a:cxn ang="0">
                <a:pos x="2182" y="488"/>
              </a:cxn>
              <a:cxn ang="0">
                <a:pos x="2329" y="446"/>
              </a:cxn>
              <a:cxn ang="0">
                <a:pos x="2178" y="648"/>
              </a:cxn>
              <a:cxn ang="0">
                <a:pos x="2286" y="599"/>
              </a:cxn>
              <a:cxn ang="0">
                <a:pos x="2361" y="502"/>
              </a:cxn>
              <a:cxn ang="0">
                <a:pos x="2551" y="419"/>
              </a:cxn>
              <a:cxn ang="0">
                <a:pos x="2593" y="350"/>
              </a:cxn>
              <a:cxn ang="0">
                <a:pos x="2696" y="385"/>
              </a:cxn>
              <a:cxn ang="0">
                <a:pos x="1370" y="675"/>
              </a:cxn>
              <a:cxn ang="0">
                <a:pos x="531" y="176"/>
              </a:cxn>
              <a:cxn ang="0">
                <a:pos x="593" y="152"/>
              </a:cxn>
              <a:cxn ang="0">
                <a:pos x="721" y="44"/>
              </a:cxn>
              <a:cxn ang="0">
                <a:pos x="560" y="128"/>
              </a:cxn>
            </a:cxnLst>
            <a:rect l="0" t="0" r="r" b="b"/>
            <a:pathLst>
              <a:path w="2737" h="907">
                <a:moveTo>
                  <a:pt x="41" y="619"/>
                </a:moveTo>
                <a:lnTo>
                  <a:pt x="41" y="619"/>
                </a:lnTo>
                <a:lnTo>
                  <a:pt x="38" y="619"/>
                </a:lnTo>
                <a:lnTo>
                  <a:pt x="36" y="617"/>
                </a:lnTo>
                <a:lnTo>
                  <a:pt x="31" y="614"/>
                </a:lnTo>
                <a:lnTo>
                  <a:pt x="31" y="614"/>
                </a:lnTo>
                <a:lnTo>
                  <a:pt x="30" y="613"/>
                </a:lnTo>
                <a:lnTo>
                  <a:pt x="27" y="613"/>
                </a:lnTo>
                <a:lnTo>
                  <a:pt x="21" y="614"/>
                </a:lnTo>
                <a:lnTo>
                  <a:pt x="21" y="614"/>
                </a:lnTo>
                <a:lnTo>
                  <a:pt x="24" y="616"/>
                </a:lnTo>
                <a:lnTo>
                  <a:pt x="24" y="616"/>
                </a:lnTo>
                <a:lnTo>
                  <a:pt x="24" y="617"/>
                </a:lnTo>
                <a:lnTo>
                  <a:pt x="24" y="619"/>
                </a:lnTo>
                <a:lnTo>
                  <a:pt x="21" y="620"/>
                </a:lnTo>
                <a:lnTo>
                  <a:pt x="18" y="621"/>
                </a:lnTo>
                <a:lnTo>
                  <a:pt x="18" y="623"/>
                </a:lnTo>
                <a:lnTo>
                  <a:pt x="18" y="624"/>
                </a:lnTo>
                <a:lnTo>
                  <a:pt x="18" y="624"/>
                </a:lnTo>
                <a:lnTo>
                  <a:pt x="20" y="626"/>
                </a:lnTo>
                <a:lnTo>
                  <a:pt x="18" y="627"/>
                </a:lnTo>
                <a:lnTo>
                  <a:pt x="17" y="629"/>
                </a:lnTo>
                <a:lnTo>
                  <a:pt x="13" y="627"/>
                </a:lnTo>
                <a:lnTo>
                  <a:pt x="11" y="627"/>
                </a:lnTo>
                <a:lnTo>
                  <a:pt x="11" y="624"/>
                </a:lnTo>
                <a:lnTo>
                  <a:pt x="11" y="624"/>
                </a:lnTo>
                <a:lnTo>
                  <a:pt x="11" y="623"/>
                </a:lnTo>
                <a:lnTo>
                  <a:pt x="10" y="623"/>
                </a:lnTo>
                <a:lnTo>
                  <a:pt x="6" y="623"/>
                </a:lnTo>
                <a:lnTo>
                  <a:pt x="1" y="623"/>
                </a:lnTo>
                <a:lnTo>
                  <a:pt x="0" y="626"/>
                </a:lnTo>
                <a:lnTo>
                  <a:pt x="0" y="626"/>
                </a:lnTo>
                <a:lnTo>
                  <a:pt x="0" y="630"/>
                </a:lnTo>
                <a:lnTo>
                  <a:pt x="0" y="630"/>
                </a:lnTo>
                <a:lnTo>
                  <a:pt x="7" y="633"/>
                </a:lnTo>
                <a:lnTo>
                  <a:pt x="7" y="633"/>
                </a:lnTo>
                <a:lnTo>
                  <a:pt x="26" y="634"/>
                </a:lnTo>
                <a:lnTo>
                  <a:pt x="38" y="634"/>
                </a:lnTo>
                <a:lnTo>
                  <a:pt x="50" y="634"/>
                </a:lnTo>
                <a:lnTo>
                  <a:pt x="50" y="634"/>
                </a:lnTo>
                <a:lnTo>
                  <a:pt x="50" y="629"/>
                </a:lnTo>
                <a:lnTo>
                  <a:pt x="50" y="623"/>
                </a:lnTo>
                <a:lnTo>
                  <a:pt x="50" y="623"/>
                </a:lnTo>
                <a:lnTo>
                  <a:pt x="48" y="621"/>
                </a:lnTo>
                <a:lnTo>
                  <a:pt x="47" y="620"/>
                </a:lnTo>
                <a:lnTo>
                  <a:pt x="43" y="619"/>
                </a:lnTo>
                <a:lnTo>
                  <a:pt x="41" y="619"/>
                </a:lnTo>
                <a:lnTo>
                  <a:pt x="41" y="619"/>
                </a:lnTo>
                <a:close/>
                <a:moveTo>
                  <a:pt x="819" y="152"/>
                </a:moveTo>
                <a:lnTo>
                  <a:pt x="819" y="152"/>
                </a:lnTo>
                <a:lnTo>
                  <a:pt x="825" y="152"/>
                </a:lnTo>
                <a:lnTo>
                  <a:pt x="832" y="151"/>
                </a:lnTo>
                <a:lnTo>
                  <a:pt x="839" y="148"/>
                </a:lnTo>
                <a:lnTo>
                  <a:pt x="844" y="146"/>
                </a:lnTo>
                <a:lnTo>
                  <a:pt x="844" y="146"/>
                </a:lnTo>
                <a:lnTo>
                  <a:pt x="844" y="145"/>
                </a:lnTo>
                <a:lnTo>
                  <a:pt x="844" y="143"/>
                </a:lnTo>
                <a:lnTo>
                  <a:pt x="839" y="141"/>
                </a:lnTo>
                <a:lnTo>
                  <a:pt x="834" y="139"/>
                </a:lnTo>
                <a:lnTo>
                  <a:pt x="826" y="139"/>
                </a:lnTo>
                <a:lnTo>
                  <a:pt x="826" y="139"/>
                </a:lnTo>
                <a:lnTo>
                  <a:pt x="822" y="139"/>
                </a:lnTo>
                <a:lnTo>
                  <a:pt x="819" y="141"/>
                </a:lnTo>
                <a:lnTo>
                  <a:pt x="818" y="142"/>
                </a:lnTo>
                <a:lnTo>
                  <a:pt x="817" y="145"/>
                </a:lnTo>
                <a:lnTo>
                  <a:pt x="817" y="149"/>
                </a:lnTo>
                <a:lnTo>
                  <a:pt x="817" y="151"/>
                </a:lnTo>
                <a:lnTo>
                  <a:pt x="819" y="152"/>
                </a:lnTo>
                <a:lnTo>
                  <a:pt x="819" y="152"/>
                </a:lnTo>
                <a:close/>
                <a:moveTo>
                  <a:pt x="957" y="159"/>
                </a:moveTo>
                <a:lnTo>
                  <a:pt x="957" y="159"/>
                </a:lnTo>
                <a:lnTo>
                  <a:pt x="963" y="161"/>
                </a:lnTo>
                <a:lnTo>
                  <a:pt x="966" y="161"/>
                </a:lnTo>
                <a:lnTo>
                  <a:pt x="969" y="158"/>
                </a:lnTo>
                <a:lnTo>
                  <a:pt x="970" y="153"/>
                </a:lnTo>
                <a:lnTo>
                  <a:pt x="970" y="153"/>
                </a:lnTo>
                <a:lnTo>
                  <a:pt x="969" y="151"/>
                </a:lnTo>
                <a:lnTo>
                  <a:pt x="966" y="151"/>
                </a:lnTo>
                <a:lnTo>
                  <a:pt x="960" y="152"/>
                </a:lnTo>
                <a:lnTo>
                  <a:pt x="956" y="155"/>
                </a:lnTo>
                <a:lnTo>
                  <a:pt x="956" y="158"/>
                </a:lnTo>
                <a:lnTo>
                  <a:pt x="957" y="159"/>
                </a:lnTo>
                <a:lnTo>
                  <a:pt x="957" y="159"/>
                </a:lnTo>
                <a:close/>
                <a:moveTo>
                  <a:pt x="464" y="273"/>
                </a:moveTo>
                <a:lnTo>
                  <a:pt x="464" y="273"/>
                </a:lnTo>
                <a:lnTo>
                  <a:pt x="468" y="276"/>
                </a:lnTo>
                <a:lnTo>
                  <a:pt x="472" y="277"/>
                </a:lnTo>
                <a:lnTo>
                  <a:pt x="477" y="276"/>
                </a:lnTo>
                <a:lnTo>
                  <a:pt x="481" y="274"/>
                </a:lnTo>
                <a:lnTo>
                  <a:pt x="488" y="270"/>
                </a:lnTo>
                <a:lnTo>
                  <a:pt x="494" y="267"/>
                </a:lnTo>
                <a:lnTo>
                  <a:pt x="494" y="267"/>
                </a:lnTo>
                <a:lnTo>
                  <a:pt x="495" y="266"/>
                </a:lnTo>
                <a:lnTo>
                  <a:pt x="495" y="264"/>
                </a:lnTo>
                <a:lnTo>
                  <a:pt x="492" y="262"/>
                </a:lnTo>
                <a:lnTo>
                  <a:pt x="486" y="259"/>
                </a:lnTo>
                <a:lnTo>
                  <a:pt x="479" y="256"/>
                </a:lnTo>
                <a:lnTo>
                  <a:pt x="479" y="256"/>
                </a:lnTo>
                <a:lnTo>
                  <a:pt x="475" y="256"/>
                </a:lnTo>
                <a:lnTo>
                  <a:pt x="471" y="256"/>
                </a:lnTo>
                <a:lnTo>
                  <a:pt x="467" y="257"/>
                </a:lnTo>
                <a:lnTo>
                  <a:pt x="464" y="260"/>
                </a:lnTo>
                <a:lnTo>
                  <a:pt x="461" y="263"/>
                </a:lnTo>
                <a:lnTo>
                  <a:pt x="459" y="266"/>
                </a:lnTo>
                <a:lnTo>
                  <a:pt x="461" y="270"/>
                </a:lnTo>
                <a:lnTo>
                  <a:pt x="464" y="273"/>
                </a:lnTo>
                <a:lnTo>
                  <a:pt x="464" y="273"/>
                </a:lnTo>
                <a:close/>
                <a:moveTo>
                  <a:pt x="1975" y="695"/>
                </a:moveTo>
                <a:lnTo>
                  <a:pt x="1975" y="695"/>
                </a:lnTo>
                <a:lnTo>
                  <a:pt x="1973" y="690"/>
                </a:lnTo>
                <a:lnTo>
                  <a:pt x="1973" y="685"/>
                </a:lnTo>
                <a:lnTo>
                  <a:pt x="1976" y="675"/>
                </a:lnTo>
                <a:lnTo>
                  <a:pt x="1976" y="667"/>
                </a:lnTo>
                <a:lnTo>
                  <a:pt x="1976" y="664"/>
                </a:lnTo>
                <a:lnTo>
                  <a:pt x="1973" y="661"/>
                </a:lnTo>
                <a:lnTo>
                  <a:pt x="1973" y="661"/>
                </a:lnTo>
                <a:lnTo>
                  <a:pt x="1970" y="658"/>
                </a:lnTo>
                <a:lnTo>
                  <a:pt x="1967" y="654"/>
                </a:lnTo>
                <a:lnTo>
                  <a:pt x="1966" y="648"/>
                </a:lnTo>
                <a:lnTo>
                  <a:pt x="1965" y="643"/>
                </a:lnTo>
                <a:lnTo>
                  <a:pt x="1965" y="641"/>
                </a:lnTo>
                <a:lnTo>
                  <a:pt x="1963" y="643"/>
                </a:lnTo>
                <a:lnTo>
                  <a:pt x="1963" y="643"/>
                </a:lnTo>
                <a:lnTo>
                  <a:pt x="1962" y="644"/>
                </a:lnTo>
                <a:lnTo>
                  <a:pt x="1960" y="646"/>
                </a:lnTo>
                <a:lnTo>
                  <a:pt x="1960" y="651"/>
                </a:lnTo>
                <a:lnTo>
                  <a:pt x="1959" y="656"/>
                </a:lnTo>
                <a:lnTo>
                  <a:pt x="1957" y="658"/>
                </a:lnTo>
                <a:lnTo>
                  <a:pt x="1955" y="658"/>
                </a:lnTo>
                <a:lnTo>
                  <a:pt x="1955" y="658"/>
                </a:lnTo>
                <a:lnTo>
                  <a:pt x="1953" y="660"/>
                </a:lnTo>
                <a:lnTo>
                  <a:pt x="1952" y="661"/>
                </a:lnTo>
                <a:lnTo>
                  <a:pt x="1952" y="664"/>
                </a:lnTo>
                <a:lnTo>
                  <a:pt x="1952" y="670"/>
                </a:lnTo>
                <a:lnTo>
                  <a:pt x="1952" y="677"/>
                </a:lnTo>
                <a:lnTo>
                  <a:pt x="1952" y="677"/>
                </a:lnTo>
                <a:lnTo>
                  <a:pt x="1950" y="684"/>
                </a:lnTo>
                <a:lnTo>
                  <a:pt x="1952" y="693"/>
                </a:lnTo>
                <a:lnTo>
                  <a:pt x="1955" y="701"/>
                </a:lnTo>
                <a:lnTo>
                  <a:pt x="1957" y="708"/>
                </a:lnTo>
                <a:lnTo>
                  <a:pt x="1957" y="708"/>
                </a:lnTo>
                <a:lnTo>
                  <a:pt x="1957" y="712"/>
                </a:lnTo>
                <a:lnTo>
                  <a:pt x="1957" y="720"/>
                </a:lnTo>
                <a:lnTo>
                  <a:pt x="1956" y="740"/>
                </a:lnTo>
                <a:lnTo>
                  <a:pt x="1955" y="758"/>
                </a:lnTo>
                <a:lnTo>
                  <a:pt x="1955" y="765"/>
                </a:lnTo>
                <a:lnTo>
                  <a:pt x="1956" y="769"/>
                </a:lnTo>
                <a:lnTo>
                  <a:pt x="1956" y="769"/>
                </a:lnTo>
                <a:lnTo>
                  <a:pt x="1956" y="774"/>
                </a:lnTo>
                <a:lnTo>
                  <a:pt x="1956" y="779"/>
                </a:lnTo>
                <a:lnTo>
                  <a:pt x="1955" y="794"/>
                </a:lnTo>
                <a:lnTo>
                  <a:pt x="1952" y="808"/>
                </a:lnTo>
                <a:lnTo>
                  <a:pt x="1952" y="812"/>
                </a:lnTo>
                <a:lnTo>
                  <a:pt x="1953" y="815"/>
                </a:lnTo>
                <a:lnTo>
                  <a:pt x="1953" y="815"/>
                </a:lnTo>
                <a:lnTo>
                  <a:pt x="1955" y="816"/>
                </a:lnTo>
                <a:lnTo>
                  <a:pt x="1956" y="816"/>
                </a:lnTo>
                <a:lnTo>
                  <a:pt x="1956" y="812"/>
                </a:lnTo>
                <a:lnTo>
                  <a:pt x="1959" y="808"/>
                </a:lnTo>
                <a:lnTo>
                  <a:pt x="1960" y="805"/>
                </a:lnTo>
                <a:lnTo>
                  <a:pt x="1963" y="805"/>
                </a:lnTo>
                <a:lnTo>
                  <a:pt x="1963" y="805"/>
                </a:lnTo>
                <a:lnTo>
                  <a:pt x="1966" y="805"/>
                </a:lnTo>
                <a:lnTo>
                  <a:pt x="1967" y="805"/>
                </a:lnTo>
                <a:lnTo>
                  <a:pt x="1972" y="809"/>
                </a:lnTo>
                <a:lnTo>
                  <a:pt x="1973" y="813"/>
                </a:lnTo>
                <a:lnTo>
                  <a:pt x="1977" y="816"/>
                </a:lnTo>
                <a:lnTo>
                  <a:pt x="1977" y="816"/>
                </a:lnTo>
                <a:lnTo>
                  <a:pt x="1979" y="816"/>
                </a:lnTo>
                <a:lnTo>
                  <a:pt x="1979" y="815"/>
                </a:lnTo>
                <a:lnTo>
                  <a:pt x="1979" y="809"/>
                </a:lnTo>
                <a:lnTo>
                  <a:pt x="1977" y="804"/>
                </a:lnTo>
                <a:lnTo>
                  <a:pt x="1976" y="802"/>
                </a:lnTo>
                <a:lnTo>
                  <a:pt x="1975" y="802"/>
                </a:lnTo>
                <a:lnTo>
                  <a:pt x="1975" y="802"/>
                </a:lnTo>
                <a:lnTo>
                  <a:pt x="1972" y="802"/>
                </a:lnTo>
                <a:lnTo>
                  <a:pt x="1970" y="801"/>
                </a:lnTo>
                <a:lnTo>
                  <a:pt x="1967" y="795"/>
                </a:lnTo>
                <a:lnTo>
                  <a:pt x="1963" y="784"/>
                </a:lnTo>
                <a:lnTo>
                  <a:pt x="1963" y="784"/>
                </a:lnTo>
                <a:lnTo>
                  <a:pt x="1963" y="776"/>
                </a:lnTo>
                <a:lnTo>
                  <a:pt x="1965" y="771"/>
                </a:lnTo>
                <a:lnTo>
                  <a:pt x="1966" y="764"/>
                </a:lnTo>
                <a:lnTo>
                  <a:pt x="1967" y="757"/>
                </a:lnTo>
                <a:lnTo>
                  <a:pt x="1967" y="757"/>
                </a:lnTo>
                <a:lnTo>
                  <a:pt x="1969" y="754"/>
                </a:lnTo>
                <a:lnTo>
                  <a:pt x="1970" y="752"/>
                </a:lnTo>
                <a:lnTo>
                  <a:pt x="1972" y="751"/>
                </a:lnTo>
                <a:lnTo>
                  <a:pt x="1975" y="749"/>
                </a:lnTo>
                <a:lnTo>
                  <a:pt x="1980" y="751"/>
                </a:lnTo>
                <a:lnTo>
                  <a:pt x="1987" y="755"/>
                </a:lnTo>
                <a:lnTo>
                  <a:pt x="1987" y="755"/>
                </a:lnTo>
                <a:lnTo>
                  <a:pt x="1990" y="758"/>
                </a:lnTo>
                <a:lnTo>
                  <a:pt x="1993" y="758"/>
                </a:lnTo>
                <a:lnTo>
                  <a:pt x="1993" y="755"/>
                </a:lnTo>
                <a:lnTo>
                  <a:pt x="1992" y="752"/>
                </a:lnTo>
                <a:lnTo>
                  <a:pt x="1992" y="752"/>
                </a:lnTo>
                <a:lnTo>
                  <a:pt x="1989" y="742"/>
                </a:lnTo>
                <a:lnTo>
                  <a:pt x="1984" y="727"/>
                </a:lnTo>
                <a:lnTo>
                  <a:pt x="1975" y="695"/>
                </a:lnTo>
                <a:lnTo>
                  <a:pt x="1975" y="695"/>
                </a:lnTo>
                <a:close/>
                <a:moveTo>
                  <a:pt x="2734" y="354"/>
                </a:moveTo>
                <a:lnTo>
                  <a:pt x="2734" y="354"/>
                </a:lnTo>
                <a:lnTo>
                  <a:pt x="2723" y="347"/>
                </a:lnTo>
                <a:lnTo>
                  <a:pt x="2716" y="341"/>
                </a:lnTo>
                <a:lnTo>
                  <a:pt x="2711" y="337"/>
                </a:lnTo>
                <a:lnTo>
                  <a:pt x="2711" y="337"/>
                </a:lnTo>
                <a:lnTo>
                  <a:pt x="2709" y="335"/>
                </a:lnTo>
                <a:lnTo>
                  <a:pt x="2706" y="333"/>
                </a:lnTo>
                <a:lnTo>
                  <a:pt x="2699" y="331"/>
                </a:lnTo>
                <a:lnTo>
                  <a:pt x="2691" y="330"/>
                </a:lnTo>
                <a:lnTo>
                  <a:pt x="2690" y="331"/>
                </a:lnTo>
                <a:lnTo>
                  <a:pt x="2689" y="331"/>
                </a:lnTo>
                <a:lnTo>
                  <a:pt x="2689" y="331"/>
                </a:lnTo>
                <a:lnTo>
                  <a:pt x="2689" y="333"/>
                </a:lnTo>
                <a:lnTo>
                  <a:pt x="2686" y="331"/>
                </a:lnTo>
                <a:lnTo>
                  <a:pt x="2683" y="330"/>
                </a:lnTo>
                <a:lnTo>
                  <a:pt x="2682" y="328"/>
                </a:lnTo>
                <a:lnTo>
                  <a:pt x="2682" y="328"/>
                </a:lnTo>
                <a:lnTo>
                  <a:pt x="2677" y="326"/>
                </a:lnTo>
                <a:lnTo>
                  <a:pt x="2670" y="326"/>
                </a:lnTo>
                <a:lnTo>
                  <a:pt x="2664" y="326"/>
                </a:lnTo>
                <a:lnTo>
                  <a:pt x="2662" y="327"/>
                </a:lnTo>
                <a:lnTo>
                  <a:pt x="2660" y="327"/>
                </a:lnTo>
                <a:lnTo>
                  <a:pt x="2660" y="327"/>
                </a:lnTo>
                <a:lnTo>
                  <a:pt x="2662" y="330"/>
                </a:lnTo>
                <a:lnTo>
                  <a:pt x="2663" y="331"/>
                </a:lnTo>
                <a:lnTo>
                  <a:pt x="2666" y="333"/>
                </a:lnTo>
                <a:lnTo>
                  <a:pt x="2669" y="335"/>
                </a:lnTo>
                <a:lnTo>
                  <a:pt x="2669" y="335"/>
                </a:lnTo>
                <a:lnTo>
                  <a:pt x="2669" y="337"/>
                </a:lnTo>
                <a:lnTo>
                  <a:pt x="2667" y="340"/>
                </a:lnTo>
                <a:lnTo>
                  <a:pt x="2666" y="343"/>
                </a:lnTo>
                <a:lnTo>
                  <a:pt x="2666" y="345"/>
                </a:lnTo>
                <a:lnTo>
                  <a:pt x="2666" y="345"/>
                </a:lnTo>
                <a:lnTo>
                  <a:pt x="2666" y="347"/>
                </a:lnTo>
                <a:lnTo>
                  <a:pt x="2664" y="347"/>
                </a:lnTo>
                <a:lnTo>
                  <a:pt x="2662" y="345"/>
                </a:lnTo>
                <a:lnTo>
                  <a:pt x="2656" y="341"/>
                </a:lnTo>
                <a:lnTo>
                  <a:pt x="2656" y="341"/>
                </a:lnTo>
                <a:lnTo>
                  <a:pt x="2654" y="338"/>
                </a:lnTo>
                <a:lnTo>
                  <a:pt x="2653" y="333"/>
                </a:lnTo>
                <a:lnTo>
                  <a:pt x="2654" y="324"/>
                </a:lnTo>
                <a:lnTo>
                  <a:pt x="2654" y="324"/>
                </a:lnTo>
                <a:lnTo>
                  <a:pt x="2654" y="321"/>
                </a:lnTo>
                <a:lnTo>
                  <a:pt x="2652" y="320"/>
                </a:lnTo>
                <a:lnTo>
                  <a:pt x="2650" y="318"/>
                </a:lnTo>
                <a:lnTo>
                  <a:pt x="2649" y="316"/>
                </a:lnTo>
                <a:lnTo>
                  <a:pt x="2649" y="316"/>
                </a:lnTo>
                <a:lnTo>
                  <a:pt x="2647" y="314"/>
                </a:lnTo>
                <a:lnTo>
                  <a:pt x="2645" y="311"/>
                </a:lnTo>
                <a:lnTo>
                  <a:pt x="2636" y="306"/>
                </a:lnTo>
                <a:lnTo>
                  <a:pt x="2618" y="297"/>
                </a:lnTo>
                <a:lnTo>
                  <a:pt x="2618" y="297"/>
                </a:lnTo>
                <a:lnTo>
                  <a:pt x="2603" y="291"/>
                </a:lnTo>
                <a:lnTo>
                  <a:pt x="2598" y="289"/>
                </a:lnTo>
                <a:lnTo>
                  <a:pt x="2593" y="286"/>
                </a:lnTo>
                <a:lnTo>
                  <a:pt x="2593" y="286"/>
                </a:lnTo>
                <a:lnTo>
                  <a:pt x="2589" y="283"/>
                </a:lnTo>
                <a:lnTo>
                  <a:pt x="2582" y="280"/>
                </a:lnTo>
                <a:lnTo>
                  <a:pt x="2575" y="277"/>
                </a:lnTo>
                <a:lnTo>
                  <a:pt x="2569" y="274"/>
                </a:lnTo>
                <a:lnTo>
                  <a:pt x="2569" y="274"/>
                </a:lnTo>
                <a:lnTo>
                  <a:pt x="2561" y="269"/>
                </a:lnTo>
                <a:lnTo>
                  <a:pt x="2548" y="263"/>
                </a:lnTo>
                <a:lnTo>
                  <a:pt x="2535" y="257"/>
                </a:lnTo>
                <a:lnTo>
                  <a:pt x="2524" y="256"/>
                </a:lnTo>
                <a:lnTo>
                  <a:pt x="2524" y="256"/>
                </a:lnTo>
                <a:lnTo>
                  <a:pt x="2518" y="254"/>
                </a:lnTo>
                <a:lnTo>
                  <a:pt x="2514" y="252"/>
                </a:lnTo>
                <a:lnTo>
                  <a:pt x="2512" y="250"/>
                </a:lnTo>
                <a:lnTo>
                  <a:pt x="2509" y="249"/>
                </a:lnTo>
                <a:lnTo>
                  <a:pt x="2509" y="249"/>
                </a:lnTo>
                <a:lnTo>
                  <a:pt x="2491" y="249"/>
                </a:lnTo>
                <a:lnTo>
                  <a:pt x="2471" y="247"/>
                </a:lnTo>
                <a:lnTo>
                  <a:pt x="2471" y="247"/>
                </a:lnTo>
                <a:lnTo>
                  <a:pt x="2467" y="249"/>
                </a:lnTo>
                <a:lnTo>
                  <a:pt x="2462" y="250"/>
                </a:lnTo>
                <a:lnTo>
                  <a:pt x="2460" y="250"/>
                </a:lnTo>
                <a:lnTo>
                  <a:pt x="2457" y="250"/>
                </a:lnTo>
                <a:lnTo>
                  <a:pt x="2457" y="250"/>
                </a:lnTo>
                <a:lnTo>
                  <a:pt x="2437" y="244"/>
                </a:lnTo>
                <a:lnTo>
                  <a:pt x="2425" y="242"/>
                </a:lnTo>
                <a:lnTo>
                  <a:pt x="2421" y="242"/>
                </a:lnTo>
                <a:lnTo>
                  <a:pt x="2420" y="242"/>
                </a:lnTo>
                <a:lnTo>
                  <a:pt x="2420" y="242"/>
                </a:lnTo>
                <a:lnTo>
                  <a:pt x="2418" y="244"/>
                </a:lnTo>
                <a:lnTo>
                  <a:pt x="2417" y="247"/>
                </a:lnTo>
                <a:lnTo>
                  <a:pt x="2415" y="250"/>
                </a:lnTo>
                <a:lnTo>
                  <a:pt x="2414" y="252"/>
                </a:lnTo>
                <a:lnTo>
                  <a:pt x="2414" y="252"/>
                </a:lnTo>
                <a:lnTo>
                  <a:pt x="2413" y="253"/>
                </a:lnTo>
                <a:lnTo>
                  <a:pt x="2414" y="256"/>
                </a:lnTo>
                <a:lnTo>
                  <a:pt x="2423" y="264"/>
                </a:lnTo>
                <a:lnTo>
                  <a:pt x="2423" y="264"/>
                </a:lnTo>
                <a:lnTo>
                  <a:pt x="2425" y="270"/>
                </a:lnTo>
                <a:lnTo>
                  <a:pt x="2427" y="271"/>
                </a:lnTo>
                <a:lnTo>
                  <a:pt x="2425" y="274"/>
                </a:lnTo>
                <a:lnTo>
                  <a:pt x="2423" y="277"/>
                </a:lnTo>
                <a:lnTo>
                  <a:pt x="2418" y="280"/>
                </a:lnTo>
                <a:lnTo>
                  <a:pt x="2418" y="280"/>
                </a:lnTo>
                <a:lnTo>
                  <a:pt x="2413" y="281"/>
                </a:lnTo>
                <a:lnTo>
                  <a:pt x="2406" y="280"/>
                </a:lnTo>
                <a:lnTo>
                  <a:pt x="2400" y="276"/>
                </a:lnTo>
                <a:lnTo>
                  <a:pt x="2396" y="271"/>
                </a:lnTo>
                <a:lnTo>
                  <a:pt x="2396" y="271"/>
                </a:lnTo>
                <a:lnTo>
                  <a:pt x="2393" y="269"/>
                </a:lnTo>
                <a:lnTo>
                  <a:pt x="2388" y="267"/>
                </a:lnTo>
                <a:lnTo>
                  <a:pt x="2383" y="266"/>
                </a:lnTo>
                <a:lnTo>
                  <a:pt x="2381" y="264"/>
                </a:lnTo>
                <a:lnTo>
                  <a:pt x="2380" y="262"/>
                </a:lnTo>
                <a:lnTo>
                  <a:pt x="2380" y="262"/>
                </a:lnTo>
                <a:lnTo>
                  <a:pt x="2380" y="257"/>
                </a:lnTo>
                <a:lnTo>
                  <a:pt x="2381" y="256"/>
                </a:lnTo>
                <a:lnTo>
                  <a:pt x="2384" y="256"/>
                </a:lnTo>
                <a:lnTo>
                  <a:pt x="2388" y="257"/>
                </a:lnTo>
                <a:lnTo>
                  <a:pt x="2388" y="257"/>
                </a:lnTo>
                <a:lnTo>
                  <a:pt x="2391" y="259"/>
                </a:lnTo>
                <a:lnTo>
                  <a:pt x="2396" y="259"/>
                </a:lnTo>
                <a:lnTo>
                  <a:pt x="2398" y="257"/>
                </a:lnTo>
                <a:lnTo>
                  <a:pt x="2400" y="253"/>
                </a:lnTo>
                <a:lnTo>
                  <a:pt x="2400" y="253"/>
                </a:lnTo>
                <a:lnTo>
                  <a:pt x="2400" y="252"/>
                </a:lnTo>
                <a:lnTo>
                  <a:pt x="2398" y="250"/>
                </a:lnTo>
                <a:lnTo>
                  <a:pt x="2393" y="247"/>
                </a:lnTo>
                <a:lnTo>
                  <a:pt x="2386" y="246"/>
                </a:lnTo>
                <a:lnTo>
                  <a:pt x="2380" y="244"/>
                </a:lnTo>
                <a:lnTo>
                  <a:pt x="2380" y="244"/>
                </a:lnTo>
                <a:lnTo>
                  <a:pt x="2374" y="247"/>
                </a:lnTo>
                <a:lnTo>
                  <a:pt x="2370" y="252"/>
                </a:lnTo>
                <a:lnTo>
                  <a:pt x="2366" y="256"/>
                </a:lnTo>
                <a:lnTo>
                  <a:pt x="2361" y="260"/>
                </a:lnTo>
                <a:lnTo>
                  <a:pt x="2361" y="260"/>
                </a:lnTo>
                <a:lnTo>
                  <a:pt x="2357" y="262"/>
                </a:lnTo>
                <a:lnTo>
                  <a:pt x="2351" y="262"/>
                </a:lnTo>
                <a:lnTo>
                  <a:pt x="2339" y="260"/>
                </a:lnTo>
                <a:lnTo>
                  <a:pt x="2327" y="257"/>
                </a:lnTo>
                <a:lnTo>
                  <a:pt x="2320" y="256"/>
                </a:lnTo>
                <a:lnTo>
                  <a:pt x="2320" y="256"/>
                </a:lnTo>
                <a:lnTo>
                  <a:pt x="2317" y="254"/>
                </a:lnTo>
                <a:lnTo>
                  <a:pt x="2313" y="254"/>
                </a:lnTo>
                <a:lnTo>
                  <a:pt x="2297" y="254"/>
                </a:lnTo>
                <a:lnTo>
                  <a:pt x="2282" y="256"/>
                </a:lnTo>
                <a:lnTo>
                  <a:pt x="2272" y="259"/>
                </a:lnTo>
                <a:lnTo>
                  <a:pt x="2272" y="259"/>
                </a:lnTo>
                <a:lnTo>
                  <a:pt x="2270" y="262"/>
                </a:lnTo>
                <a:lnTo>
                  <a:pt x="2270" y="266"/>
                </a:lnTo>
                <a:lnTo>
                  <a:pt x="2270" y="270"/>
                </a:lnTo>
                <a:lnTo>
                  <a:pt x="2269" y="273"/>
                </a:lnTo>
                <a:lnTo>
                  <a:pt x="2269" y="273"/>
                </a:lnTo>
                <a:lnTo>
                  <a:pt x="2268" y="271"/>
                </a:lnTo>
                <a:lnTo>
                  <a:pt x="2266" y="267"/>
                </a:lnTo>
                <a:lnTo>
                  <a:pt x="2265" y="257"/>
                </a:lnTo>
                <a:lnTo>
                  <a:pt x="2265" y="257"/>
                </a:lnTo>
                <a:lnTo>
                  <a:pt x="2263" y="256"/>
                </a:lnTo>
                <a:lnTo>
                  <a:pt x="2262" y="254"/>
                </a:lnTo>
                <a:lnTo>
                  <a:pt x="2252" y="253"/>
                </a:lnTo>
                <a:lnTo>
                  <a:pt x="2252" y="253"/>
                </a:lnTo>
                <a:lnTo>
                  <a:pt x="2245" y="253"/>
                </a:lnTo>
                <a:lnTo>
                  <a:pt x="2243" y="252"/>
                </a:lnTo>
                <a:lnTo>
                  <a:pt x="2243" y="250"/>
                </a:lnTo>
                <a:lnTo>
                  <a:pt x="2243" y="250"/>
                </a:lnTo>
                <a:lnTo>
                  <a:pt x="2245" y="247"/>
                </a:lnTo>
                <a:lnTo>
                  <a:pt x="2245" y="244"/>
                </a:lnTo>
                <a:lnTo>
                  <a:pt x="2245" y="243"/>
                </a:lnTo>
                <a:lnTo>
                  <a:pt x="2246" y="240"/>
                </a:lnTo>
                <a:lnTo>
                  <a:pt x="2246" y="240"/>
                </a:lnTo>
                <a:lnTo>
                  <a:pt x="2248" y="237"/>
                </a:lnTo>
                <a:lnTo>
                  <a:pt x="2248" y="234"/>
                </a:lnTo>
                <a:lnTo>
                  <a:pt x="2242" y="229"/>
                </a:lnTo>
                <a:lnTo>
                  <a:pt x="2232" y="223"/>
                </a:lnTo>
                <a:lnTo>
                  <a:pt x="2221" y="217"/>
                </a:lnTo>
                <a:lnTo>
                  <a:pt x="2221" y="217"/>
                </a:lnTo>
                <a:lnTo>
                  <a:pt x="2213" y="215"/>
                </a:lnTo>
                <a:lnTo>
                  <a:pt x="2206" y="215"/>
                </a:lnTo>
                <a:lnTo>
                  <a:pt x="2188" y="213"/>
                </a:lnTo>
                <a:lnTo>
                  <a:pt x="2171" y="215"/>
                </a:lnTo>
                <a:lnTo>
                  <a:pt x="2159" y="217"/>
                </a:lnTo>
                <a:lnTo>
                  <a:pt x="2159" y="217"/>
                </a:lnTo>
                <a:lnTo>
                  <a:pt x="2151" y="219"/>
                </a:lnTo>
                <a:lnTo>
                  <a:pt x="2141" y="219"/>
                </a:lnTo>
                <a:lnTo>
                  <a:pt x="2122" y="219"/>
                </a:lnTo>
                <a:lnTo>
                  <a:pt x="2122" y="219"/>
                </a:lnTo>
                <a:lnTo>
                  <a:pt x="2118" y="219"/>
                </a:lnTo>
                <a:lnTo>
                  <a:pt x="2118" y="217"/>
                </a:lnTo>
                <a:lnTo>
                  <a:pt x="2118" y="215"/>
                </a:lnTo>
                <a:lnTo>
                  <a:pt x="2118" y="212"/>
                </a:lnTo>
                <a:lnTo>
                  <a:pt x="2118" y="212"/>
                </a:lnTo>
                <a:lnTo>
                  <a:pt x="2114" y="207"/>
                </a:lnTo>
                <a:lnTo>
                  <a:pt x="2108" y="206"/>
                </a:lnTo>
                <a:lnTo>
                  <a:pt x="2101" y="205"/>
                </a:lnTo>
                <a:lnTo>
                  <a:pt x="2100" y="205"/>
                </a:lnTo>
                <a:lnTo>
                  <a:pt x="2098" y="206"/>
                </a:lnTo>
                <a:lnTo>
                  <a:pt x="2098" y="206"/>
                </a:lnTo>
                <a:lnTo>
                  <a:pt x="2097" y="207"/>
                </a:lnTo>
                <a:lnTo>
                  <a:pt x="2094" y="206"/>
                </a:lnTo>
                <a:lnTo>
                  <a:pt x="2093" y="205"/>
                </a:lnTo>
                <a:lnTo>
                  <a:pt x="2093" y="203"/>
                </a:lnTo>
                <a:lnTo>
                  <a:pt x="2093" y="203"/>
                </a:lnTo>
                <a:lnTo>
                  <a:pt x="2090" y="200"/>
                </a:lnTo>
                <a:lnTo>
                  <a:pt x="2084" y="198"/>
                </a:lnTo>
                <a:lnTo>
                  <a:pt x="2077" y="196"/>
                </a:lnTo>
                <a:lnTo>
                  <a:pt x="2071" y="196"/>
                </a:lnTo>
                <a:lnTo>
                  <a:pt x="2071" y="196"/>
                </a:lnTo>
                <a:lnTo>
                  <a:pt x="2068" y="196"/>
                </a:lnTo>
                <a:lnTo>
                  <a:pt x="2067" y="195"/>
                </a:lnTo>
                <a:lnTo>
                  <a:pt x="2067" y="192"/>
                </a:lnTo>
                <a:lnTo>
                  <a:pt x="2070" y="190"/>
                </a:lnTo>
                <a:lnTo>
                  <a:pt x="2070" y="190"/>
                </a:lnTo>
                <a:lnTo>
                  <a:pt x="2081" y="190"/>
                </a:lnTo>
                <a:lnTo>
                  <a:pt x="2083" y="190"/>
                </a:lnTo>
                <a:lnTo>
                  <a:pt x="2084" y="189"/>
                </a:lnTo>
                <a:lnTo>
                  <a:pt x="2084" y="188"/>
                </a:lnTo>
                <a:lnTo>
                  <a:pt x="2083" y="185"/>
                </a:lnTo>
                <a:lnTo>
                  <a:pt x="2083" y="185"/>
                </a:lnTo>
                <a:lnTo>
                  <a:pt x="2080" y="182"/>
                </a:lnTo>
                <a:lnTo>
                  <a:pt x="2074" y="180"/>
                </a:lnTo>
                <a:lnTo>
                  <a:pt x="2057" y="178"/>
                </a:lnTo>
                <a:lnTo>
                  <a:pt x="2040" y="176"/>
                </a:lnTo>
                <a:lnTo>
                  <a:pt x="2031" y="176"/>
                </a:lnTo>
                <a:lnTo>
                  <a:pt x="2031" y="176"/>
                </a:lnTo>
                <a:lnTo>
                  <a:pt x="2030" y="178"/>
                </a:lnTo>
                <a:lnTo>
                  <a:pt x="2029" y="182"/>
                </a:lnTo>
                <a:lnTo>
                  <a:pt x="2027" y="186"/>
                </a:lnTo>
                <a:lnTo>
                  <a:pt x="2021" y="192"/>
                </a:lnTo>
                <a:lnTo>
                  <a:pt x="2021" y="192"/>
                </a:lnTo>
                <a:lnTo>
                  <a:pt x="2019" y="195"/>
                </a:lnTo>
                <a:lnTo>
                  <a:pt x="2016" y="196"/>
                </a:lnTo>
                <a:lnTo>
                  <a:pt x="2011" y="196"/>
                </a:lnTo>
                <a:lnTo>
                  <a:pt x="2010" y="196"/>
                </a:lnTo>
                <a:lnTo>
                  <a:pt x="2006" y="193"/>
                </a:lnTo>
                <a:lnTo>
                  <a:pt x="2004" y="190"/>
                </a:lnTo>
                <a:lnTo>
                  <a:pt x="2004" y="190"/>
                </a:lnTo>
                <a:lnTo>
                  <a:pt x="2007" y="188"/>
                </a:lnTo>
                <a:lnTo>
                  <a:pt x="2011" y="186"/>
                </a:lnTo>
                <a:lnTo>
                  <a:pt x="2016" y="185"/>
                </a:lnTo>
                <a:lnTo>
                  <a:pt x="2017" y="185"/>
                </a:lnTo>
                <a:lnTo>
                  <a:pt x="2017" y="183"/>
                </a:lnTo>
                <a:lnTo>
                  <a:pt x="2017" y="183"/>
                </a:lnTo>
                <a:lnTo>
                  <a:pt x="2017" y="182"/>
                </a:lnTo>
                <a:lnTo>
                  <a:pt x="2014" y="180"/>
                </a:lnTo>
                <a:lnTo>
                  <a:pt x="2009" y="179"/>
                </a:lnTo>
                <a:lnTo>
                  <a:pt x="2003" y="179"/>
                </a:lnTo>
                <a:lnTo>
                  <a:pt x="2000" y="178"/>
                </a:lnTo>
                <a:lnTo>
                  <a:pt x="2000" y="178"/>
                </a:lnTo>
                <a:lnTo>
                  <a:pt x="1999" y="175"/>
                </a:lnTo>
                <a:lnTo>
                  <a:pt x="2002" y="173"/>
                </a:lnTo>
                <a:lnTo>
                  <a:pt x="2004" y="172"/>
                </a:lnTo>
                <a:lnTo>
                  <a:pt x="2009" y="173"/>
                </a:lnTo>
                <a:lnTo>
                  <a:pt x="2009" y="173"/>
                </a:lnTo>
                <a:lnTo>
                  <a:pt x="2019" y="175"/>
                </a:lnTo>
                <a:lnTo>
                  <a:pt x="2023" y="175"/>
                </a:lnTo>
                <a:lnTo>
                  <a:pt x="2024" y="173"/>
                </a:lnTo>
                <a:lnTo>
                  <a:pt x="2024" y="173"/>
                </a:lnTo>
                <a:lnTo>
                  <a:pt x="2024" y="172"/>
                </a:lnTo>
                <a:lnTo>
                  <a:pt x="2020" y="170"/>
                </a:lnTo>
                <a:lnTo>
                  <a:pt x="2009" y="168"/>
                </a:lnTo>
                <a:lnTo>
                  <a:pt x="2009" y="168"/>
                </a:lnTo>
                <a:lnTo>
                  <a:pt x="1987" y="165"/>
                </a:lnTo>
                <a:lnTo>
                  <a:pt x="1976" y="162"/>
                </a:lnTo>
                <a:lnTo>
                  <a:pt x="1965" y="162"/>
                </a:lnTo>
                <a:lnTo>
                  <a:pt x="1965" y="162"/>
                </a:lnTo>
                <a:lnTo>
                  <a:pt x="1956" y="162"/>
                </a:lnTo>
                <a:lnTo>
                  <a:pt x="1950" y="161"/>
                </a:lnTo>
                <a:lnTo>
                  <a:pt x="1945" y="159"/>
                </a:lnTo>
                <a:lnTo>
                  <a:pt x="1940" y="158"/>
                </a:lnTo>
                <a:lnTo>
                  <a:pt x="1940" y="158"/>
                </a:lnTo>
                <a:lnTo>
                  <a:pt x="1936" y="158"/>
                </a:lnTo>
                <a:lnTo>
                  <a:pt x="1935" y="159"/>
                </a:lnTo>
                <a:lnTo>
                  <a:pt x="1935" y="162"/>
                </a:lnTo>
                <a:lnTo>
                  <a:pt x="1938" y="165"/>
                </a:lnTo>
                <a:lnTo>
                  <a:pt x="1938" y="165"/>
                </a:lnTo>
                <a:lnTo>
                  <a:pt x="1938" y="166"/>
                </a:lnTo>
                <a:lnTo>
                  <a:pt x="1938" y="168"/>
                </a:lnTo>
                <a:lnTo>
                  <a:pt x="1933" y="169"/>
                </a:lnTo>
                <a:lnTo>
                  <a:pt x="1929" y="170"/>
                </a:lnTo>
                <a:lnTo>
                  <a:pt x="1923" y="169"/>
                </a:lnTo>
                <a:lnTo>
                  <a:pt x="1923" y="169"/>
                </a:lnTo>
                <a:lnTo>
                  <a:pt x="1916" y="170"/>
                </a:lnTo>
                <a:lnTo>
                  <a:pt x="1910" y="172"/>
                </a:lnTo>
                <a:lnTo>
                  <a:pt x="1908" y="176"/>
                </a:lnTo>
                <a:lnTo>
                  <a:pt x="1906" y="178"/>
                </a:lnTo>
                <a:lnTo>
                  <a:pt x="1908" y="179"/>
                </a:lnTo>
                <a:lnTo>
                  <a:pt x="1908" y="179"/>
                </a:lnTo>
                <a:lnTo>
                  <a:pt x="1909" y="182"/>
                </a:lnTo>
                <a:lnTo>
                  <a:pt x="1912" y="182"/>
                </a:lnTo>
                <a:lnTo>
                  <a:pt x="1915" y="180"/>
                </a:lnTo>
                <a:lnTo>
                  <a:pt x="1918" y="180"/>
                </a:lnTo>
                <a:lnTo>
                  <a:pt x="1920" y="180"/>
                </a:lnTo>
                <a:lnTo>
                  <a:pt x="1920" y="180"/>
                </a:lnTo>
                <a:lnTo>
                  <a:pt x="1922" y="180"/>
                </a:lnTo>
                <a:lnTo>
                  <a:pt x="1920" y="182"/>
                </a:lnTo>
                <a:lnTo>
                  <a:pt x="1918" y="183"/>
                </a:lnTo>
                <a:lnTo>
                  <a:pt x="1915" y="186"/>
                </a:lnTo>
                <a:lnTo>
                  <a:pt x="1915" y="188"/>
                </a:lnTo>
                <a:lnTo>
                  <a:pt x="1916" y="189"/>
                </a:lnTo>
                <a:lnTo>
                  <a:pt x="1916" y="189"/>
                </a:lnTo>
                <a:lnTo>
                  <a:pt x="1919" y="190"/>
                </a:lnTo>
                <a:lnTo>
                  <a:pt x="1920" y="193"/>
                </a:lnTo>
                <a:lnTo>
                  <a:pt x="1922" y="199"/>
                </a:lnTo>
                <a:lnTo>
                  <a:pt x="1922" y="199"/>
                </a:lnTo>
                <a:lnTo>
                  <a:pt x="1920" y="202"/>
                </a:lnTo>
                <a:lnTo>
                  <a:pt x="1916" y="202"/>
                </a:lnTo>
                <a:lnTo>
                  <a:pt x="1912" y="202"/>
                </a:lnTo>
                <a:lnTo>
                  <a:pt x="1909" y="199"/>
                </a:lnTo>
                <a:lnTo>
                  <a:pt x="1909" y="199"/>
                </a:lnTo>
                <a:lnTo>
                  <a:pt x="1905" y="198"/>
                </a:lnTo>
                <a:lnTo>
                  <a:pt x="1902" y="198"/>
                </a:lnTo>
                <a:lnTo>
                  <a:pt x="1898" y="198"/>
                </a:lnTo>
                <a:lnTo>
                  <a:pt x="1893" y="199"/>
                </a:lnTo>
                <a:lnTo>
                  <a:pt x="1893" y="199"/>
                </a:lnTo>
                <a:lnTo>
                  <a:pt x="1889" y="199"/>
                </a:lnTo>
                <a:lnTo>
                  <a:pt x="1886" y="199"/>
                </a:lnTo>
                <a:lnTo>
                  <a:pt x="1885" y="200"/>
                </a:lnTo>
                <a:lnTo>
                  <a:pt x="1889" y="202"/>
                </a:lnTo>
                <a:lnTo>
                  <a:pt x="1889" y="202"/>
                </a:lnTo>
                <a:lnTo>
                  <a:pt x="1893" y="203"/>
                </a:lnTo>
                <a:lnTo>
                  <a:pt x="1895" y="205"/>
                </a:lnTo>
                <a:lnTo>
                  <a:pt x="1893" y="207"/>
                </a:lnTo>
                <a:lnTo>
                  <a:pt x="1889" y="209"/>
                </a:lnTo>
                <a:lnTo>
                  <a:pt x="1889" y="209"/>
                </a:lnTo>
                <a:lnTo>
                  <a:pt x="1886" y="209"/>
                </a:lnTo>
                <a:lnTo>
                  <a:pt x="1883" y="207"/>
                </a:lnTo>
                <a:lnTo>
                  <a:pt x="1881" y="205"/>
                </a:lnTo>
                <a:lnTo>
                  <a:pt x="1879" y="202"/>
                </a:lnTo>
                <a:lnTo>
                  <a:pt x="1878" y="200"/>
                </a:lnTo>
                <a:lnTo>
                  <a:pt x="1876" y="200"/>
                </a:lnTo>
                <a:lnTo>
                  <a:pt x="1876" y="200"/>
                </a:lnTo>
                <a:lnTo>
                  <a:pt x="1871" y="200"/>
                </a:lnTo>
                <a:lnTo>
                  <a:pt x="1864" y="199"/>
                </a:lnTo>
                <a:lnTo>
                  <a:pt x="1856" y="198"/>
                </a:lnTo>
                <a:lnTo>
                  <a:pt x="1851" y="196"/>
                </a:lnTo>
                <a:lnTo>
                  <a:pt x="1851" y="196"/>
                </a:lnTo>
                <a:lnTo>
                  <a:pt x="1846" y="198"/>
                </a:lnTo>
                <a:lnTo>
                  <a:pt x="1842" y="199"/>
                </a:lnTo>
                <a:lnTo>
                  <a:pt x="1838" y="202"/>
                </a:lnTo>
                <a:lnTo>
                  <a:pt x="1832" y="203"/>
                </a:lnTo>
                <a:lnTo>
                  <a:pt x="1832" y="203"/>
                </a:lnTo>
                <a:lnTo>
                  <a:pt x="1825" y="202"/>
                </a:lnTo>
                <a:lnTo>
                  <a:pt x="1818" y="200"/>
                </a:lnTo>
                <a:lnTo>
                  <a:pt x="1812" y="198"/>
                </a:lnTo>
                <a:lnTo>
                  <a:pt x="1808" y="193"/>
                </a:lnTo>
                <a:lnTo>
                  <a:pt x="1808" y="193"/>
                </a:lnTo>
                <a:lnTo>
                  <a:pt x="1807" y="190"/>
                </a:lnTo>
                <a:lnTo>
                  <a:pt x="1804" y="189"/>
                </a:lnTo>
                <a:lnTo>
                  <a:pt x="1802" y="190"/>
                </a:lnTo>
                <a:lnTo>
                  <a:pt x="1800" y="193"/>
                </a:lnTo>
                <a:lnTo>
                  <a:pt x="1800" y="193"/>
                </a:lnTo>
                <a:lnTo>
                  <a:pt x="1797" y="198"/>
                </a:lnTo>
                <a:lnTo>
                  <a:pt x="1795" y="203"/>
                </a:lnTo>
                <a:lnTo>
                  <a:pt x="1794" y="207"/>
                </a:lnTo>
                <a:lnTo>
                  <a:pt x="1791" y="209"/>
                </a:lnTo>
                <a:lnTo>
                  <a:pt x="1791" y="209"/>
                </a:lnTo>
                <a:lnTo>
                  <a:pt x="1788" y="212"/>
                </a:lnTo>
                <a:lnTo>
                  <a:pt x="1785" y="215"/>
                </a:lnTo>
                <a:lnTo>
                  <a:pt x="1784" y="219"/>
                </a:lnTo>
                <a:lnTo>
                  <a:pt x="1781" y="222"/>
                </a:lnTo>
                <a:lnTo>
                  <a:pt x="1781" y="222"/>
                </a:lnTo>
                <a:lnTo>
                  <a:pt x="1778" y="222"/>
                </a:lnTo>
                <a:lnTo>
                  <a:pt x="1775" y="220"/>
                </a:lnTo>
                <a:lnTo>
                  <a:pt x="1774" y="219"/>
                </a:lnTo>
                <a:lnTo>
                  <a:pt x="1771" y="219"/>
                </a:lnTo>
                <a:lnTo>
                  <a:pt x="1771" y="219"/>
                </a:lnTo>
                <a:lnTo>
                  <a:pt x="1768" y="217"/>
                </a:lnTo>
                <a:lnTo>
                  <a:pt x="1765" y="216"/>
                </a:lnTo>
                <a:lnTo>
                  <a:pt x="1757" y="210"/>
                </a:lnTo>
                <a:lnTo>
                  <a:pt x="1750" y="202"/>
                </a:lnTo>
                <a:lnTo>
                  <a:pt x="1747" y="198"/>
                </a:lnTo>
                <a:lnTo>
                  <a:pt x="1747" y="198"/>
                </a:lnTo>
                <a:lnTo>
                  <a:pt x="1744" y="192"/>
                </a:lnTo>
                <a:lnTo>
                  <a:pt x="1740" y="188"/>
                </a:lnTo>
                <a:lnTo>
                  <a:pt x="1733" y="180"/>
                </a:lnTo>
                <a:lnTo>
                  <a:pt x="1733" y="180"/>
                </a:lnTo>
                <a:lnTo>
                  <a:pt x="1731" y="179"/>
                </a:lnTo>
                <a:lnTo>
                  <a:pt x="1733" y="179"/>
                </a:lnTo>
                <a:lnTo>
                  <a:pt x="1736" y="179"/>
                </a:lnTo>
                <a:lnTo>
                  <a:pt x="1738" y="180"/>
                </a:lnTo>
                <a:lnTo>
                  <a:pt x="1738" y="180"/>
                </a:lnTo>
                <a:lnTo>
                  <a:pt x="1741" y="182"/>
                </a:lnTo>
                <a:lnTo>
                  <a:pt x="1744" y="183"/>
                </a:lnTo>
                <a:lnTo>
                  <a:pt x="1747" y="183"/>
                </a:lnTo>
                <a:lnTo>
                  <a:pt x="1750" y="182"/>
                </a:lnTo>
                <a:lnTo>
                  <a:pt x="1750" y="182"/>
                </a:lnTo>
                <a:lnTo>
                  <a:pt x="1753" y="179"/>
                </a:lnTo>
                <a:lnTo>
                  <a:pt x="1753" y="176"/>
                </a:lnTo>
                <a:lnTo>
                  <a:pt x="1751" y="172"/>
                </a:lnTo>
                <a:lnTo>
                  <a:pt x="1747" y="170"/>
                </a:lnTo>
                <a:lnTo>
                  <a:pt x="1747" y="170"/>
                </a:lnTo>
                <a:lnTo>
                  <a:pt x="1744" y="170"/>
                </a:lnTo>
                <a:lnTo>
                  <a:pt x="1743" y="168"/>
                </a:lnTo>
                <a:lnTo>
                  <a:pt x="1744" y="166"/>
                </a:lnTo>
                <a:lnTo>
                  <a:pt x="1747" y="165"/>
                </a:lnTo>
                <a:lnTo>
                  <a:pt x="1747" y="165"/>
                </a:lnTo>
                <a:lnTo>
                  <a:pt x="1747" y="163"/>
                </a:lnTo>
                <a:lnTo>
                  <a:pt x="1747" y="163"/>
                </a:lnTo>
                <a:lnTo>
                  <a:pt x="1744" y="159"/>
                </a:lnTo>
                <a:lnTo>
                  <a:pt x="1743" y="155"/>
                </a:lnTo>
                <a:lnTo>
                  <a:pt x="1743" y="155"/>
                </a:lnTo>
                <a:lnTo>
                  <a:pt x="1743" y="153"/>
                </a:lnTo>
                <a:lnTo>
                  <a:pt x="1743" y="153"/>
                </a:lnTo>
                <a:lnTo>
                  <a:pt x="1744" y="152"/>
                </a:lnTo>
                <a:lnTo>
                  <a:pt x="1744" y="151"/>
                </a:lnTo>
                <a:lnTo>
                  <a:pt x="1743" y="149"/>
                </a:lnTo>
                <a:lnTo>
                  <a:pt x="1740" y="148"/>
                </a:lnTo>
                <a:lnTo>
                  <a:pt x="1740" y="148"/>
                </a:lnTo>
                <a:lnTo>
                  <a:pt x="1736" y="146"/>
                </a:lnTo>
                <a:lnTo>
                  <a:pt x="1733" y="145"/>
                </a:lnTo>
                <a:lnTo>
                  <a:pt x="1730" y="142"/>
                </a:lnTo>
                <a:lnTo>
                  <a:pt x="1728" y="141"/>
                </a:lnTo>
                <a:lnTo>
                  <a:pt x="1728" y="141"/>
                </a:lnTo>
                <a:lnTo>
                  <a:pt x="1728" y="139"/>
                </a:lnTo>
                <a:lnTo>
                  <a:pt x="1726" y="139"/>
                </a:lnTo>
                <a:lnTo>
                  <a:pt x="1718" y="138"/>
                </a:lnTo>
                <a:lnTo>
                  <a:pt x="1710" y="139"/>
                </a:lnTo>
                <a:lnTo>
                  <a:pt x="1708" y="139"/>
                </a:lnTo>
                <a:lnTo>
                  <a:pt x="1707" y="141"/>
                </a:lnTo>
                <a:lnTo>
                  <a:pt x="1707" y="141"/>
                </a:lnTo>
                <a:lnTo>
                  <a:pt x="1707" y="142"/>
                </a:lnTo>
                <a:lnTo>
                  <a:pt x="1704" y="143"/>
                </a:lnTo>
                <a:lnTo>
                  <a:pt x="1703" y="142"/>
                </a:lnTo>
                <a:lnTo>
                  <a:pt x="1701" y="141"/>
                </a:lnTo>
                <a:lnTo>
                  <a:pt x="1701" y="141"/>
                </a:lnTo>
                <a:lnTo>
                  <a:pt x="1701" y="139"/>
                </a:lnTo>
                <a:lnTo>
                  <a:pt x="1701" y="138"/>
                </a:lnTo>
                <a:lnTo>
                  <a:pt x="1697" y="138"/>
                </a:lnTo>
                <a:lnTo>
                  <a:pt x="1683" y="135"/>
                </a:lnTo>
                <a:lnTo>
                  <a:pt x="1683" y="135"/>
                </a:lnTo>
                <a:lnTo>
                  <a:pt x="1677" y="132"/>
                </a:lnTo>
                <a:lnTo>
                  <a:pt x="1674" y="129"/>
                </a:lnTo>
                <a:lnTo>
                  <a:pt x="1671" y="126"/>
                </a:lnTo>
                <a:lnTo>
                  <a:pt x="1669" y="125"/>
                </a:lnTo>
                <a:lnTo>
                  <a:pt x="1669" y="125"/>
                </a:lnTo>
                <a:lnTo>
                  <a:pt x="1669" y="125"/>
                </a:lnTo>
                <a:lnTo>
                  <a:pt x="1667" y="126"/>
                </a:lnTo>
                <a:lnTo>
                  <a:pt x="1666" y="129"/>
                </a:lnTo>
                <a:lnTo>
                  <a:pt x="1664" y="132"/>
                </a:lnTo>
                <a:lnTo>
                  <a:pt x="1663" y="132"/>
                </a:lnTo>
                <a:lnTo>
                  <a:pt x="1662" y="132"/>
                </a:lnTo>
                <a:lnTo>
                  <a:pt x="1662" y="132"/>
                </a:lnTo>
                <a:lnTo>
                  <a:pt x="1657" y="132"/>
                </a:lnTo>
                <a:lnTo>
                  <a:pt x="1654" y="133"/>
                </a:lnTo>
                <a:lnTo>
                  <a:pt x="1653" y="136"/>
                </a:lnTo>
                <a:lnTo>
                  <a:pt x="1653" y="141"/>
                </a:lnTo>
                <a:lnTo>
                  <a:pt x="1653" y="141"/>
                </a:lnTo>
                <a:lnTo>
                  <a:pt x="1654" y="145"/>
                </a:lnTo>
                <a:lnTo>
                  <a:pt x="1654" y="146"/>
                </a:lnTo>
                <a:lnTo>
                  <a:pt x="1653" y="152"/>
                </a:lnTo>
                <a:lnTo>
                  <a:pt x="1653" y="152"/>
                </a:lnTo>
                <a:lnTo>
                  <a:pt x="1653" y="155"/>
                </a:lnTo>
                <a:lnTo>
                  <a:pt x="1650" y="156"/>
                </a:lnTo>
                <a:lnTo>
                  <a:pt x="1644" y="153"/>
                </a:lnTo>
                <a:lnTo>
                  <a:pt x="1644" y="153"/>
                </a:lnTo>
                <a:lnTo>
                  <a:pt x="1640" y="153"/>
                </a:lnTo>
                <a:lnTo>
                  <a:pt x="1637" y="155"/>
                </a:lnTo>
                <a:lnTo>
                  <a:pt x="1632" y="156"/>
                </a:lnTo>
                <a:lnTo>
                  <a:pt x="1625" y="155"/>
                </a:lnTo>
                <a:lnTo>
                  <a:pt x="1625" y="155"/>
                </a:lnTo>
                <a:lnTo>
                  <a:pt x="1616" y="153"/>
                </a:lnTo>
                <a:lnTo>
                  <a:pt x="1609" y="153"/>
                </a:lnTo>
                <a:lnTo>
                  <a:pt x="1605" y="153"/>
                </a:lnTo>
                <a:lnTo>
                  <a:pt x="1603" y="151"/>
                </a:lnTo>
                <a:lnTo>
                  <a:pt x="1603" y="151"/>
                </a:lnTo>
                <a:lnTo>
                  <a:pt x="1600" y="149"/>
                </a:lnTo>
                <a:lnTo>
                  <a:pt x="1599" y="148"/>
                </a:lnTo>
                <a:lnTo>
                  <a:pt x="1598" y="148"/>
                </a:lnTo>
                <a:lnTo>
                  <a:pt x="1596" y="151"/>
                </a:lnTo>
                <a:lnTo>
                  <a:pt x="1596" y="151"/>
                </a:lnTo>
                <a:lnTo>
                  <a:pt x="1595" y="151"/>
                </a:lnTo>
                <a:lnTo>
                  <a:pt x="1592" y="152"/>
                </a:lnTo>
                <a:lnTo>
                  <a:pt x="1585" y="152"/>
                </a:lnTo>
                <a:lnTo>
                  <a:pt x="1578" y="151"/>
                </a:lnTo>
                <a:lnTo>
                  <a:pt x="1575" y="149"/>
                </a:lnTo>
                <a:lnTo>
                  <a:pt x="1573" y="146"/>
                </a:lnTo>
                <a:lnTo>
                  <a:pt x="1573" y="146"/>
                </a:lnTo>
                <a:lnTo>
                  <a:pt x="1573" y="143"/>
                </a:lnTo>
                <a:lnTo>
                  <a:pt x="1575" y="142"/>
                </a:lnTo>
                <a:lnTo>
                  <a:pt x="1580" y="139"/>
                </a:lnTo>
                <a:lnTo>
                  <a:pt x="1580" y="139"/>
                </a:lnTo>
                <a:lnTo>
                  <a:pt x="1580" y="138"/>
                </a:lnTo>
                <a:lnTo>
                  <a:pt x="1578" y="138"/>
                </a:lnTo>
                <a:lnTo>
                  <a:pt x="1573" y="136"/>
                </a:lnTo>
                <a:lnTo>
                  <a:pt x="1566" y="136"/>
                </a:lnTo>
                <a:lnTo>
                  <a:pt x="1566" y="136"/>
                </a:lnTo>
                <a:lnTo>
                  <a:pt x="1558" y="136"/>
                </a:lnTo>
                <a:lnTo>
                  <a:pt x="1551" y="133"/>
                </a:lnTo>
                <a:lnTo>
                  <a:pt x="1543" y="132"/>
                </a:lnTo>
                <a:lnTo>
                  <a:pt x="1536" y="132"/>
                </a:lnTo>
                <a:lnTo>
                  <a:pt x="1536" y="132"/>
                </a:lnTo>
                <a:lnTo>
                  <a:pt x="1512" y="135"/>
                </a:lnTo>
                <a:lnTo>
                  <a:pt x="1495" y="138"/>
                </a:lnTo>
                <a:lnTo>
                  <a:pt x="1495" y="138"/>
                </a:lnTo>
                <a:lnTo>
                  <a:pt x="1495" y="138"/>
                </a:lnTo>
                <a:lnTo>
                  <a:pt x="1495" y="139"/>
                </a:lnTo>
                <a:lnTo>
                  <a:pt x="1495" y="142"/>
                </a:lnTo>
                <a:lnTo>
                  <a:pt x="1495" y="145"/>
                </a:lnTo>
                <a:lnTo>
                  <a:pt x="1495" y="145"/>
                </a:lnTo>
                <a:lnTo>
                  <a:pt x="1494" y="146"/>
                </a:lnTo>
                <a:lnTo>
                  <a:pt x="1494" y="146"/>
                </a:lnTo>
                <a:lnTo>
                  <a:pt x="1492" y="145"/>
                </a:lnTo>
                <a:lnTo>
                  <a:pt x="1491" y="145"/>
                </a:lnTo>
                <a:lnTo>
                  <a:pt x="1491" y="141"/>
                </a:lnTo>
                <a:lnTo>
                  <a:pt x="1491" y="135"/>
                </a:lnTo>
                <a:lnTo>
                  <a:pt x="1491" y="131"/>
                </a:lnTo>
                <a:lnTo>
                  <a:pt x="1491" y="131"/>
                </a:lnTo>
                <a:lnTo>
                  <a:pt x="1489" y="126"/>
                </a:lnTo>
                <a:lnTo>
                  <a:pt x="1487" y="125"/>
                </a:lnTo>
                <a:lnTo>
                  <a:pt x="1484" y="126"/>
                </a:lnTo>
                <a:lnTo>
                  <a:pt x="1482" y="128"/>
                </a:lnTo>
                <a:lnTo>
                  <a:pt x="1482" y="128"/>
                </a:lnTo>
                <a:lnTo>
                  <a:pt x="1482" y="129"/>
                </a:lnTo>
                <a:lnTo>
                  <a:pt x="1481" y="131"/>
                </a:lnTo>
                <a:lnTo>
                  <a:pt x="1477" y="132"/>
                </a:lnTo>
                <a:lnTo>
                  <a:pt x="1471" y="132"/>
                </a:lnTo>
                <a:lnTo>
                  <a:pt x="1467" y="131"/>
                </a:lnTo>
                <a:lnTo>
                  <a:pt x="1467" y="131"/>
                </a:lnTo>
                <a:lnTo>
                  <a:pt x="1460" y="125"/>
                </a:lnTo>
                <a:lnTo>
                  <a:pt x="1454" y="124"/>
                </a:lnTo>
                <a:lnTo>
                  <a:pt x="1448" y="121"/>
                </a:lnTo>
                <a:lnTo>
                  <a:pt x="1448" y="121"/>
                </a:lnTo>
                <a:lnTo>
                  <a:pt x="1444" y="121"/>
                </a:lnTo>
                <a:lnTo>
                  <a:pt x="1441" y="121"/>
                </a:lnTo>
                <a:lnTo>
                  <a:pt x="1434" y="125"/>
                </a:lnTo>
                <a:lnTo>
                  <a:pt x="1430" y="128"/>
                </a:lnTo>
                <a:lnTo>
                  <a:pt x="1430" y="131"/>
                </a:lnTo>
                <a:lnTo>
                  <a:pt x="1430" y="132"/>
                </a:lnTo>
                <a:lnTo>
                  <a:pt x="1430" y="132"/>
                </a:lnTo>
                <a:lnTo>
                  <a:pt x="1433" y="133"/>
                </a:lnTo>
                <a:lnTo>
                  <a:pt x="1435" y="133"/>
                </a:lnTo>
                <a:lnTo>
                  <a:pt x="1438" y="133"/>
                </a:lnTo>
                <a:lnTo>
                  <a:pt x="1440" y="133"/>
                </a:lnTo>
                <a:lnTo>
                  <a:pt x="1440" y="133"/>
                </a:lnTo>
                <a:lnTo>
                  <a:pt x="1438" y="135"/>
                </a:lnTo>
                <a:lnTo>
                  <a:pt x="1437" y="136"/>
                </a:lnTo>
                <a:lnTo>
                  <a:pt x="1430" y="138"/>
                </a:lnTo>
                <a:lnTo>
                  <a:pt x="1423" y="138"/>
                </a:lnTo>
                <a:lnTo>
                  <a:pt x="1421" y="139"/>
                </a:lnTo>
                <a:lnTo>
                  <a:pt x="1420" y="139"/>
                </a:lnTo>
                <a:lnTo>
                  <a:pt x="1420" y="139"/>
                </a:lnTo>
                <a:lnTo>
                  <a:pt x="1418" y="141"/>
                </a:lnTo>
                <a:lnTo>
                  <a:pt x="1417" y="142"/>
                </a:lnTo>
                <a:lnTo>
                  <a:pt x="1410" y="145"/>
                </a:lnTo>
                <a:lnTo>
                  <a:pt x="1396" y="148"/>
                </a:lnTo>
                <a:lnTo>
                  <a:pt x="1396" y="148"/>
                </a:lnTo>
                <a:lnTo>
                  <a:pt x="1378" y="151"/>
                </a:lnTo>
                <a:lnTo>
                  <a:pt x="1374" y="153"/>
                </a:lnTo>
                <a:lnTo>
                  <a:pt x="1368" y="156"/>
                </a:lnTo>
                <a:lnTo>
                  <a:pt x="1368" y="156"/>
                </a:lnTo>
                <a:lnTo>
                  <a:pt x="1366" y="158"/>
                </a:lnTo>
                <a:lnTo>
                  <a:pt x="1366" y="155"/>
                </a:lnTo>
                <a:lnTo>
                  <a:pt x="1368" y="151"/>
                </a:lnTo>
                <a:lnTo>
                  <a:pt x="1373" y="145"/>
                </a:lnTo>
                <a:lnTo>
                  <a:pt x="1373" y="145"/>
                </a:lnTo>
                <a:lnTo>
                  <a:pt x="1377" y="142"/>
                </a:lnTo>
                <a:lnTo>
                  <a:pt x="1381" y="141"/>
                </a:lnTo>
                <a:lnTo>
                  <a:pt x="1386" y="139"/>
                </a:lnTo>
                <a:lnTo>
                  <a:pt x="1388" y="138"/>
                </a:lnTo>
                <a:lnTo>
                  <a:pt x="1388" y="138"/>
                </a:lnTo>
                <a:lnTo>
                  <a:pt x="1391" y="135"/>
                </a:lnTo>
                <a:lnTo>
                  <a:pt x="1394" y="133"/>
                </a:lnTo>
                <a:lnTo>
                  <a:pt x="1405" y="132"/>
                </a:lnTo>
                <a:lnTo>
                  <a:pt x="1405" y="132"/>
                </a:lnTo>
                <a:lnTo>
                  <a:pt x="1411" y="131"/>
                </a:lnTo>
                <a:lnTo>
                  <a:pt x="1414" y="128"/>
                </a:lnTo>
                <a:lnTo>
                  <a:pt x="1415" y="125"/>
                </a:lnTo>
                <a:lnTo>
                  <a:pt x="1418" y="124"/>
                </a:lnTo>
                <a:lnTo>
                  <a:pt x="1418" y="124"/>
                </a:lnTo>
                <a:lnTo>
                  <a:pt x="1427" y="119"/>
                </a:lnTo>
                <a:lnTo>
                  <a:pt x="1433" y="116"/>
                </a:lnTo>
                <a:lnTo>
                  <a:pt x="1435" y="114"/>
                </a:lnTo>
                <a:lnTo>
                  <a:pt x="1435" y="114"/>
                </a:lnTo>
                <a:lnTo>
                  <a:pt x="1440" y="109"/>
                </a:lnTo>
                <a:lnTo>
                  <a:pt x="1448" y="106"/>
                </a:lnTo>
                <a:lnTo>
                  <a:pt x="1457" y="104"/>
                </a:lnTo>
                <a:lnTo>
                  <a:pt x="1462" y="102"/>
                </a:lnTo>
                <a:lnTo>
                  <a:pt x="1462" y="102"/>
                </a:lnTo>
                <a:lnTo>
                  <a:pt x="1465" y="101"/>
                </a:lnTo>
                <a:lnTo>
                  <a:pt x="1467" y="98"/>
                </a:lnTo>
                <a:lnTo>
                  <a:pt x="1468" y="95"/>
                </a:lnTo>
                <a:lnTo>
                  <a:pt x="1469" y="94"/>
                </a:lnTo>
                <a:lnTo>
                  <a:pt x="1469" y="94"/>
                </a:lnTo>
                <a:lnTo>
                  <a:pt x="1479" y="91"/>
                </a:lnTo>
                <a:lnTo>
                  <a:pt x="1489" y="87"/>
                </a:lnTo>
                <a:lnTo>
                  <a:pt x="1489" y="87"/>
                </a:lnTo>
                <a:lnTo>
                  <a:pt x="1492" y="84"/>
                </a:lnTo>
                <a:lnTo>
                  <a:pt x="1495" y="81"/>
                </a:lnTo>
                <a:lnTo>
                  <a:pt x="1497" y="77"/>
                </a:lnTo>
                <a:lnTo>
                  <a:pt x="1497" y="77"/>
                </a:lnTo>
                <a:lnTo>
                  <a:pt x="1497" y="75"/>
                </a:lnTo>
                <a:lnTo>
                  <a:pt x="1494" y="74"/>
                </a:lnTo>
                <a:lnTo>
                  <a:pt x="1491" y="72"/>
                </a:lnTo>
                <a:lnTo>
                  <a:pt x="1489" y="71"/>
                </a:lnTo>
                <a:lnTo>
                  <a:pt x="1489" y="71"/>
                </a:lnTo>
                <a:lnTo>
                  <a:pt x="1489" y="69"/>
                </a:lnTo>
                <a:lnTo>
                  <a:pt x="1492" y="69"/>
                </a:lnTo>
                <a:lnTo>
                  <a:pt x="1498" y="68"/>
                </a:lnTo>
                <a:lnTo>
                  <a:pt x="1498" y="68"/>
                </a:lnTo>
                <a:lnTo>
                  <a:pt x="1499" y="65"/>
                </a:lnTo>
                <a:lnTo>
                  <a:pt x="1499" y="64"/>
                </a:lnTo>
                <a:lnTo>
                  <a:pt x="1497" y="61"/>
                </a:lnTo>
                <a:lnTo>
                  <a:pt x="1494" y="61"/>
                </a:lnTo>
                <a:lnTo>
                  <a:pt x="1494" y="61"/>
                </a:lnTo>
                <a:lnTo>
                  <a:pt x="1492" y="61"/>
                </a:lnTo>
                <a:lnTo>
                  <a:pt x="1492" y="58"/>
                </a:lnTo>
                <a:lnTo>
                  <a:pt x="1494" y="55"/>
                </a:lnTo>
                <a:lnTo>
                  <a:pt x="1492" y="52"/>
                </a:lnTo>
                <a:lnTo>
                  <a:pt x="1492" y="52"/>
                </a:lnTo>
                <a:lnTo>
                  <a:pt x="1491" y="51"/>
                </a:lnTo>
                <a:lnTo>
                  <a:pt x="1489" y="51"/>
                </a:lnTo>
                <a:lnTo>
                  <a:pt x="1485" y="52"/>
                </a:lnTo>
                <a:lnTo>
                  <a:pt x="1482" y="52"/>
                </a:lnTo>
                <a:lnTo>
                  <a:pt x="1482" y="52"/>
                </a:lnTo>
                <a:lnTo>
                  <a:pt x="1482" y="51"/>
                </a:lnTo>
                <a:lnTo>
                  <a:pt x="1482" y="51"/>
                </a:lnTo>
                <a:lnTo>
                  <a:pt x="1481" y="44"/>
                </a:lnTo>
                <a:lnTo>
                  <a:pt x="1481" y="41"/>
                </a:lnTo>
                <a:lnTo>
                  <a:pt x="1478" y="38"/>
                </a:lnTo>
                <a:lnTo>
                  <a:pt x="1478" y="38"/>
                </a:lnTo>
                <a:lnTo>
                  <a:pt x="1477" y="37"/>
                </a:lnTo>
                <a:lnTo>
                  <a:pt x="1472" y="38"/>
                </a:lnTo>
                <a:lnTo>
                  <a:pt x="1469" y="40"/>
                </a:lnTo>
                <a:lnTo>
                  <a:pt x="1467" y="40"/>
                </a:lnTo>
                <a:lnTo>
                  <a:pt x="1465" y="38"/>
                </a:lnTo>
                <a:lnTo>
                  <a:pt x="1465" y="38"/>
                </a:lnTo>
                <a:lnTo>
                  <a:pt x="1458" y="35"/>
                </a:lnTo>
                <a:lnTo>
                  <a:pt x="1451" y="32"/>
                </a:lnTo>
                <a:lnTo>
                  <a:pt x="1444" y="32"/>
                </a:lnTo>
                <a:lnTo>
                  <a:pt x="1441" y="32"/>
                </a:lnTo>
                <a:lnTo>
                  <a:pt x="1441" y="32"/>
                </a:lnTo>
                <a:lnTo>
                  <a:pt x="1440" y="34"/>
                </a:lnTo>
                <a:lnTo>
                  <a:pt x="1437" y="32"/>
                </a:lnTo>
                <a:lnTo>
                  <a:pt x="1434" y="31"/>
                </a:lnTo>
                <a:lnTo>
                  <a:pt x="1431" y="32"/>
                </a:lnTo>
                <a:lnTo>
                  <a:pt x="1431" y="32"/>
                </a:lnTo>
                <a:lnTo>
                  <a:pt x="1428" y="32"/>
                </a:lnTo>
                <a:lnTo>
                  <a:pt x="1423" y="34"/>
                </a:lnTo>
                <a:lnTo>
                  <a:pt x="1411" y="32"/>
                </a:lnTo>
                <a:lnTo>
                  <a:pt x="1411" y="32"/>
                </a:lnTo>
                <a:lnTo>
                  <a:pt x="1408" y="32"/>
                </a:lnTo>
                <a:lnTo>
                  <a:pt x="1405" y="34"/>
                </a:lnTo>
                <a:lnTo>
                  <a:pt x="1403" y="35"/>
                </a:lnTo>
                <a:lnTo>
                  <a:pt x="1401" y="38"/>
                </a:lnTo>
                <a:lnTo>
                  <a:pt x="1401" y="38"/>
                </a:lnTo>
                <a:lnTo>
                  <a:pt x="1400" y="40"/>
                </a:lnTo>
                <a:lnTo>
                  <a:pt x="1398" y="41"/>
                </a:lnTo>
                <a:lnTo>
                  <a:pt x="1393" y="41"/>
                </a:lnTo>
                <a:lnTo>
                  <a:pt x="1381" y="40"/>
                </a:lnTo>
                <a:lnTo>
                  <a:pt x="1381" y="40"/>
                </a:lnTo>
                <a:lnTo>
                  <a:pt x="1381" y="40"/>
                </a:lnTo>
                <a:lnTo>
                  <a:pt x="1381" y="38"/>
                </a:lnTo>
                <a:lnTo>
                  <a:pt x="1386" y="34"/>
                </a:lnTo>
                <a:lnTo>
                  <a:pt x="1390" y="28"/>
                </a:lnTo>
                <a:lnTo>
                  <a:pt x="1393" y="25"/>
                </a:lnTo>
                <a:lnTo>
                  <a:pt x="1393" y="25"/>
                </a:lnTo>
                <a:lnTo>
                  <a:pt x="1388" y="24"/>
                </a:lnTo>
                <a:lnTo>
                  <a:pt x="1380" y="24"/>
                </a:lnTo>
                <a:lnTo>
                  <a:pt x="1371" y="24"/>
                </a:lnTo>
                <a:lnTo>
                  <a:pt x="1367" y="24"/>
                </a:lnTo>
                <a:lnTo>
                  <a:pt x="1367" y="24"/>
                </a:lnTo>
                <a:lnTo>
                  <a:pt x="1364" y="23"/>
                </a:lnTo>
                <a:lnTo>
                  <a:pt x="1359" y="21"/>
                </a:lnTo>
                <a:lnTo>
                  <a:pt x="1347" y="21"/>
                </a:lnTo>
                <a:lnTo>
                  <a:pt x="1347" y="21"/>
                </a:lnTo>
                <a:lnTo>
                  <a:pt x="1346" y="20"/>
                </a:lnTo>
                <a:lnTo>
                  <a:pt x="1346" y="20"/>
                </a:lnTo>
                <a:lnTo>
                  <a:pt x="1353" y="18"/>
                </a:lnTo>
                <a:lnTo>
                  <a:pt x="1353" y="18"/>
                </a:lnTo>
                <a:lnTo>
                  <a:pt x="1356" y="18"/>
                </a:lnTo>
                <a:lnTo>
                  <a:pt x="1360" y="15"/>
                </a:lnTo>
                <a:lnTo>
                  <a:pt x="1367" y="13"/>
                </a:lnTo>
                <a:lnTo>
                  <a:pt x="1367" y="13"/>
                </a:lnTo>
                <a:lnTo>
                  <a:pt x="1370" y="13"/>
                </a:lnTo>
                <a:lnTo>
                  <a:pt x="1371" y="11"/>
                </a:lnTo>
                <a:lnTo>
                  <a:pt x="1368" y="7"/>
                </a:lnTo>
                <a:lnTo>
                  <a:pt x="1368" y="7"/>
                </a:lnTo>
                <a:lnTo>
                  <a:pt x="1367" y="5"/>
                </a:lnTo>
                <a:lnTo>
                  <a:pt x="1363" y="4"/>
                </a:lnTo>
                <a:lnTo>
                  <a:pt x="1356" y="4"/>
                </a:lnTo>
                <a:lnTo>
                  <a:pt x="1356" y="4"/>
                </a:lnTo>
                <a:lnTo>
                  <a:pt x="1347" y="1"/>
                </a:lnTo>
                <a:lnTo>
                  <a:pt x="1339" y="0"/>
                </a:lnTo>
                <a:lnTo>
                  <a:pt x="1339" y="0"/>
                </a:lnTo>
                <a:lnTo>
                  <a:pt x="1330" y="1"/>
                </a:lnTo>
                <a:lnTo>
                  <a:pt x="1317" y="4"/>
                </a:lnTo>
                <a:lnTo>
                  <a:pt x="1317" y="4"/>
                </a:lnTo>
                <a:lnTo>
                  <a:pt x="1310" y="7"/>
                </a:lnTo>
                <a:lnTo>
                  <a:pt x="1306" y="10"/>
                </a:lnTo>
                <a:lnTo>
                  <a:pt x="1303" y="14"/>
                </a:lnTo>
                <a:lnTo>
                  <a:pt x="1300" y="17"/>
                </a:lnTo>
                <a:lnTo>
                  <a:pt x="1300" y="17"/>
                </a:lnTo>
                <a:lnTo>
                  <a:pt x="1295" y="20"/>
                </a:lnTo>
                <a:lnTo>
                  <a:pt x="1290" y="24"/>
                </a:lnTo>
                <a:lnTo>
                  <a:pt x="1287" y="28"/>
                </a:lnTo>
                <a:lnTo>
                  <a:pt x="1287" y="30"/>
                </a:lnTo>
                <a:lnTo>
                  <a:pt x="1289" y="31"/>
                </a:lnTo>
                <a:lnTo>
                  <a:pt x="1289" y="31"/>
                </a:lnTo>
                <a:lnTo>
                  <a:pt x="1292" y="32"/>
                </a:lnTo>
                <a:lnTo>
                  <a:pt x="1292" y="34"/>
                </a:lnTo>
                <a:lnTo>
                  <a:pt x="1292" y="38"/>
                </a:lnTo>
                <a:lnTo>
                  <a:pt x="1292" y="38"/>
                </a:lnTo>
                <a:lnTo>
                  <a:pt x="1292" y="40"/>
                </a:lnTo>
                <a:lnTo>
                  <a:pt x="1290" y="41"/>
                </a:lnTo>
                <a:lnTo>
                  <a:pt x="1283" y="41"/>
                </a:lnTo>
                <a:lnTo>
                  <a:pt x="1283" y="41"/>
                </a:lnTo>
                <a:lnTo>
                  <a:pt x="1269" y="41"/>
                </a:lnTo>
                <a:lnTo>
                  <a:pt x="1262" y="41"/>
                </a:lnTo>
                <a:lnTo>
                  <a:pt x="1259" y="42"/>
                </a:lnTo>
                <a:lnTo>
                  <a:pt x="1259" y="44"/>
                </a:lnTo>
                <a:lnTo>
                  <a:pt x="1259" y="44"/>
                </a:lnTo>
                <a:lnTo>
                  <a:pt x="1260" y="47"/>
                </a:lnTo>
                <a:lnTo>
                  <a:pt x="1265" y="48"/>
                </a:lnTo>
                <a:lnTo>
                  <a:pt x="1267" y="51"/>
                </a:lnTo>
                <a:lnTo>
                  <a:pt x="1269" y="52"/>
                </a:lnTo>
                <a:lnTo>
                  <a:pt x="1269" y="52"/>
                </a:lnTo>
                <a:lnTo>
                  <a:pt x="1267" y="52"/>
                </a:lnTo>
                <a:lnTo>
                  <a:pt x="1265" y="52"/>
                </a:lnTo>
                <a:lnTo>
                  <a:pt x="1258" y="50"/>
                </a:lnTo>
                <a:lnTo>
                  <a:pt x="1258" y="50"/>
                </a:lnTo>
                <a:lnTo>
                  <a:pt x="1253" y="48"/>
                </a:lnTo>
                <a:lnTo>
                  <a:pt x="1249" y="50"/>
                </a:lnTo>
                <a:lnTo>
                  <a:pt x="1245" y="51"/>
                </a:lnTo>
                <a:lnTo>
                  <a:pt x="1243" y="52"/>
                </a:lnTo>
                <a:lnTo>
                  <a:pt x="1243" y="52"/>
                </a:lnTo>
                <a:lnTo>
                  <a:pt x="1240" y="55"/>
                </a:lnTo>
                <a:lnTo>
                  <a:pt x="1238" y="55"/>
                </a:lnTo>
                <a:lnTo>
                  <a:pt x="1232" y="55"/>
                </a:lnTo>
                <a:lnTo>
                  <a:pt x="1232" y="55"/>
                </a:lnTo>
                <a:lnTo>
                  <a:pt x="1230" y="55"/>
                </a:lnTo>
                <a:lnTo>
                  <a:pt x="1228" y="55"/>
                </a:lnTo>
                <a:lnTo>
                  <a:pt x="1225" y="55"/>
                </a:lnTo>
                <a:lnTo>
                  <a:pt x="1222" y="55"/>
                </a:lnTo>
                <a:lnTo>
                  <a:pt x="1222" y="55"/>
                </a:lnTo>
                <a:lnTo>
                  <a:pt x="1222" y="55"/>
                </a:lnTo>
                <a:lnTo>
                  <a:pt x="1222" y="54"/>
                </a:lnTo>
                <a:lnTo>
                  <a:pt x="1223" y="51"/>
                </a:lnTo>
                <a:lnTo>
                  <a:pt x="1226" y="50"/>
                </a:lnTo>
                <a:lnTo>
                  <a:pt x="1226" y="48"/>
                </a:lnTo>
                <a:lnTo>
                  <a:pt x="1226" y="47"/>
                </a:lnTo>
                <a:lnTo>
                  <a:pt x="1226" y="47"/>
                </a:lnTo>
                <a:lnTo>
                  <a:pt x="1223" y="45"/>
                </a:lnTo>
                <a:lnTo>
                  <a:pt x="1218" y="47"/>
                </a:lnTo>
                <a:lnTo>
                  <a:pt x="1213" y="48"/>
                </a:lnTo>
                <a:lnTo>
                  <a:pt x="1212" y="51"/>
                </a:lnTo>
                <a:lnTo>
                  <a:pt x="1212" y="51"/>
                </a:lnTo>
                <a:lnTo>
                  <a:pt x="1211" y="52"/>
                </a:lnTo>
                <a:lnTo>
                  <a:pt x="1209" y="52"/>
                </a:lnTo>
                <a:lnTo>
                  <a:pt x="1206" y="51"/>
                </a:lnTo>
                <a:lnTo>
                  <a:pt x="1203" y="50"/>
                </a:lnTo>
                <a:lnTo>
                  <a:pt x="1201" y="50"/>
                </a:lnTo>
                <a:lnTo>
                  <a:pt x="1201" y="50"/>
                </a:lnTo>
                <a:lnTo>
                  <a:pt x="1191" y="54"/>
                </a:lnTo>
                <a:lnTo>
                  <a:pt x="1191" y="54"/>
                </a:lnTo>
                <a:lnTo>
                  <a:pt x="1186" y="55"/>
                </a:lnTo>
                <a:lnTo>
                  <a:pt x="1181" y="54"/>
                </a:lnTo>
                <a:lnTo>
                  <a:pt x="1178" y="54"/>
                </a:lnTo>
                <a:lnTo>
                  <a:pt x="1175" y="55"/>
                </a:lnTo>
                <a:lnTo>
                  <a:pt x="1175" y="55"/>
                </a:lnTo>
                <a:lnTo>
                  <a:pt x="1175" y="57"/>
                </a:lnTo>
                <a:lnTo>
                  <a:pt x="1175" y="58"/>
                </a:lnTo>
                <a:lnTo>
                  <a:pt x="1179" y="60"/>
                </a:lnTo>
                <a:lnTo>
                  <a:pt x="1182" y="61"/>
                </a:lnTo>
                <a:lnTo>
                  <a:pt x="1185" y="62"/>
                </a:lnTo>
                <a:lnTo>
                  <a:pt x="1185" y="62"/>
                </a:lnTo>
                <a:lnTo>
                  <a:pt x="1181" y="64"/>
                </a:lnTo>
                <a:lnTo>
                  <a:pt x="1172" y="64"/>
                </a:lnTo>
                <a:lnTo>
                  <a:pt x="1162" y="65"/>
                </a:lnTo>
                <a:lnTo>
                  <a:pt x="1158" y="67"/>
                </a:lnTo>
                <a:lnTo>
                  <a:pt x="1158" y="67"/>
                </a:lnTo>
                <a:lnTo>
                  <a:pt x="1157" y="68"/>
                </a:lnTo>
                <a:lnTo>
                  <a:pt x="1152" y="68"/>
                </a:lnTo>
                <a:lnTo>
                  <a:pt x="1138" y="69"/>
                </a:lnTo>
                <a:lnTo>
                  <a:pt x="1138" y="69"/>
                </a:lnTo>
                <a:lnTo>
                  <a:pt x="1132" y="69"/>
                </a:lnTo>
                <a:lnTo>
                  <a:pt x="1129" y="72"/>
                </a:lnTo>
                <a:lnTo>
                  <a:pt x="1127" y="75"/>
                </a:lnTo>
                <a:lnTo>
                  <a:pt x="1122" y="77"/>
                </a:lnTo>
                <a:lnTo>
                  <a:pt x="1122" y="77"/>
                </a:lnTo>
                <a:lnTo>
                  <a:pt x="1114" y="78"/>
                </a:lnTo>
                <a:lnTo>
                  <a:pt x="1110" y="79"/>
                </a:lnTo>
                <a:lnTo>
                  <a:pt x="1108" y="82"/>
                </a:lnTo>
                <a:lnTo>
                  <a:pt x="1108" y="82"/>
                </a:lnTo>
                <a:lnTo>
                  <a:pt x="1105" y="85"/>
                </a:lnTo>
                <a:lnTo>
                  <a:pt x="1101" y="87"/>
                </a:lnTo>
                <a:lnTo>
                  <a:pt x="1098" y="85"/>
                </a:lnTo>
                <a:lnTo>
                  <a:pt x="1095" y="84"/>
                </a:lnTo>
                <a:lnTo>
                  <a:pt x="1095" y="84"/>
                </a:lnTo>
                <a:lnTo>
                  <a:pt x="1093" y="82"/>
                </a:lnTo>
                <a:lnTo>
                  <a:pt x="1090" y="84"/>
                </a:lnTo>
                <a:lnTo>
                  <a:pt x="1088" y="85"/>
                </a:lnTo>
                <a:lnTo>
                  <a:pt x="1088" y="85"/>
                </a:lnTo>
                <a:lnTo>
                  <a:pt x="1090" y="87"/>
                </a:lnTo>
                <a:lnTo>
                  <a:pt x="1090" y="87"/>
                </a:lnTo>
                <a:lnTo>
                  <a:pt x="1091" y="87"/>
                </a:lnTo>
                <a:lnTo>
                  <a:pt x="1090" y="88"/>
                </a:lnTo>
                <a:lnTo>
                  <a:pt x="1088" y="89"/>
                </a:lnTo>
                <a:lnTo>
                  <a:pt x="1087" y="89"/>
                </a:lnTo>
                <a:lnTo>
                  <a:pt x="1087" y="89"/>
                </a:lnTo>
                <a:lnTo>
                  <a:pt x="1084" y="91"/>
                </a:lnTo>
                <a:lnTo>
                  <a:pt x="1081" y="92"/>
                </a:lnTo>
                <a:lnTo>
                  <a:pt x="1080" y="94"/>
                </a:lnTo>
                <a:lnTo>
                  <a:pt x="1081" y="94"/>
                </a:lnTo>
                <a:lnTo>
                  <a:pt x="1081" y="94"/>
                </a:lnTo>
                <a:lnTo>
                  <a:pt x="1084" y="94"/>
                </a:lnTo>
                <a:lnTo>
                  <a:pt x="1085" y="95"/>
                </a:lnTo>
                <a:lnTo>
                  <a:pt x="1085" y="98"/>
                </a:lnTo>
                <a:lnTo>
                  <a:pt x="1085" y="99"/>
                </a:lnTo>
                <a:lnTo>
                  <a:pt x="1085" y="99"/>
                </a:lnTo>
                <a:lnTo>
                  <a:pt x="1083" y="101"/>
                </a:lnTo>
                <a:lnTo>
                  <a:pt x="1078" y="99"/>
                </a:lnTo>
                <a:lnTo>
                  <a:pt x="1074" y="98"/>
                </a:lnTo>
                <a:lnTo>
                  <a:pt x="1071" y="99"/>
                </a:lnTo>
                <a:lnTo>
                  <a:pt x="1071" y="99"/>
                </a:lnTo>
                <a:lnTo>
                  <a:pt x="1071" y="101"/>
                </a:lnTo>
                <a:lnTo>
                  <a:pt x="1073" y="102"/>
                </a:lnTo>
                <a:lnTo>
                  <a:pt x="1077" y="104"/>
                </a:lnTo>
                <a:lnTo>
                  <a:pt x="1080" y="104"/>
                </a:lnTo>
                <a:lnTo>
                  <a:pt x="1080" y="104"/>
                </a:lnTo>
                <a:lnTo>
                  <a:pt x="1083" y="104"/>
                </a:lnTo>
                <a:lnTo>
                  <a:pt x="1085" y="105"/>
                </a:lnTo>
                <a:lnTo>
                  <a:pt x="1087" y="109"/>
                </a:lnTo>
                <a:lnTo>
                  <a:pt x="1087" y="109"/>
                </a:lnTo>
                <a:lnTo>
                  <a:pt x="1087" y="111"/>
                </a:lnTo>
                <a:lnTo>
                  <a:pt x="1085" y="111"/>
                </a:lnTo>
                <a:lnTo>
                  <a:pt x="1083" y="109"/>
                </a:lnTo>
                <a:lnTo>
                  <a:pt x="1078" y="109"/>
                </a:lnTo>
                <a:lnTo>
                  <a:pt x="1075" y="111"/>
                </a:lnTo>
                <a:lnTo>
                  <a:pt x="1075" y="111"/>
                </a:lnTo>
                <a:lnTo>
                  <a:pt x="1074" y="112"/>
                </a:lnTo>
                <a:lnTo>
                  <a:pt x="1075" y="114"/>
                </a:lnTo>
                <a:lnTo>
                  <a:pt x="1081" y="115"/>
                </a:lnTo>
                <a:lnTo>
                  <a:pt x="1081" y="115"/>
                </a:lnTo>
                <a:lnTo>
                  <a:pt x="1084" y="115"/>
                </a:lnTo>
                <a:lnTo>
                  <a:pt x="1084" y="116"/>
                </a:lnTo>
                <a:lnTo>
                  <a:pt x="1084" y="118"/>
                </a:lnTo>
                <a:lnTo>
                  <a:pt x="1087" y="121"/>
                </a:lnTo>
                <a:lnTo>
                  <a:pt x="1087" y="121"/>
                </a:lnTo>
                <a:lnTo>
                  <a:pt x="1087" y="121"/>
                </a:lnTo>
                <a:lnTo>
                  <a:pt x="1087" y="121"/>
                </a:lnTo>
                <a:lnTo>
                  <a:pt x="1088" y="122"/>
                </a:lnTo>
                <a:lnTo>
                  <a:pt x="1087" y="125"/>
                </a:lnTo>
                <a:lnTo>
                  <a:pt x="1085" y="126"/>
                </a:lnTo>
                <a:lnTo>
                  <a:pt x="1085" y="128"/>
                </a:lnTo>
                <a:lnTo>
                  <a:pt x="1085" y="128"/>
                </a:lnTo>
                <a:lnTo>
                  <a:pt x="1085" y="129"/>
                </a:lnTo>
                <a:lnTo>
                  <a:pt x="1084" y="131"/>
                </a:lnTo>
                <a:lnTo>
                  <a:pt x="1081" y="131"/>
                </a:lnTo>
                <a:lnTo>
                  <a:pt x="1081" y="129"/>
                </a:lnTo>
                <a:lnTo>
                  <a:pt x="1081" y="129"/>
                </a:lnTo>
                <a:lnTo>
                  <a:pt x="1078" y="128"/>
                </a:lnTo>
                <a:lnTo>
                  <a:pt x="1074" y="126"/>
                </a:lnTo>
                <a:lnTo>
                  <a:pt x="1070" y="126"/>
                </a:lnTo>
                <a:lnTo>
                  <a:pt x="1065" y="128"/>
                </a:lnTo>
                <a:lnTo>
                  <a:pt x="1065" y="128"/>
                </a:lnTo>
                <a:lnTo>
                  <a:pt x="1063" y="132"/>
                </a:lnTo>
                <a:lnTo>
                  <a:pt x="1060" y="132"/>
                </a:lnTo>
                <a:lnTo>
                  <a:pt x="1058" y="131"/>
                </a:lnTo>
                <a:lnTo>
                  <a:pt x="1058" y="131"/>
                </a:lnTo>
                <a:lnTo>
                  <a:pt x="1054" y="129"/>
                </a:lnTo>
                <a:lnTo>
                  <a:pt x="1050" y="131"/>
                </a:lnTo>
                <a:lnTo>
                  <a:pt x="1034" y="132"/>
                </a:lnTo>
                <a:lnTo>
                  <a:pt x="1034" y="132"/>
                </a:lnTo>
                <a:lnTo>
                  <a:pt x="1011" y="133"/>
                </a:lnTo>
                <a:lnTo>
                  <a:pt x="1000" y="135"/>
                </a:lnTo>
                <a:lnTo>
                  <a:pt x="993" y="136"/>
                </a:lnTo>
                <a:lnTo>
                  <a:pt x="993" y="136"/>
                </a:lnTo>
                <a:lnTo>
                  <a:pt x="989" y="138"/>
                </a:lnTo>
                <a:lnTo>
                  <a:pt x="986" y="142"/>
                </a:lnTo>
                <a:lnTo>
                  <a:pt x="986" y="148"/>
                </a:lnTo>
                <a:lnTo>
                  <a:pt x="986" y="149"/>
                </a:lnTo>
                <a:lnTo>
                  <a:pt x="987" y="152"/>
                </a:lnTo>
                <a:lnTo>
                  <a:pt x="987" y="152"/>
                </a:lnTo>
                <a:lnTo>
                  <a:pt x="990" y="155"/>
                </a:lnTo>
                <a:lnTo>
                  <a:pt x="990" y="158"/>
                </a:lnTo>
                <a:lnTo>
                  <a:pt x="989" y="161"/>
                </a:lnTo>
                <a:lnTo>
                  <a:pt x="987" y="163"/>
                </a:lnTo>
                <a:lnTo>
                  <a:pt x="987" y="163"/>
                </a:lnTo>
                <a:lnTo>
                  <a:pt x="990" y="166"/>
                </a:lnTo>
                <a:lnTo>
                  <a:pt x="996" y="170"/>
                </a:lnTo>
                <a:lnTo>
                  <a:pt x="1003" y="173"/>
                </a:lnTo>
                <a:lnTo>
                  <a:pt x="1010" y="175"/>
                </a:lnTo>
                <a:lnTo>
                  <a:pt x="1010" y="175"/>
                </a:lnTo>
                <a:lnTo>
                  <a:pt x="1014" y="176"/>
                </a:lnTo>
                <a:lnTo>
                  <a:pt x="1019" y="180"/>
                </a:lnTo>
                <a:lnTo>
                  <a:pt x="1020" y="186"/>
                </a:lnTo>
                <a:lnTo>
                  <a:pt x="1020" y="188"/>
                </a:lnTo>
                <a:lnTo>
                  <a:pt x="1019" y="190"/>
                </a:lnTo>
                <a:lnTo>
                  <a:pt x="1019" y="190"/>
                </a:lnTo>
                <a:lnTo>
                  <a:pt x="1017" y="192"/>
                </a:lnTo>
                <a:lnTo>
                  <a:pt x="1014" y="192"/>
                </a:lnTo>
                <a:lnTo>
                  <a:pt x="1007" y="190"/>
                </a:lnTo>
                <a:lnTo>
                  <a:pt x="999" y="186"/>
                </a:lnTo>
                <a:lnTo>
                  <a:pt x="992" y="182"/>
                </a:lnTo>
                <a:lnTo>
                  <a:pt x="992" y="182"/>
                </a:lnTo>
                <a:lnTo>
                  <a:pt x="983" y="178"/>
                </a:lnTo>
                <a:lnTo>
                  <a:pt x="973" y="173"/>
                </a:lnTo>
                <a:lnTo>
                  <a:pt x="962" y="172"/>
                </a:lnTo>
                <a:lnTo>
                  <a:pt x="955" y="172"/>
                </a:lnTo>
                <a:lnTo>
                  <a:pt x="955" y="172"/>
                </a:lnTo>
                <a:lnTo>
                  <a:pt x="952" y="172"/>
                </a:lnTo>
                <a:lnTo>
                  <a:pt x="950" y="169"/>
                </a:lnTo>
                <a:lnTo>
                  <a:pt x="947" y="168"/>
                </a:lnTo>
                <a:lnTo>
                  <a:pt x="943" y="166"/>
                </a:lnTo>
                <a:lnTo>
                  <a:pt x="943" y="166"/>
                </a:lnTo>
                <a:lnTo>
                  <a:pt x="937" y="168"/>
                </a:lnTo>
                <a:lnTo>
                  <a:pt x="933" y="170"/>
                </a:lnTo>
                <a:lnTo>
                  <a:pt x="930" y="173"/>
                </a:lnTo>
                <a:lnTo>
                  <a:pt x="932" y="173"/>
                </a:lnTo>
                <a:lnTo>
                  <a:pt x="933" y="175"/>
                </a:lnTo>
                <a:lnTo>
                  <a:pt x="933" y="175"/>
                </a:lnTo>
                <a:lnTo>
                  <a:pt x="940" y="175"/>
                </a:lnTo>
                <a:lnTo>
                  <a:pt x="940" y="175"/>
                </a:lnTo>
                <a:lnTo>
                  <a:pt x="940" y="176"/>
                </a:lnTo>
                <a:lnTo>
                  <a:pt x="940" y="176"/>
                </a:lnTo>
                <a:lnTo>
                  <a:pt x="939" y="178"/>
                </a:lnTo>
                <a:lnTo>
                  <a:pt x="940" y="179"/>
                </a:lnTo>
                <a:lnTo>
                  <a:pt x="949" y="182"/>
                </a:lnTo>
                <a:lnTo>
                  <a:pt x="949" y="182"/>
                </a:lnTo>
                <a:lnTo>
                  <a:pt x="950" y="183"/>
                </a:lnTo>
                <a:lnTo>
                  <a:pt x="950" y="185"/>
                </a:lnTo>
                <a:lnTo>
                  <a:pt x="947" y="186"/>
                </a:lnTo>
                <a:lnTo>
                  <a:pt x="942" y="186"/>
                </a:lnTo>
                <a:lnTo>
                  <a:pt x="935" y="185"/>
                </a:lnTo>
                <a:lnTo>
                  <a:pt x="935" y="185"/>
                </a:lnTo>
                <a:lnTo>
                  <a:pt x="929" y="182"/>
                </a:lnTo>
                <a:lnTo>
                  <a:pt x="925" y="183"/>
                </a:lnTo>
                <a:lnTo>
                  <a:pt x="920" y="185"/>
                </a:lnTo>
                <a:lnTo>
                  <a:pt x="918" y="188"/>
                </a:lnTo>
                <a:lnTo>
                  <a:pt x="918" y="188"/>
                </a:lnTo>
                <a:lnTo>
                  <a:pt x="918" y="189"/>
                </a:lnTo>
                <a:lnTo>
                  <a:pt x="919" y="192"/>
                </a:lnTo>
                <a:lnTo>
                  <a:pt x="923" y="196"/>
                </a:lnTo>
                <a:lnTo>
                  <a:pt x="930" y="202"/>
                </a:lnTo>
                <a:lnTo>
                  <a:pt x="939" y="205"/>
                </a:lnTo>
                <a:lnTo>
                  <a:pt x="939" y="205"/>
                </a:lnTo>
                <a:lnTo>
                  <a:pt x="946" y="206"/>
                </a:lnTo>
                <a:lnTo>
                  <a:pt x="949" y="209"/>
                </a:lnTo>
                <a:lnTo>
                  <a:pt x="950" y="210"/>
                </a:lnTo>
                <a:lnTo>
                  <a:pt x="953" y="212"/>
                </a:lnTo>
                <a:lnTo>
                  <a:pt x="953" y="212"/>
                </a:lnTo>
                <a:lnTo>
                  <a:pt x="956" y="215"/>
                </a:lnTo>
                <a:lnTo>
                  <a:pt x="956" y="216"/>
                </a:lnTo>
                <a:lnTo>
                  <a:pt x="955" y="216"/>
                </a:lnTo>
                <a:lnTo>
                  <a:pt x="952" y="217"/>
                </a:lnTo>
                <a:lnTo>
                  <a:pt x="952" y="217"/>
                </a:lnTo>
                <a:lnTo>
                  <a:pt x="947" y="216"/>
                </a:lnTo>
                <a:lnTo>
                  <a:pt x="943" y="213"/>
                </a:lnTo>
                <a:lnTo>
                  <a:pt x="933" y="207"/>
                </a:lnTo>
                <a:lnTo>
                  <a:pt x="933" y="207"/>
                </a:lnTo>
                <a:lnTo>
                  <a:pt x="926" y="206"/>
                </a:lnTo>
                <a:lnTo>
                  <a:pt x="918" y="206"/>
                </a:lnTo>
                <a:lnTo>
                  <a:pt x="910" y="206"/>
                </a:lnTo>
                <a:lnTo>
                  <a:pt x="908" y="206"/>
                </a:lnTo>
                <a:lnTo>
                  <a:pt x="906" y="205"/>
                </a:lnTo>
                <a:lnTo>
                  <a:pt x="906" y="205"/>
                </a:lnTo>
                <a:lnTo>
                  <a:pt x="905" y="202"/>
                </a:lnTo>
                <a:lnTo>
                  <a:pt x="905" y="200"/>
                </a:lnTo>
                <a:lnTo>
                  <a:pt x="906" y="198"/>
                </a:lnTo>
                <a:lnTo>
                  <a:pt x="905" y="195"/>
                </a:lnTo>
                <a:lnTo>
                  <a:pt x="905" y="195"/>
                </a:lnTo>
                <a:lnTo>
                  <a:pt x="903" y="192"/>
                </a:lnTo>
                <a:lnTo>
                  <a:pt x="903" y="189"/>
                </a:lnTo>
                <a:lnTo>
                  <a:pt x="909" y="179"/>
                </a:lnTo>
                <a:lnTo>
                  <a:pt x="909" y="179"/>
                </a:lnTo>
                <a:lnTo>
                  <a:pt x="909" y="176"/>
                </a:lnTo>
                <a:lnTo>
                  <a:pt x="910" y="173"/>
                </a:lnTo>
                <a:lnTo>
                  <a:pt x="909" y="168"/>
                </a:lnTo>
                <a:lnTo>
                  <a:pt x="906" y="162"/>
                </a:lnTo>
                <a:lnTo>
                  <a:pt x="902" y="159"/>
                </a:lnTo>
                <a:lnTo>
                  <a:pt x="902" y="159"/>
                </a:lnTo>
                <a:lnTo>
                  <a:pt x="898" y="159"/>
                </a:lnTo>
                <a:lnTo>
                  <a:pt x="896" y="161"/>
                </a:lnTo>
                <a:lnTo>
                  <a:pt x="896" y="163"/>
                </a:lnTo>
                <a:lnTo>
                  <a:pt x="898" y="165"/>
                </a:lnTo>
                <a:lnTo>
                  <a:pt x="898" y="165"/>
                </a:lnTo>
                <a:lnTo>
                  <a:pt x="898" y="168"/>
                </a:lnTo>
                <a:lnTo>
                  <a:pt x="898" y="172"/>
                </a:lnTo>
                <a:lnTo>
                  <a:pt x="896" y="178"/>
                </a:lnTo>
                <a:lnTo>
                  <a:pt x="893" y="182"/>
                </a:lnTo>
                <a:lnTo>
                  <a:pt x="893" y="182"/>
                </a:lnTo>
                <a:lnTo>
                  <a:pt x="888" y="186"/>
                </a:lnTo>
                <a:lnTo>
                  <a:pt x="882" y="188"/>
                </a:lnTo>
                <a:lnTo>
                  <a:pt x="876" y="190"/>
                </a:lnTo>
                <a:lnTo>
                  <a:pt x="875" y="190"/>
                </a:lnTo>
                <a:lnTo>
                  <a:pt x="873" y="192"/>
                </a:lnTo>
                <a:lnTo>
                  <a:pt x="873" y="192"/>
                </a:lnTo>
                <a:lnTo>
                  <a:pt x="872" y="195"/>
                </a:lnTo>
                <a:lnTo>
                  <a:pt x="869" y="198"/>
                </a:lnTo>
                <a:lnTo>
                  <a:pt x="868" y="200"/>
                </a:lnTo>
                <a:lnTo>
                  <a:pt x="866" y="200"/>
                </a:lnTo>
                <a:lnTo>
                  <a:pt x="868" y="202"/>
                </a:lnTo>
                <a:lnTo>
                  <a:pt x="868" y="202"/>
                </a:lnTo>
                <a:lnTo>
                  <a:pt x="878" y="213"/>
                </a:lnTo>
                <a:lnTo>
                  <a:pt x="882" y="219"/>
                </a:lnTo>
                <a:lnTo>
                  <a:pt x="886" y="225"/>
                </a:lnTo>
                <a:lnTo>
                  <a:pt x="886" y="225"/>
                </a:lnTo>
                <a:lnTo>
                  <a:pt x="886" y="226"/>
                </a:lnTo>
                <a:lnTo>
                  <a:pt x="885" y="229"/>
                </a:lnTo>
                <a:lnTo>
                  <a:pt x="881" y="236"/>
                </a:lnTo>
                <a:lnTo>
                  <a:pt x="878" y="244"/>
                </a:lnTo>
                <a:lnTo>
                  <a:pt x="876" y="247"/>
                </a:lnTo>
                <a:lnTo>
                  <a:pt x="876" y="252"/>
                </a:lnTo>
                <a:lnTo>
                  <a:pt x="876" y="252"/>
                </a:lnTo>
                <a:lnTo>
                  <a:pt x="876" y="257"/>
                </a:lnTo>
                <a:lnTo>
                  <a:pt x="876" y="262"/>
                </a:lnTo>
                <a:lnTo>
                  <a:pt x="876" y="264"/>
                </a:lnTo>
                <a:lnTo>
                  <a:pt x="878" y="267"/>
                </a:lnTo>
                <a:lnTo>
                  <a:pt x="878" y="267"/>
                </a:lnTo>
                <a:lnTo>
                  <a:pt x="879" y="269"/>
                </a:lnTo>
                <a:lnTo>
                  <a:pt x="883" y="269"/>
                </a:lnTo>
                <a:lnTo>
                  <a:pt x="886" y="269"/>
                </a:lnTo>
                <a:lnTo>
                  <a:pt x="889" y="270"/>
                </a:lnTo>
                <a:lnTo>
                  <a:pt x="889" y="270"/>
                </a:lnTo>
                <a:lnTo>
                  <a:pt x="892" y="270"/>
                </a:lnTo>
                <a:lnTo>
                  <a:pt x="896" y="269"/>
                </a:lnTo>
                <a:lnTo>
                  <a:pt x="908" y="266"/>
                </a:lnTo>
                <a:lnTo>
                  <a:pt x="908" y="266"/>
                </a:lnTo>
                <a:lnTo>
                  <a:pt x="916" y="266"/>
                </a:lnTo>
                <a:lnTo>
                  <a:pt x="925" y="269"/>
                </a:lnTo>
                <a:lnTo>
                  <a:pt x="939" y="276"/>
                </a:lnTo>
                <a:lnTo>
                  <a:pt x="939" y="276"/>
                </a:lnTo>
                <a:lnTo>
                  <a:pt x="942" y="279"/>
                </a:lnTo>
                <a:lnTo>
                  <a:pt x="943" y="281"/>
                </a:lnTo>
                <a:lnTo>
                  <a:pt x="943" y="284"/>
                </a:lnTo>
                <a:lnTo>
                  <a:pt x="945" y="289"/>
                </a:lnTo>
                <a:lnTo>
                  <a:pt x="945" y="289"/>
                </a:lnTo>
                <a:lnTo>
                  <a:pt x="946" y="290"/>
                </a:lnTo>
                <a:lnTo>
                  <a:pt x="945" y="291"/>
                </a:lnTo>
                <a:lnTo>
                  <a:pt x="942" y="293"/>
                </a:lnTo>
                <a:lnTo>
                  <a:pt x="939" y="296"/>
                </a:lnTo>
                <a:lnTo>
                  <a:pt x="937" y="297"/>
                </a:lnTo>
                <a:lnTo>
                  <a:pt x="937" y="300"/>
                </a:lnTo>
                <a:lnTo>
                  <a:pt x="937" y="300"/>
                </a:lnTo>
                <a:lnTo>
                  <a:pt x="937" y="303"/>
                </a:lnTo>
                <a:lnTo>
                  <a:pt x="940" y="304"/>
                </a:lnTo>
                <a:lnTo>
                  <a:pt x="946" y="308"/>
                </a:lnTo>
                <a:lnTo>
                  <a:pt x="953" y="310"/>
                </a:lnTo>
                <a:lnTo>
                  <a:pt x="956" y="313"/>
                </a:lnTo>
                <a:lnTo>
                  <a:pt x="956" y="313"/>
                </a:lnTo>
                <a:lnTo>
                  <a:pt x="955" y="313"/>
                </a:lnTo>
                <a:lnTo>
                  <a:pt x="949" y="313"/>
                </a:lnTo>
                <a:lnTo>
                  <a:pt x="937" y="311"/>
                </a:lnTo>
                <a:lnTo>
                  <a:pt x="937" y="311"/>
                </a:lnTo>
                <a:lnTo>
                  <a:pt x="935" y="308"/>
                </a:lnTo>
                <a:lnTo>
                  <a:pt x="933" y="306"/>
                </a:lnTo>
                <a:lnTo>
                  <a:pt x="930" y="301"/>
                </a:lnTo>
                <a:lnTo>
                  <a:pt x="930" y="301"/>
                </a:lnTo>
                <a:lnTo>
                  <a:pt x="930" y="299"/>
                </a:lnTo>
                <a:lnTo>
                  <a:pt x="932" y="296"/>
                </a:lnTo>
                <a:lnTo>
                  <a:pt x="933" y="293"/>
                </a:lnTo>
                <a:lnTo>
                  <a:pt x="935" y="289"/>
                </a:lnTo>
                <a:lnTo>
                  <a:pt x="935" y="289"/>
                </a:lnTo>
                <a:lnTo>
                  <a:pt x="933" y="286"/>
                </a:lnTo>
                <a:lnTo>
                  <a:pt x="932" y="283"/>
                </a:lnTo>
                <a:lnTo>
                  <a:pt x="926" y="279"/>
                </a:lnTo>
                <a:lnTo>
                  <a:pt x="926" y="279"/>
                </a:lnTo>
                <a:lnTo>
                  <a:pt x="922" y="274"/>
                </a:lnTo>
                <a:lnTo>
                  <a:pt x="919" y="273"/>
                </a:lnTo>
                <a:lnTo>
                  <a:pt x="916" y="273"/>
                </a:lnTo>
                <a:lnTo>
                  <a:pt x="916" y="273"/>
                </a:lnTo>
                <a:lnTo>
                  <a:pt x="905" y="274"/>
                </a:lnTo>
                <a:lnTo>
                  <a:pt x="898" y="276"/>
                </a:lnTo>
                <a:lnTo>
                  <a:pt x="892" y="279"/>
                </a:lnTo>
                <a:lnTo>
                  <a:pt x="892" y="279"/>
                </a:lnTo>
                <a:lnTo>
                  <a:pt x="890" y="281"/>
                </a:lnTo>
                <a:lnTo>
                  <a:pt x="890" y="283"/>
                </a:lnTo>
                <a:lnTo>
                  <a:pt x="890" y="290"/>
                </a:lnTo>
                <a:lnTo>
                  <a:pt x="895" y="301"/>
                </a:lnTo>
                <a:lnTo>
                  <a:pt x="895" y="301"/>
                </a:lnTo>
                <a:lnTo>
                  <a:pt x="895" y="304"/>
                </a:lnTo>
                <a:lnTo>
                  <a:pt x="893" y="306"/>
                </a:lnTo>
                <a:lnTo>
                  <a:pt x="889" y="311"/>
                </a:lnTo>
                <a:lnTo>
                  <a:pt x="883" y="316"/>
                </a:lnTo>
                <a:lnTo>
                  <a:pt x="882" y="318"/>
                </a:lnTo>
                <a:lnTo>
                  <a:pt x="882" y="320"/>
                </a:lnTo>
                <a:lnTo>
                  <a:pt x="882" y="320"/>
                </a:lnTo>
                <a:lnTo>
                  <a:pt x="881" y="323"/>
                </a:lnTo>
                <a:lnTo>
                  <a:pt x="879" y="326"/>
                </a:lnTo>
                <a:lnTo>
                  <a:pt x="869" y="331"/>
                </a:lnTo>
                <a:lnTo>
                  <a:pt x="869" y="331"/>
                </a:lnTo>
                <a:lnTo>
                  <a:pt x="859" y="337"/>
                </a:lnTo>
                <a:lnTo>
                  <a:pt x="856" y="340"/>
                </a:lnTo>
                <a:lnTo>
                  <a:pt x="855" y="344"/>
                </a:lnTo>
                <a:lnTo>
                  <a:pt x="855" y="344"/>
                </a:lnTo>
                <a:lnTo>
                  <a:pt x="855" y="345"/>
                </a:lnTo>
                <a:lnTo>
                  <a:pt x="854" y="347"/>
                </a:lnTo>
                <a:lnTo>
                  <a:pt x="849" y="347"/>
                </a:lnTo>
                <a:lnTo>
                  <a:pt x="845" y="345"/>
                </a:lnTo>
                <a:lnTo>
                  <a:pt x="841" y="344"/>
                </a:lnTo>
                <a:lnTo>
                  <a:pt x="841" y="344"/>
                </a:lnTo>
                <a:lnTo>
                  <a:pt x="836" y="343"/>
                </a:lnTo>
                <a:lnTo>
                  <a:pt x="832" y="344"/>
                </a:lnTo>
                <a:lnTo>
                  <a:pt x="826" y="344"/>
                </a:lnTo>
                <a:lnTo>
                  <a:pt x="822" y="345"/>
                </a:lnTo>
                <a:lnTo>
                  <a:pt x="822" y="345"/>
                </a:lnTo>
                <a:lnTo>
                  <a:pt x="818" y="344"/>
                </a:lnTo>
                <a:lnTo>
                  <a:pt x="815" y="343"/>
                </a:lnTo>
                <a:lnTo>
                  <a:pt x="812" y="341"/>
                </a:lnTo>
                <a:lnTo>
                  <a:pt x="809" y="341"/>
                </a:lnTo>
                <a:lnTo>
                  <a:pt x="809" y="341"/>
                </a:lnTo>
                <a:lnTo>
                  <a:pt x="805" y="341"/>
                </a:lnTo>
                <a:lnTo>
                  <a:pt x="802" y="340"/>
                </a:lnTo>
                <a:lnTo>
                  <a:pt x="801" y="337"/>
                </a:lnTo>
                <a:lnTo>
                  <a:pt x="801" y="334"/>
                </a:lnTo>
                <a:lnTo>
                  <a:pt x="801" y="334"/>
                </a:lnTo>
                <a:lnTo>
                  <a:pt x="804" y="333"/>
                </a:lnTo>
                <a:lnTo>
                  <a:pt x="807" y="333"/>
                </a:lnTo>
                <a:lnTo>
                  <a:pt x="808" y="334"/>
                </a:lnTo>
                <a:lnTo>
                  <a:pt x="809" y="337"/>
                </a:lnTo>
                <a:lnTo>
                  <a:pt x="809" y="337"/>
                </a:lnTo>
                <a:lnTo>
                  <a:pt x="811" y="338"/>
                </a:lnTo>
                <a:lnTo>
                  <a:pt x="812" y="338"/>
                </a:lnTo>
                <a:lnTo>
                  <a:pt x="819" y="335"/>
                </a:lnTo>
                <a:lnTo>
                  <a:pt x="819" y="335"/>
                </a:lnTo>
                <a:lnTo>
                  <a:pt x="822" y="335"/>
                </a:lnTo>
                <a:lnTo>
                  <a:pt x="824" y="335"/>
                </a:lnTo>
                <a:lnTo>
                  <a:pt x="825" y="338"/>
                </a:lnTo>
                <a:lnTo>
                  <a:pt x="828" y="340"/>
                </a:lnTo>
                <a:lnTo>
                  <a:pt x="828" y="340"/>
                </a:lnTo>
                <a:lnTo>
                  <a:pt x="832" y="338"/>
                </a:lnTo>
                <a:lnTo>
                  <a:pt x="834" y="338"/>
                </a:lnTo>
                <a:lnTo>
                  <a:pt x="834" y="337"/>
                </a:lnTo>
                <a:lnTo>
                  <a:pt x="836" y="335"/>
                </a:lnTo>
                <a:lnTo>
                  <a:pt x="836" y="335"/>
                </a:lnTo>
                <a:lnTo>
                  <a:pt x="839" y="335"/>
                </a:lnTo>
                <a:lnTo>
                  <a:pt x="841" y="335"/>
                </a:lnTo>
                <a:lnTo>
                  <a:pt x="841" y="334"/>
                </a:lnTo>
                <a:lnTo>
                  <a:pt x="841" y="333"/>
                </a:lnTo>
                <a:lnTo>
                  <a:pt x="841" y="333"/>
                </a:lnTo>
                <a:lnTo>
                  <a:pt x="841" y="330"/>
                </a:lnTo>
                <a:lnTo>
                  <a:pt x="842" y="328"/>
                </a:lnTo>
                <a:lnTo>
                  <a:pt x="848" y="327"/>
                </a:lnTo>
                <a:lnTo>
                  <a:pt x="848" y="327"/>
                </a:lnTo>
                <a:lnTo>
                  <a:pt x="849" y="324"/>
                </a:lnTo>
                <a:lnTo>
                  <a:pt x="851" y="323"/>
                </a:lnTo>
                <a:lnTo>
                  <a:pt x="851" y="320"/>
                </a:lnTo>
                <a:lnTo>
                  <a:pt x="852" y="318"/>
                </a:lnTo>
                <a:lnTo>
                  <a:pt x="852" y="318"/>
                </a:lnTo>
                <a:lnTo>
                  <a:pt x="854" y="317"/>
                </a:lnTo>
                <a:lnTo>
                  <a:pt x="855" y="314"/>
                </a:lnTo>
                <a:lnTo>
                  <a:pt x="855" y="313"/>
                </a:lnTo>
                <a:lnTo>
                  <a:pt x="856" y="313"/>
                </a:lnTo>
                <a:lnTo>
                  <a:pt x="856" y="313"/>
                </a:lnTo>
                <a:lnTo>
                  <a:pt x="859" y="311"/>
                </a:lnTo>
                <a:lnTo>
                  <a:pt x="861" y="310"/>
                </a:lnTo>
                <a:lnTo>
                  <a:pt x="862" y="308"/>
                </a:lnTo>
                <a:lnTo>
                  <a:pt x="865" y="307"/>
                </a:lnTo>
                <a:lnTo>
                  <a:pt x="865" y="307"/>
                </a:lnTo>
                <a:lnTo>
                  <a:pt x="866" y="307"/>
                </a:lnTo>
                <a:lnTo>
                  <a:pt x="868" y="304"/>
                </a:lnTo>
                <a:lnTo>
                  <a:pt x="868" y="303"/>
                </a:lnTo>
                <a:lnTo>
                  <a:pt x="868" y="300"/>
                </a:lnTo>
                <a:lnTo>
                  <a:pt x="868" y="300"/>
                </a:lnTo>
                <a:lnTo>
                  <a:pt x="866" y="297"/>
                </a:lnTo>
                <a:lnTo>
                  <a:pt x="868" y="294"/>
                </a:lnTo>
                <a:lnTo>
                  <a:pt x="869" y="291"/>
                </a:lnTo>
                <a:lnTo>
                  <a:pt x="872" y="289"/>
                </a:lnTo>
                <a:lnTo>
                  <a:pt x="872" y="289"/>
                </a:lnTo>
                <a:lnTo>
                  <a:pt x="873" y="289"/>
                </a:lnTo>
                <a:lnTo>
                  <a:pt x="875" y="287"/>
                </a:lnTo>
                <a:lnTo>
                  <a:pt x="873" y="284"/>
                </a:lnTo>
                <a:lnTo>
                  <a:pt x="872" y="283"/>
                </a:lnTo>
                <a:lnTo>
                  <a:pt x="872" y="283"/>
                </a:lnTo>
                <a:lnTo>
                  <a:pt x="865" y="277"/>
                </a:lnTo>
                <a:lnTo>
                  <a:pt x="861" y="273"/>
                </a:lnTo>
                <a:lnTo>
                  <a:pt x="859" y="270"/>
                </a:lnTo>
                <a:lnTo>
                  <a:pt x="859" y="270"/>
                </a:lnTo>
                <a:lnTo>
                  <a:pt x="859" y="262"/>
                </a:lnTo>
                <a:lnTo>
                  <a:pt x="859" y="256"/>
                </a:lnTo>
                <a:lnTo>
                  <a:pt x="859" y="253"/>
                </a:lnTo>
                <a:lnTo>
                  <a:pt x="859" y="253"/>
                </a:lnTo>
                <a:lnTo>
                  <a:pt x="859" y="246"/>
                </a:lnTo>
                <a:lnTo>
                  <a:pt x="859" y="237"/>
                </a:lnTo>
                <a:lnTo>
                  <a:pt x="859" y="237"/>
                </a:lnTo>
                <a:lnTo>
                  <a:pt x="859" y="234"/>
                </a:lnTo>
                <a:lnTo>
                  <a:pt x="861" y="230"/>
                </a:lnTo>
                <a:lnTo>
                  <a:pt x="863" y="222"/>
                </a:lnTo>
                <a:lnTo>
                  <a:pt x="863" y="222"/>
                </a:lnTo>
                <a:lnTo>
                  <a:pt x="863" y="219"/>
                </a:lnTo>
                <a:lnTo>
                  <a:pt x="862" y="215"/>
                </a:lnTo>
                <a:lnTo>
                  <a:pt x="859" y="210"/>
                </a:lnTo>
                <a:lnTo>
                  <a:pt x="854" y="206"/>
                </a:lnTo>
                <a:lnTo>
                  <a:pt x="851" y="203"/>
                </a:lnTo>
                <a:lnTo>
                  <a:pt x="851" y="203"/>
                </a:lnTo>
                <a:lnTo>
                  <a:pt x="848" y="200"/>
                </a:lnTo>
                <a:lnTo>
                  <a:pt x="848" y="198"/>
                </a:lnTo>
                <a:lnTo>
                  <a:pt x="851" y="195"/>
                </a:lnTo>
                <a:lnTo>
                  <a:pt x="855" y="190"/>
                </a:lnTo>
                <a:lnTo>
                  <a:pt x="855" y="190"/>
                </a:lnTo>
                <a:lnTo>
                  <a:pt x="858" y="188"/>
                </a:lnTo>
                <a:lnTo>
                  <a:pt x="859" y="185"/>
                </a:lnTo>
                <a:lnTo>
                  <a:pt x="862" y="176"/>
                </a:lnTo>
                <a:lnTo>
                  <a:pt x="862" y="169"/>
                </a:lnTo>
                <a:lnTo>
                  <a:pt x="862" y="163"/>
                </a:lnTo>
                <a:lnTo>
                  <a:pt x="862" y="163"/>
                </a:lnTo>
                <a:lnTo>
                  <a:pt x="859" y="161"/>
                </a:lnTo>
                <a:lnTo>
                  <a:pt x="854" y="159"/>
                </a:lnTo>
                <a:lnTo>
                  <a:pt x="848" y="158"/>
                </a:lnTo>
                <a:lnTo>
                  <a:pt x="842" y="156"/>
                </a:lnTo>
                <a:lnTo>
                  <a:pt x="842" y="156"/>
                </a:lnTo>
                <a:lnTo>
                  <a:pt x="826" y="156"/>
                </a:lnTo>
                <a:lnTo>
                  <a:pt x="812" y="155"/>
                </a:lnTo>
                <a:lnTo>
                  <a:pt x="812" y="155"/>
                </a:lnTo>
                <a:lnTo>
                  <a:pt x="808" y="156"/>
                </a:lnTo>
                <a:lnTo>
                  <a:pt x="807" y="158"/>
                </a:lnTo>
                <a:lnTo>
                  <a:pt x="802" y="165"/>
                </a:lnTo>
                <a:lnTo>
                  <a:pt x="802" y="165"/>
                </a:lnTo>
                <a:lnTo>
                  <a:pt x="798" y="173"/>
                </a:lnTo>
                <a:lnTo>
                  <a:pt x="795" y="180"/>
                </a:lnTo>
                <a:lnTo>
                  <a:pt x="792" y="188"/>
                </a:lnTo>
                <a:lnTo>
                  <a:pt x="792" y="188"/>
                </a:lnTo>
                <a:lnTo>
                  <a:pt x="791" y="190"/>
                </a:lnTo>
                <a:lnTo>
                  <a:pt x="788" y="193"/>
                </a:lnTo>
                <a:lnTo>
                  <a:pt x="782" y="199"/>
                </a:lnTo>
                <a:lnTo>
                  <a:pt x="771" y="203"/>
                </a:lnTo>
                <a:lnTo>
                  <a:pt x="771" y="203"/>
                </a:lnTo>
                <a:lnTo>
                  <a:pt x="767" y="206"/>
                </a:lnTo>
                <a:lnTo>
                  <a:pt x="764" y="210"/>
                </a:lnTo>
                <a:lnTo>
                  <a:pt x="762" y="215"/>
                </a:lnTo>
                <a:lnTo>
                  <a:pt x="764" y="217"/>
                </a:lnTo>
                <a:lnTo>
                  <a:pt x="764" y="217"/>
                </a:lnTo>
                <a:lnTo>
                  <a:pt x="767" y="219"/>
                </a:lnTo>
                <a:lnTo>
                  <a:pt x="768" y="219"/>
                </a:lnTo>
                <a:lnTo>
                  <a:pt x="771" y="219"/>
                </a:lnTo>
                <a:lnTo>
                  <a:pt x="772" y="220"/>
                </a:lnTo>
                <a:lnTo>
                  <a:pt x="772" y="220"/>
                </a:lnTo>
                <a:lnTo>
                  <a:pt x="774" y="222"/>
                </a:lnTo>
                <a:lnTo>
                  <a:pt x="774" y="226"/>
                </a:lnTo>
                <a:lnTo>
                  <a:pt x="771" y="233"/>
                </a:lnTo>
                <a:lnTo>
                  <a:pt x="771" y="233"/>
                </a:lnTo>
                <a:lnTo>
                  <a:pt x="771" y="234"/>
                </a:lnTo>
                <a:lnTo>
                  <a:pt x="771" y="236"/>
                </a:lnTo>
                <a:lnTo>
                  <a:pt x="771" y="237"/>
                </a:lnTo>
                <a:lnTo>
                  <a:pt x="770" y="240"/>
                </a:lnTo>
                <a:lnTo>
                  <a:pt x="770" y="240"/>
                </a:lnTo>
                <a:lnTo>
                  <a:pt x="767" y="243"/>
                </a:lnTo>
                <a:lnTo>
                  <a:pt x="765" y="246"/>
                </a:lnTo>
                <a:lnTo>
                  <a:pt x="764" y="249"/>
                </a:lnTo>
                <a:lnTo>
                  <a:pt x="765" y="252"/>
                </a:lnTo>
                <a:lnTo>
                  <a:pt x="765" y="252"/>
                </a:lnTo>
                <a:lnTo>
                  <a:pt x="768" y="253"/>
                </a:lnTo>
                <a:lnTo>
                  <a:pt x="772" y="254"/>
                </a:lnTo>
                <a:lnTo>
                  <a:pt x="784" y="259"/>
                </a:lnTo>
                <a:lnTo>
                  <a:pt x="784" y="259"/>
                </a:lnTo>
                <a:lnTo>
                  <a:pt x="787" y="260"/>
                </a:lnTo>
                <a:lnTo>
                  <a:pt x="788" y="264"/>
                </a:lnTo>
                <a:lnTo>
                  <a:pt x="788" y="267"/>
                </a:lnTo>
                <a:lnTo>
                  <a:pt x="791" y="271"/>
                </a:lnTo>
                <a:lnTo>
                  <a:pt x="791" y="271"/>
                </a:lnTo>
                <a:lnTo>
                  <a:pt x="794" y="273"/>
                </a:lnTo>
                <a:lnTo>
                  <a:pt x="797" y="274"/>
                </a:lnTo>
                <a:lnTo>
                  <a:pt x="798" y="274"/>
                </a:lnTo>
                <a:lnTo>
                  <a:pt x="801" y="276"/>
                </a:lnTo>
                <a:lnTo>
                  <a:pt x="801" y="276"/>
                </a:lnTo>
                <a:lnTo>
                  <a:pt x="799" y="280"/>
                </a:lnTo>
                <a:lnTo>
                  <a:pt x="797" y="286"/>
                </a:lnTo>
                <a:lnTo>
                  <a:pt x="794" y="290"/>
                </a:lnTo>
                <a:lnTo>
                  <a:pt x="791" y="291"/>
                </a:lnTo>
                <a:lnTo>
                  <a:pt x="791" y="291"/>
                </a:lnTo>
                <a:lnTo>
                  <a:pt x="787" y="290"/>
                </a:lnTo>
                <a:lnTo>
                  <a:pt x="781" y="286"/>
                </a:lnTo>
                <a:lnTo>
                  <a:pt x="771" y="277"/>
                </a:lnTo>
                <a:lnTo>
                  <a:pt x="771" y="277"/>
                </a:lnTo>
                <a:lnTo>
                  <a:pt x="760" y="271"/>
                </a:lnTo>
                <a:lnTo>
                  <a:pt x="745" y="266"/>
                </a:lnTo>
                <a:lnTo>
                  <a:pt x="745" y="266"/>
                </a:lnTo>
                <a:lnTo>
                  <a:pt x="734" y="262"/>
                </a:lnTo>
                <a:lnTo>
                  <a:pt x="730" y="260"/>
                </a:lnTo>
                <a:lnTo>
                  <a:pt x="724" y="257"/>
                </a:lnTo>
                <a:lnTo>
                  <a:pt x="724" y="257"/>
                </a:lnTo>
                <a:lnTo>
                  <a:pt x="717" y="253"/>
                </a:lnTo>
                <a:lnTo>
                  <a:pt x="711" y="250"/>
                </a:lnTo>
                <a:lnTo>
                  <a:pt x="704" y="249"/>
                </a:lnTo>
                <a:lnTo>
                  <a:pt x="694" y="249"/>
                </a:lnTo>
                <a:lnTo>
                  <a:pt x="694" y="249"/>
                </a:lnTo>
                <a:lnTo>
                  <a:pt x="684" y="249"/>
                </a:lnTo>
                <a:lnTo>
                  <a:pt x="676" y="247"/>
                </a:lnTo>
                <a:lnTo>
                  <a:pt x="670" y="246"/>
                </a:lnTo>
                <a:lnTo>
                  <a:pt x="664" y="246"/>
                </a:lnTo>
                <a:lnTo>
                  <a:pt x="664" y="246"/>
                </a:lnTo>
                <a:lnTo>
                  <a:pt x="661" y="246"/>
                </a:lnTo>
                <a:lnTo>
                  <a:pt x="660" y="243"/>
                </a:lnTo>
                <a:lnTo>
                  <a:pt x="657" y="240"/>
                </a:lnTo>
                <a:lnTo>
                  <a:pt x="653" y="237"/>
                </a:lnTo>
                <a:lnTo>
                  <a:pt x="653" y="237"/>
                </a:lnTo>
                <a:lnTo>
                  <a:pt x="642" y="232"/>
                </a:lnTo>
                <a:lnTo>
                  <a:pt x="637" y="230"/>
                </a:lnTo>
                <a:lnTo>
                  <a:pt x="633" y="232"/>
                </a:lnTo>
                <a:lnTo>
                  <a:pt x="633" y="232"/>
                </a:lnTo>
                <a:lnTo>
                  <a:pt x="632" y="234"/>
                </a:lnTo>
                <a:lnTo>
                  <a:pt x="632" y="239"/>
                </a:lnTo>
                <a:lnTo>
                  <a:pt x="633" y="242"/>
                </a:lnTo>
                <a:lnTo>
                  <a:pt x="639" y="244"/>
                </a:lnTo>
                <a:lnTo>
                  <a:pt x="639" y="244"/>
                </a:lnTo>
                <a:lnTo>
                  <a:pt x="642" y="246"/>
                </a:lnTo>
                <a:lnTo>
                  <a:pt x="644" y="247"/>
                </a:lnTo>
                <a:lnTo>
                  <a:pt x="646" y="249"/>
                </a:lnTo>
                <a:lnTo>
                  <a:pt x="650" y="249"/>
                </a:lnTo>
                <a:lnTo>
                  <a:pt x="650" y="249"/>
                </a:lnTo>
                <a:lnTo>
                  <a:pt x="654" y="249"/>
                </a:lnTo>
                <a:lnTo>
                  <a:pt x="659" y="250"/>
                </a:lnTo>
                <a:lnTo>
                  <a:pt x="660" y="253"/>
                </a:lnTo>
                <a:lnTo>
                  <a:pt x="660" y="256"/>
                </a:lnTo>
                <a:lnTo>
                  <a:pt x="660" y="256"/>
                </a:lnTo>
                <a:lnTo>
                  <a:pt x="660" y="260"/>
                </a:lnTo>
                <a:lnTo>
                  <a:pt x="663" y="264"/>
                </a:lnTo>
                <a:lnTo>
                  <a:pt x="667" y="270"/>
                </a:lnTo>
                <a:lnTo>
                  <a:pt x="667" y="270"/>
                </a:lnTo>
                <a:lnTo>
                  <a:pt x="669" y="273"/>
                </a:lnTo>
                <a:lnTo>
                  <a:pt x="669" y="276"/>
                </a:lnTo>
                <a:lnTo>
                  <a:pt x="666" y="277"/>
                </a:lnTo>
                <a:lnTo>
                  <a:pt x="663" y="279"/>
                </a:lnTo>
                <a:lnTo>
                  <a:pt x="663" y="279"/>
                </a:lnTo>
                <a:lnTo>
                  <a:pt x="653" y="280"/>
                </a:lnTo>
                <a:lnTo>
                  <a:pt x="652" y="281"/>
                </a:lnTo>
                <a:lnTo>
                  <a:pt x="652" y="284"/>
                </a:lnTo>
                <a:lnTo>
                  <a:pt x="652" y="284"/>
                </a:lnTo>
                <a:lnTo>
                  <a:pt x="653" y="287"/>
                </a:lnTo>
                <a:lnTo>
                  <a:pt x="652" y="289"/>
                </a:lnTo>
                <a:lnTo>
                  <a:pt x="647" y="289"/>
                </a:lnTo>
                <a:lnTo>
                  <a:pt x="643" y="287"/>
                </a:lnTo>
                <a:lnTo>
                  <a:pt x="643" y="287"/>
                </a:lnTo>
                <a:lnTo>
                  <a:pt x="640" y="286"/>
                </a:lnTo>
                <a:lnTo>
                  <a:pt x="640" y="283"/>
                </a:lnTo>
                <a:lnTo>
                  <a:pt x="642" y="280"/>
                </a:lnTo>
                <a:lnTo>
                  <a:pt x="643" y="277"/>
                </a:lnTo>
                <a:lnTo>
                  <a:pt x="643" y="277"/>
                </a:lnTo>
                <a:lnTo>
                  <a:pt x="644" y="277"/>
                </a:lnTo>
                <a:lnTo>
                  <a:pt x="643" y="276"/>
                </a:lnTo>
                <a:lnTo>
                  <a:pt x="642" y="274"/>
                </a:lnTo>
                <a:lnTo>
                  <a:pt x="633" y="270"/>
                </a:lnTo>
                <a:lnTo>
                  <a:pt x="633" y="270"/>
                </a:lnTo>
                <a:lnTo>
                  <a:pt x="629" y="271"/>
                </a:lnTo>
                <a:lnTo>
                  <a:pt x="622" y="276"/>
                </a:lnTo>
                <a:lnTo>
                  <a:pt x="609" y="283"/>
                </a:lnTo>
                <a:lnTo>
                  <a:pt x="609" y="283"/>
                </a:lnTo>
                <a:lnTo>
                  <a:pt x="605" y="283"/>
                </a:lnTo>
                <a:lnTo>
                  <a:pt x="597" y="283"/>
                </a:lnTo>
                <a:lnTo>
                  <a:pt x="590" y="281"/>
                </a:lnTo>
                <a:lnTo>
                  <a:pt x="582" y="283"/>
                </a:lnTo>
                <a:lnTo>
                  <a:pt x="582" y="283"/>
                </a:lnTo>
                <a:lnTo>
                  <a:pt x="575" y="286"/>
                </a:lnTo>
                <a:lnTo>
                  <a:pt x="572" y="290"/>
                </a:lnTo>
                <a:lnTo>
                  <a:pt x="569" y="293"/>
                </a:lnTo>
                <a:lnTo>
                  <a:pt x="569" y="294"/>
                </a:lnTo>
                <a:lnTo>
                  <a:pt x="568" y="294"/>
                </a:lnTo>
                <a:lnTo>
                  <a:pt x="568" y="294"/>
                </a:lnTo>
                <a:lnTo>
                  <a:pt x="556" y="294"/>
                </a:lnTo>
                <a:lnTo>
                  <a:pt x="551" y="293"/>
                </a:lnTo>
                <a:lnTo>
                  <a:pt x="545" y="291"/>
                </a:lnTo>
                <a:lnTo>
                  <a:pt x="545" y="291"/>
                </a:lnTo>
                <a:lnTo>
                  <a:pt x="543" y="290"/>
                </a:lnTo>
                <a:lnTo>
                  <a:pt x="543" y="289"/>
                </a:lnTo>
                <a:lnTo>
                  <a:pt x="549" y="287"/>
                </a:lnTo>
                <a:lnTo>
                  <a:pt x="549" y="287"/>
                </a:lnTo>
                <a:lnTo>
                  <a:pt x="552" y="287"/>
                </a:lnTo>
                <a:lnTo>
                  <a:pt x="555" y="287"/>
                </a:lnTo>
                <a:lnTo>
                  <a:pt x="555" y="286"/>
                </a:lnTo>
                <a:lnTo>
                  <a:pt x="553" y="283"/>
                </a:lnTo>
                <a:lnTo>
                  <a:pt x="553" y="283"/>
                </a:lnTo>
                <a:lnTo>
                  <a:pt x="552" y="280"/>
                </a:lnTo>
                <a:lnTo>
                  <a:pt x="553" y="277"/>
                </a:lnTo>
                <a:lnTo>
                  <a:pt x="556" y="274"/>
                </a:lnTo>
                <a:lnTo>
                  <a:pt x="556" y="271"/>
                </a:lnTo>
                <a:lnTo>
                  <a:pt x="556" y="271"/>
                </a:lnTo>
                <a:lnTo>
                  <a:pt x="556" y="271"/>
                </a:lnTo>
                <a:lnTo>
                  <a:pt x="553" y="271"/>
                </a:lnTo>
                <a:lnTo>
                  <a:pt x="546" y="273"/>
                </a:lnTo>
                <a:lnTo>
                  <a:pt x="539" y="276"/>
                </a:lnTo>
                <a:lnTo>
                  <a:pt x="535" y="279"/>
                </a:lnTo>
                <a:lnTo>
                  <a:pt x="535" y="279"/>
                </a:lnTo>
                <a:lnTo>
                  <a:pt x="533" y="281"/>
                </a:lnTo>
                <a:lnTo>
                  <a:pt x="533" y="283"/>
                </a:lnTo>
                <a:lnTo>
                  <a:pt x="533" y="286"/>
                </a:lnTo>
                <a:lnTo>
                  <a:pt x="532" y="287"/>
                </a:lnTo>
                <a:lnTo>
                  <a:pt x="532" y="287"/>
                </a:lnTo>
                <a:lnTo>
                  <a:pt x="529" y="287"/>
                </a:lnTo>
                <a:lnTo>
                  <a:pt x="528" y="287"/>
                </a:lnTo>
                <a:lnTo>
                  <a:pt x="526" y="284"/>
                </a:lnTo>
                <a:lnTo>
                  <a:pt x="525" y="283"/>
                </a:lnTo>
                <a:lnTo>
                  <a:pt x="525" y="283"/>
                </a:lnTo>
                <a:lnTo>
                  <a:pt x="518" y="283"/>
                </a:lnTo>
                <a:lnTo>
                  <a:pt x="506" y="286"/>
                </a:lnTo>
                <a:lnTo>
                  <a:pt x="495" y="290"/>
                </a:lnTo>
                <a:lnTo>
                  <a:pt x="491" y="291"/>
                </a:lnTo>
                <a:lnTo>
                  <a:pt x="488" y="294"/>
                </a:lnTo>
                <a:lnTo>
                  <a:pt x="488" y="294"/>
                </a:lnTo>
                <a:lnTo>
                  <a:pt x="484" y="297"/>
                </a:lnTo>
                <a:lnTo>
                  <a:pt x="478" y="300"/>
                </a:lnTo>
                <a:lnTo>
                  <a:pt x="474" y="301"/>
                </a:lnTo>
                <a:lnTo>
                  <a:pt x="472" y="304"/>
                </a:lnTo>
                <a:lnTo>
                  <a:pt x="472" y="304"/>
                </a:lnTo>
                <a:lnTo>
                  <a:pt x="472" y="304"/>
                </a:lnTo>
                <a:lnTo>
                  <a:pt x="471" y="306"/>
                </a:lnTo>
                <a:lnTo>
                  <a:pt x="465" y="307"/>
                </a:lnTo>
                <a:lnTo>
                  <a:pt x="459" y="307"/>
                </a:lnTo>
                <a:lnTo>
                  <a:pt x="455" y="308"/>
                </a:lnTo>
                <a:lnTo>
                  <a:pt x="455" y="308"/>
                </a:lnTo>
                <a:lnTo>
                  <a:pt x="454" y="310"/>
                </a:lnTo>
                <a:lnTo>
                  <a:pt x="452" y="311"/>
                </a:lnTo>
                <a:lnTo>
                  <a:pt x="452" y="317"/>
                </a:lnTo>
                <a:lnTo>
                  <a:pt x="452" y="321"/>
                </a:lnTo>
                <a:lnTo>
                  <a:pt x="451" y="326"/>
                </a:lnTo>
                <a:lnTo>
                  <a:pt x="451" y="326"/>
                </a:lnTo>
                <a:lnTo>
                  <a:pt x="450" y="327"/>
                </a:lnTo>
                <a:lnTo>
                  <a:pt x="447" y="328"/>
                </a:lnTo>
                <a:lnTo>
                  <a:pt x="440" y="330"/>
                </a:lnTo>
                <a:lnTo>
                  <a:pt x="424" y="330"/>
                </a:lnTo>
                <a:lnTo>
                  <a:pt x="424" y="330"/>
                </a:lnTo>
                <a:lnTo>
                  <a:pt x="422" y="328"/>
                </a:lnTo>
                <a:lnTo>
                  <a:pt x="420" y="328"/>
                </a:lnTo>
                <a:lnTo>
                  <a:pt x="417" y="324"/>
                </a:lnTo>
                <a:lnTo>
                  <a:pt x="414" y="320"/>
                </a:lnTo>
                <a:lnTo>
                  <a:pt x="411" y="317"/>
                </a:lnTo>
                <a:lnTo>
                  <a:pt x="411" y="317"/>
                </a:lnTo>
                <a:lnTo>
                  <a:pt x="410" y="316"/>
                </a:lnTo>
                <a:lnTo>
                  <a:pt x="408" y="313"/>
                </a:lnTo>
                <a:lnTo>
                  <a:pt x="411" y="307"/>
                </a:lnTo>
                <a:lnTo>
                  <a:pt x="411" y="307"/>
                </a:lnTo>
                <a:lnTo>
                  <a:pt x="413" y="306"/>
                </a:lnTo>
                <a:lnTo>
                  <a:pt x="415" y="306"/>
                </a:lnTo>
                <a:lnTo>
                  <a:pt x="418" y="304"/>
                </a:lnTo>
                <a:lnTo>
                  <a:pt x="422" y="303"/>
                </a:lnTo>
                <a:lnTo>
                  <a:pt x="422" y="303"/>
                </a:lnTo>
                <a:lnTo>
                  <a:pt x="427" y="301"/>
                </a:lnTo>
                <a:lnTo>
                  <a:pt x="431" y="303"/>
                </a:lnTo>
                <a:lnTo>
                  <a:pt x="434" y="303"/>
                </a:lnTo>
                <a:lnTo>
                  <a:pt x="437" y="303"/>
                </a:lnTo>
                <a:lnTo>
                  <a:pt x="437" y="303"/>
                </a:lnTo>
                <a:lnTo>
                  <a:pt x="437" y="301"/>
                </a:lnTo>
                <a:lnTo>
                  <a:pt x="435" y="300"/>
                </a:lnTo>
                <a:lnTo>
                  <a:pt x="432" y="296"/>
                </a:lnTo>
                <a:lnTo>
                  <a:pt x="428" y="291"/>
                </a:lnTo>
                <a:lnTo>
                  <a:pt x="427" y="287"/>
                </a:lnTo>
                <a:lnTo>
                  <a:pt x="427" y="287"/>
                </a:lnTo>
                <a:lnTo>
                  <a:pt x="425" y="284"/>
                </a:lnTo>
                <a:lnTo>
                  <a:pt x="424" y="283"/>
                </a:lnTo>
                <a:lnTo>
                  <a:pt x="418" y="281"/>
                </a:lnTo>
                <a:lnTo>
                  <a:pt x="413" y="280"/>
                </a:lnTo>
                <a:lnTo>
                  <a:pt x="407" y="281"/>
                </a:lnTo>
                <a:lnTo>
                  <a:pt x="407" y="281"/>
                </a:lnTo>
                <a:lnTo>
                  <a:pt x="401" y="281"/>
                </a:lnTo>
                <a:lnTo>
                  <a:pt x="395" y="281"/>
                </a:lnTo>
                <a:lnTo>
                  <a:pt x="387" y="279"/>
                </a:lnTo>
                <a:lnTo>
                  <a:pt x="387" y="279"/>
                </a:lnTo>
                <a:lnTo>
                  <a:pt x="384" y="279"/>
                </a:lnTo>
                <a:lnTo>
                  <a:pt x="383" y="280"/>
                </a:lnTo>
                <a:lnTo>
                  <a:pt x="385" y="283"/>
                </a:lnTo>
                <a:lnTo>
                  <a:pt x="390" y="286"/>
                </a:lnTo>
                <a:lnTo>
                  <a:pt x="390" y="286"/>
                </a:lnTo>
                <a:lnTo>
                  <a:pt x="393" y="287"/>
                </a:lnTo>
                <a:lnTo>
                  <a:pt x="394" y="290"/>
                </a:lnTo>
                <a:lnTo>
                  <a:pt x="394" y="293"/>
                </a:lnTo>
                <a:lnTo>
                  <a:pt x="394" y="296"/>
                </a:lnTo>
                <a:lnTo>
                  <a:pt x="394" y="296"/>
                </a:lnTo>
                <a:lnTo>
                  <a:pt x="394" y="300"/>
                </a:lnTo>
                <a:lnTo>
                  <a:pt x="393" y="304"/>
                </a:lnTo>
                <a:lnTo>
                  <a:pt x="388" y="314"/>
                </a:lnTo>
                <a:lnTo>
                  <a:pt x="388" y="314"/>
                </a:lnTo>
                <a:lnTo>
                  <a:pt x="385" y="317"/>
                </a:lnTo>
                <a:lnTo>
                  <a:pt x="387" y="320"/>
                </a:lnTo>
                <a:lnTo>
                  <a:pt x="388" y="320"/>
                </a:lnTo>
                <a:lnTo>
                  <a:pt x="393" y="320"/>
                </a:lnTo>
                <a:lnTo>
                  <a:pt x="393" y="320"/>
                </a:lnTo>
                <a:lnTo>
                  <a:pt x="395" y="320"/>
                </a:lnTo>
                <a:lnTo>
                  <a:pt x="397" y="321"/>
                </a:lnTo>
                <a:lnTo>
                  <a:pt x="398" y="324"/>
                </a:lnTo>
                <a:lnTo>
                  <a:pt x="398" y="334"/>
                </a:lnTo>
                <a:lnTo>
                  <a:pt x="398" y="334"/>
                </a:lnTo>
                <a:lnTo>
                  <a:pt x="398" y="338"/>
                </a:lnTo>
                <a:lnTo>
                  <a:pt x="397" y="341"/>
                </a:lnTo>
                <a:lnTo>
                  <a:pt x="394" y="344"/>
                </a:lnTo>
                <a:lnTo>
                  <a:pt x="394" y="347"/>
                </a:lnTo>
                <a:lnTo>
                  <a:pt x="394" y="347"/>
                </a:lnTo>
                <a:lnTo>
                  <a:pt x="393" y="348"/>
                </a:lnTo>
                <a:lnTo>
                  <a:pt x="391" y="347"/>
                </a:lnTo>
                <a:lnTo>
                  <a:pt x="388" y="345"/>
                </a:lnTo>
                <a:lnTo>
                  <a:pt x="387" y="345"/>
                </a:lnTo>
                <a:lnTo>
                  <a:pt x="387" y="345"/>
                </a:lnTo>
                <a:lnTo>
                  <a:pt x="385" y="347"/>
                </a:lnTo>
                <a:lnTo>
                  <a:pt x="384" y="345"/>
                </a:lnTo>
                <a:lnTo>
                  <a:pt x="383" y="341"/>
                </a:lnTo>
                <a:lnTo>
                  <a:pt x="383" y="341"/>
                </a:lnTo>
                <a:lnTo>
                  <a:pt x="380" y="340"/>
                </a:lnTo>
                <a:lnTo>
                  <a:pt x="376" y="338"/>
                </a:lnTo>
                <a:lnTo>
                  <a:pt x="366" y="338"/>
                </a:lnTo>
                <a:lnTo>
                  <a:pt x="366" y="338"/>
                </a:lnTo>
                <a:lnTo>
                  <a:pt x="363" y="338"/>
                </a:lnTo>
                <a:lnTo>
                  <a:pt x="360" y="338"/>
                </a:lnTo>
                <a:lnTo>
                  <a:pt x="356" y="343"/>
                </a:lnTo>
                <a:lnTo>
                  <a:pt x="356" y="343"/>
                </a:lnTo>
                <a:lnTo>
                  <a:pt x="353" y="345"/>
                </a:lnTo>
                <a:lnTo>
                  <a:pt x="350" y="348"/>
                </a:lnTo>
                <a:lnTo>
                  <a:pt x="341" y="350"/>
                </a:lnTo>
                <a:lnTo>
                  <a:pt x="341" y="350"/>
                </a:lnTo>
                <a:lnTo>
                  <a:pt x="339" y="351"/>
                </a:lnTo>
                <a:lnTo>
                  <a:pt x="334" y="354"/>
                </a:lnTo>
                <a:lnTo>
                  <a:pt x="326" y="361"/>
                </a:lnTo>
                <a:lnTo>
                  <a:pt x="326" y="361"/>
                </a:lnTo>
                <a:lnTo>
                  <a:pt x="324" y="363"/>
                </a:lnTo>
                <a:lnTo>
                  <a:pt x="323" y="367"/>
                </a:lnTo>
                <a:lnTo>
                  <a:pt x="324" y="370"/>
                </a:lnTo>
                <a:lnTo>
                  <a:pt x="327" y="374"/>
                </a:lnTo>
                <a:lnTo>
                  <a:pt x="327" y="374"/>
                </a:lnTo>
                <a:lnTo>
                  <a:pt x="331" y="378"/>
                </a:lnTo>
                <a:lnTo>
                  <a:pt x="333" y="382"/>
                </a:lnTo>
                <a:lnTo>
                  <a:pt x="334" y="385"/>
                </a:lnTo>
                <a:lnTo>
                  <a:pt x="334" y="387"/>
                </a:lnTo>
                <a:lnTo>
                  <a:pt x="334" y="387"/>
                </a:lnTo>
                <a:lnTo>
                  <a:pt x="333" y="388"/>
                </a:lnTo>
                <a:lnTo>
                  <a:pt x="331" y="388"/>
                </a:lnTo>
                <a:lnTo>
                  <a:pt x="324" y="390"/>
                </a:lnTo>
                <a:lnTo>
                  <a:pt x="319" y="388"/>
                </a:lnTo>
                <a:lnTo>
                  <a:pt x="314" y="385"/>
                </a:lnTo>
                <a:lnTo>
                  <a:pt x="314" y="385"/>
                </a:lnTo>
                <a:lnTo>
                  <a:pt x="312" y="384"/>
                </a:lnTo>
                <a:lnTo>
                  <a:pt x="307" y="382"/>
                </a:lnTo>
                <a:lnTo>
                  <a:pt x="299" y="382"/>
                </a:lnTo>
                <a:lnTo>
                  <a:pt x="299" y="382"/>
                </a:lnTo>
                <a:lnTo>
                  <a:pt x="294" y="381"/>
                </a:lnTo>
                <a:lnTo>
                  <a:pt x="289" y="377"/>
                </a:lnTo>
                <a:lnTo>
                  <a:pt x="284" y="372"/>
                </a:lnTo>
                <a:lnTo>
                  <a:pt x="280" y="371"/>
                </a:lnTo>
                <a:lnTo>
                  <a:pt x="280" y="371"/>
                </a:lnTo>
                <a:lnTo>
                  <a:pt x="276" y="372"/>
                </a:lnTo>
                <a:lnTo>
                  <a:pt x="273" y="374"/>
                </a:lnTo>
                <a:lnTo>
                  <a:pt x="270" y="380"/>
                </a:lnTo>
                <a:lnTo>
                  <a:pt x="270" y="380"/>
                </a:lnTo>
                <a:lnTo>
                  <a:pt x="270" y="382"/>
                </a:lnTo>
                <a:lnTo>
                  <a:pt x="270" y="384"/>
                </a:lnTo>
                <a:lnTo>
                  <a:pt x="275" y="390"/>
                </a:lnTo>
                <a:lnTo>
                  <a:pt x="275" y="390"/>
                </a:lnTo>
                <a:lnTo>
                  <a:pt x="277" y="392"/>
                </a:lnTo>
                <a:lnTo>
                  <a:pt x="282" y="394"/>
                </a:lnTo>
                <a:lnTo>
                  <a:pt x="290" y="395"/>
                </a:lnTo>
                <a:lnTo>
                  <a:pt x="290" y="395"/>
                </a:lnTo>
                <a:lnTo>
                  <a:pt x="293" y="397"/>
                </a:lnTo>
                <a:lnTo>
                  <a:pt x="293" y="398"/>
                </a:lnTo>
                <a:lnTo>
                  <a:pt x="292" y="405"/>
                </a:lnTo>
                <a:lnTo>
                  <a:pt x="292" y="405"/>
                </a:lnTo>
                <a:lnTo>
                  <a:pt x="290" y="407"/>
                </a:lnTo>
                <a:lnTo>
                  <a:pt x="286" y="408"/>
                </a:lnTo>
                <a:lnTo>
                  <a:pt x="283" y="408"/>
                </a:lnTo>
                <a:lnTo>
                  <a:pt x="280" y="407"/>
                </a:lnTo>
                <a:lnTo>
                  <a:pt x="280" y="407"/>
                </a:lnTo>
                <a:lnTo>
                  <a:pt x="277" y="405"/>
                </a:lnTo>
                <a:lnTo>
                  <a:pt x="273" y="405"/>
                </a:lnTo>
                <a:lnTo>
                  <a:pt x="269" y="404"/>
                </a:lnTo>
                <a:lnTo>
                  <a:pt x="267" y="404"/>
                </a:lnTo>
                <a:lnTo>
                  <a:pt x="267" y="402"/>
                </a:lnTo>
                <a:lnTo>
                  <a:pt x="267" y="402"/>
                </a:lnTo>
                <a:lnTo>
                  <a:pt x="266" y="400"/>
                </a:lnTo>
                <a:lnTo>
                  <a:pt x="263" y="397"/>
                </a:lnTo>
                <a:lnTo>
                  <a:pt x="257" y="395"/>
                </a:lnTo>
                <a:lnTo>
                  <a:pt x="253" y="394"/>
                </a:lnTo>
                <a:lnTo>
                  <a:pt x="253" y="394"/>
                </a:lnTo>
                <a:lnTo>
                  <a:pt x="247" y="394"/>
                </a:lnTo>
                <a:lnTo>
                  <a:pt x="246" y="392"/>
                </a:lnTo>
                <a:lnTo>
                  <a:pt x="245" y="390"/>
                </a:lnTo>
                <a:lnTo>
                  <a:pt x="245" y="385"/>
                </a:lnTo>
                <a:lnTo>
                  <a:pt x="245" y="385"/>
                </a:lnTo>
                <a:lnTo>
                  <a:pt x="243" y="381"/>
                </a:lnTo>
                <a:lnTo>
                  <a:pt x="242" y="378"/>
                </a:lnTo>
                <a:lnTo>
                  <a:pt x="240" y="375"/>
                </a:lnTo>
                <a:lnTo>
                  <a:pt x="240" y="374"/>
                </a:lnTo>
                <a:lnTo>
                  <a:pt x="240" y="374"/>
                </a:lnTo>
                <a:lnTo>
                  <a:pt x="239" y="368"/>
                </a:lnTo>
                <a:lnTo>
                  <a:pt x="239" y="365"/>
                </a:lnTo>
                <a:lnTo>
                  <a:pt x="240" y="363"/>
                </a:lnTo>
                <a:lnTo>
                  <a:pt x="240" y="363"/>
                </a:lnTo>
                <a:lnTo>
                  <a:pt x="243" y="361"/>
                </a:lnTo>
                <a:lnTo>
                  <a:pt x="243" y="358"/>
                </a:lnTo>
                <a:lnTo>
                  <a:pt x="242" y="353"/>
                </a:lnTo>
                <a:lnTo>
                  <a:pt x="242" y="353"/>
                </a:lnTo>
                <a:lnTo>
                  <a:pt x="240" y="350"/>
                </a:lnTo>
                <a:lnTo>
                  <a:pt x="238" y="347"/>
                </a:lnTo>
                <a:lnTo>
                  <a:pt x="235" y="345"/>
                </a:lnTo>
                <a:lnTo>
                  <a:pt x="230" y="344"/>
                </a:lnTo>
                <a:lnTo>
                  <a:pt x="230" y="344"/>
                </a:lnTo>
                <a:lnTo>
                  <a:pt x="226" y="343"/>
                </a:lnTo>
                <a:lnTo>
                  <a:pt x="225" y="341"/>
                </a:lnTo>
                <a:lnTo>
                  <a:pt x="223" y="338"/>
                </a:lnTo>
                <a:lnTo>
                  <a:pt x="220" y="337"/>
                </a:lnTo>
                <a:lnTo>
                  <a:pt x="220" y="337"/>
                </a:lnTo>
                <a:lnTo>
                  <a:pt x="216" y="334"/>
                </a:lnTo>
                <a:lnTo>
                  <a:pt x="211" y="331"/>
                </a:lnTo>
                <a:lnTo>
                  <a:pt x="206" y="327"/>
                </a:lnTo>
                <a:lnTo>
                  <a:pt x="205" y="324"/>
                </a:lnTo>
                <a:lnTo>
                  <a:pt x="205" y="324"/>
                </a:lnTo>
                <a:lnTo>
                  <a:pt x="203" y="321"/>
                </a:lnTo>
                <a:lnTo>
                  <a:pt x="201" y="320"/>
                </a:lnTo>
                <a:lnTo>
                  <a:pt x="198" y="320"/>
                </a:lnTo>
                <a:lnTo>
                  <a:pt x="199" y="318"/>
                </a:lnTo>
                <a:lnTo>
                  <a:pt x="199" y="318"/>
                </a:lnTo>
                <a:lnTo>
                  <a:pt x="201" y="318"/>
                </a:lnTo>
                <a:lnTo>
                  <a:pt x="205" y="318"/>
                </a:lnTo>
                <a:lnTo>
                  <a:pt x="208" y="321"/>
                </a:lnTo>
                <a:lnTo>
                  <a:pt x="212" y="323"/>
                </a:lnTo>
                <a:lnTo>
                  <a:pt x="212" y="323"/>
                </a:lnTo>
                <a:lnTo>
                  <a:pt x="215" y="327"/>
                </a:lnTo>
                <a:lnTo>
                  <a:pt x="220" y="328"/>
                </a:lnTo>
                <a:lnTo>
                  <a:pt x="226" y="331"/>
                </a:lnTo>
                <a:lnTo>
                  <a:pt x="233" y="333"/>
                </a:lnTo>
                <a:lnTo>
                  <a:pt x="233" y="333"/>
                </a:lnTo>
                <a:lnTo>
                  <a:pt x="242" y="334"/>
                </a:lnTo>
                <a:lnTo>
                  <a:pt x="247" y="337"/>
                </a:lnTo>
                <a:lnTo>
                  <a:pt x="253" y="340"/>
                </a:lnTo>
                <a:lnTo>
                  <a:pt x="262" y="341"/>
                </a:lnTo>
                <a:lnTo>
                  <a:pt x="262" y="341"/>
                </a:lnTo>
                <a:lnTo>
                  <a:pt x="299" y="348"/>
                </a:lnTo>
                <a:lnTo>
                  <a:pt x="299" y="348"/>
                </a:lnTo>
                <a:lnTo>
                  <a:pt x="306" y="348"/>
                </a:lnTo>
                <a:lnTo>
                  <a:pt x="313" y="347"/>
                </a:lnTo>
                <a:lnTo>
                  <a:pt x="320" y="344"/>
                </a:lnTo>
                <a:lnTo>
                  <a:pt x="327" y="340"/>
                </a:lnTo>
                <a:lnTo>
                  <a:pt x="339" y="333"/>
                </a:lnTo>
                <a:lnTo>
                  <a:pt x="346" y="327"/>
                </a:lnTo>
                <a:lnTo>
                  <a:pt x="346" y="327"/>
                </a:lnTo>
                <a:lnTo>
                  <a:pt x="347" y="326"/>
                </a:lnTo>
                <a:lnTo>
                  <a:pt x="347" y="323"/>
                </a:lnTo>
                <a:lnTo>
                  <a:pt x="347" y="317"/>
                </a:lnTo>
                <a:lnTo>
                  <a:pt x="344" y="308"/>
                </a:lnTo>
                <a:lnTo>
                  <a:pt x="344" y="308"/>
                </a:lnTo>
                <a:lnTo>
                  <a:pt x="343" y="306"/>
                </a:lnTo>
                <a:lnTo>
                  <a:pt x="340" y="304"/>
                </a:lnTo>
                <a:lnTo>
                  <a:pt x="337" y="303"/>
                </a:lnTo>
                <a:lnTo>
                  <a:pt x="336" y="301"/>
                </a:lnTo>
                <a:lnTo>
                  <a:pt x="336" y="301"/>
                </a:lnTo>
                <a:lnTo>
                  <a:pt x="333" y="299"/>
                </a:lnTo>
                <a:lnTo>
                  <a:pt x="330" y="296"/>
                </a:lnTo>
                <a:lnTo>
                  <a:pt x="327" y="294"/>
                </a:lnTo>
                <a:lnTo>
                  <a:pt x="321" y="293"/>
                </a:lnTo>
                <a:lnTo>
                  <a:pt x="321" y="293"/>
                </a:lnTo>
                <a:lnTo>
                  <a:pt x="317" y="291"/>
                </a:lnTo>
                <a:lnTo>
                  <a:pt x="314" y="290"/>
                </a:lnTo>
                <a:lnTo>
                  <a:pt x="312" y="287"/>
                </a:lnTo>
                <a:lnTo>
                  <a:pt x="309" y="286"/>
                </a:lnTo>
                <a:lnTo>
                  <a:pt x="309" y="286"/>
                </a:lnTo>
                <a:lnTo>
                  <a:pt x="304" y="286"/>
                </a:lnTo>
                <a:lnTo>
                  <a:pt x="300" y="284"/>
                </a:lnTo>
                <a:lnTo>
                  <a:pt x="284" y="274"/>
                </a:lnTo>
                <a:lnTo>
                  <a:pt x="284" y="274"/>
                </a:lnTo>
                <a:lnTo>
                  <a:pt x="273" y="267"/>
                </a:lnTo>
                <a:lnTo>
                  <a:pt x="262" y="263"/>
                </a:lnTo>
                <a:lnTo>
                  <a:pt x="253" y="260"/>
                </a:lnTo>
                <a:lnTo>
                  <a:pt x="247" y="259"/>
                </a:lnTo>
                <a:lnTo>
                  <a:pt x="247" y="259"/>
                </a:lnTo>
                <a:lnTo>
                  <a:pt x="243" y="260"/>
                </a:lnTo>
                <a:lnTo>
                  <a:pt x="240" y="260"/>
                </a:lnTo>
                <a:lnTo>
                  <a:pt x="239" y="259"/>
                </a:lnTo>
                <a:lnTo>
                  <a:pt x="239" y="259"/>
                </a:lnTo>
                <a:lnTo>
                  <a:pt x="238" y="256"/>
                </a:lnTo>
                <a:lnTo>
                  <a:pt x="233" y="256"/>
                </a:lnTo>
                <a:lnTo>
                  <a:pt x="230" y="256"/>
                </a:lnTo>
                <a:lnTo>
                  <a:pt x="228" y="259"/>
                </a:lnTo>
                <a:lnTo>
                  <a:pt x="228" y="259"/>
                </a:lnTo>
                <a:lnTo>
                  <a:pt x="225" y="259"/>
                </a:lnTo>
                <a:lnTo>
                  <a:pt x="222" y="259"/>
                </a:lnTo>
                <a:lnTo>
                  <a:pt x="218" y="257"/>
                </a:lnTo>
                <a:lnTo>
                  <a:pt x="213" y="257"/>
                </a:lnTo>
                <a:lnTo>
                  <a:pt x="213" y="257"/>
                </a:lnTo>
                <a:lnTo>
                  <a:pt x="208" y="257"/>
                </a:lnTo>
                <a:lnTo>
                  <a:pt x="205" y="256"/>
                </a:lnTo>
                <a:lnTo>
                  <a:pt x="203" y="254"/>
                </a:lnTo>
                <a:lnTo>
                  <a:pt x="203" y="252"/>
                </a:lnTo>
                <a:lnTo>
                  <a:pt x="203" y="252"/>
                </a:lnTo>
                <a:lnTo>
                  <a:pt x="206" y="252"/>
                </a:lnTo>
                <a:lnTo>
                  <a:pt x="211" y="250"/>
                </a:lnTo>
                <a:lnTo>
                  <a:pt x="215" y="250"/>
                </a:lnTo>
                <a:lnTo>
                  <a:pt x="215" y="249"/>
                </a:lnTo>
                <a:lnTo>
                  <a:pt x="216" y="249"/>
                </a:lnTo>
                <a:lnTo>
                  <a:pt x="216" y="249"/>
                </a:lnTo>
                <a:lnTo>
                  <a:pt x="215" y="246"/>
                </a:lnTo>
                <a:lnTo>
                  <a:pt x="212" y="246"/>
                </a:lnTo>
                <a:lnTo>
                  <a:pt x="209" y="246"/>
                </a:lnTo>
                <a:lnTo>
                  <a:pt x="205" y="244"/>
                </a:lnTo>
                <a:lnTo>
                  <a:pt x="205" y="244"/>
                </a:lnTo>
                <a:lnTo>
                  <a:pt x="201" y="242"/>
                </a:lnTo>
                <a:lnTo>
                  <a:pt x="198" y="242"/>
                </a:lnTo>
                <a:lnTo>
                  <a:pt x="195" y="243"/>
                </a:lnTo>
                <a:lnTo>
                  <a:pt x="193" y="246"/>
                </a:lnTo>
                <a:lnTo>
                  <a:pt x="193" y="246"/>
                </a:lnTo>
                <a:lnTo>
                  <a:pt x="192" y="247"/>
                </a:lnTo>
                <a:lnTo>
                  <a:pt x="189" y="249"/>
                </a:lnTo>
                <a:lnTo>
                  <a:pt x="186" y="247"/>
                </a:lnTo>
                <a:lnTo>
                  <a:pt x="183" y="246"/>
                </a:lnTo>
                <a:lnTo>
                  <a:pt x="183" y="246"/>
                </a:lnTo>
                <a:lnTo>
                  <a:pt x="183" y="244"/>
                </a:lnTo>
                <a:lnTo>
                  <a:pt x="183" y="244"/>
                </a:lnTo>
                <a:lnTo>
                  <a:pt x="182" y="249"/>
                </a:lnTo>
                <a:lnTo>
                  <a:pt x="179" y="250"/>
                </a:lnTo>
                <a:lnTo>
                  <a:pt x="178" y="250"/>
                </a:lnTo>
                <a:lnTo>
                  <a:pt x="175" y="250"/>
                </a:lnTo>
                <a:lnTo>
                  <a:pt x="175" y="250"/>
                </a:lnTo>
                <a:lnTo>
                  <a:pt x="172" y="252"/>
                </a:lnTo>
                <a:lnTo>
                  <a:pt x="168" y="253"/>
                </a:lnTo>
                <a:lnTo>
                  <a:pt x="165" y="256"/>
                </a:lnTo>
                <a:lnTo>
                  <a:pt x="162" y="257"/>
                </a:lnTo>
                <a:lnTo>
                  <a:pt x="162" y="257"/>
                </a:lnTo>
                <a:lnTo>
                  <a:pt x="158" y="257"/>
                </a:lnTo>
                <a:lnTo>
                  <a:pt x="155" y="260"/>
                </a:lnTo>
                <a:lnTo>
                  <a:pt x="152" y="263"/>
                </a:lnTo>
                <a:lnTo>
                  <a:pt x="151" y="266"/>
                </a:lnTo>
                <a:lnTo>
                  <a:pt x="151" y="266"/>
                </a:lnTo>
                <a:lnTo>
                  <a:pt x="149" y="269"/>
                </a:lnTo>
                <a:lnTo>
                  <a:pt x="146" y="269"/>
                </a:lnTo>
                <a:lnTo>
                  <a:pt x="145" y="270"/>
                </a:lnTo>
                <a:lnTo>
                  <a:pt x="145" y="271"/>
                </a:lnTo>
                <a:lnTo>
                  <a:pt x="145" y="271"/>
                </a:lnTo>
                <a:lnTo>
                  <a:pt x="144" y="276"/>
                </a:lnTo>
                <a:lnTo>
                  <a:pt x="142" y="280"/>
                </a:lnTo>
                <a:lnTo>
                  <a:pt x="142" y="280"/>
                </a:lnTo>
                <a:lnTo>
                  <a:pt x="141" y="281"/>
                </a:lnTo>
                <a:lnTo>
                  <a:pt x="141" y="283"/>
                </a:lnTo>
                <a:lnTo>
                  <a:pt x="145" y="289"/>
                </a:lnTo>
                <a:lnTo>
                  <a:pt x="145" y="289"/>
                </a:lnTo>
                <a:lnTo>
                  <a:pt x="146" y="291"/>
                </a:lnTo>
                <a:lnTo>
                  <a:pt x="149" y="293"/>
                </a:lnTo>
                <a:lnTo>
                  <a:pt x="155" y="294"/>
                </a:lnTo>
                <a:lnTo>
                  <a:pt x="155" y="294"/>
                </a:lnTo>
                <a:lnTo>
                  <a:pt x="161" y="300"/>
                </a:lnTo>
                <a:lnTo>
                  <a:pt x="164" y="303"/>
                </a:lnTo>
                <a:lnTo>
                  <a:pt x="166" y="306"/>
                </a:lnTo>
                <a:lnTo>
                  <a:pt x="166" y="306"/>
                </a:lnTo>
                <a:lnTo>
                  <a:pt x="165" y="308"/>
                </a:lnTo>
                <a:lnTo>
                  <a:pt x="162" y="313"/>
                </a:lnTo>
                <a:lnTo>
                  <a:pt x="156" y="318"/>
                </a:lnTo>
                <a:lnTo>
                  <a:pt x="156" y="318"/>
                </a:lnTo>
                <a:lnTo>
                  <a:pt x="152" y="323"/>
                </a:lnTo>
                <a:lnTo>
                  <a:pt x="151" y="326"/>
                </a:lnTo>
                <a:lnTo>
                  <a:pt x="151" y="327"/>
                </a:lnTo>
                <a:lnTo>
                  <a:pt x="151" y="327"/>
                </a:lnTo>
                <a:lnTo>
                  <a:pt x="158" y="337"/>
                </a:lnTo>
                <a:lnTo>
                  <a:pt x="166" y="351"/>
                </a:lnTo>
                <a:lnTo>
                  <a:pt x="166" y="351"/>
                </a:lnTo>
                <a:lnTo>
                  <a:pt x="168" y="357"/>
                </a:lnTo>
                <a:lnTo>
                  <a:pt x="168" y="357"/>
                </a:lnTo>
                <a:lnTo>
                  <a:pt x="166" y="358"/>
                </a:lnTo>
                <a:lnTo>
                  <a:pt x="164" y="360"/>
                </a:lnTo>
                <a:lnTo>
                  <a:pt x="161" y="361"/>
                </a:lnTo>
                <a:lnTo>
                  <a:pt x="161" y="361"/>
                </a:lnTo>
                <a:lnTo>
                  <a:pt x="159" y="364"/>
                </a:lnTo>
                <a:lnTo>
                  <a:pt x="161" y="368"/>
                </a:lnTo>
                <a:lnTo>
                  <a:pt x="164" y="374"/>
                </a:lnTo>
                <a:lnTo>
                  <a:pt x="164" y="374"/>
                </a:lnTo>
                <a:lnTo>
                  <a:pt x="164" y="375"/>
                </a:lnTo>
                <a:lnTo>
                  <a:pt x="162" y="375"/>
                </a:lnTo>
                <a:lnTo>
                  <a:pt x="161" y="377"/>
                </a:lnTo>
                <a:lnTo>
                  <a:pt x="159" y="378"/>
                </a:lnTo>
                <a:lnTo>
                  <a:pt x="159" y="378"/>
                </a:lnTo>
                <a:lnTo>
                  <a:pt x="161" y="380"/>
                </a:lnTo>
                <a:lnTo>
                  <a:pt x="164" y="381"/>
                </a:lnTo>
                <a:lnTo>
                  <a:pt x="166" y="382"/>
                </a:lnTo>
                <a:lnTo>
                  <a:pt x="168" y="384"/>
                </a:lnTo>
                <a:lnTo>
                  <a:pt x="168" y="384"/>
                </a:lnTo>
                <a:lnTo>
                  <a:pt x="166" y="385"/>
                </a:lnTo>
                <a:lnTo>
                  <a:pt x="166" y="387"/>
                </a:lnTo>
                <a:lnTo>
                  <a:pt x="165" y="388"/>
                </a:lnTo>
                <a:lnTo>
                  <a:pt x="165" y="391"/>
                </a:lnTo>
                <a:lnTo>
                  <a:pt x="165" y="391"/>
                </a:lnTo>
                <a:lnTo>
                  <a:pt x="168" y="394"/>
                </a:lnTo>
                <a:lnTo>
                  <a:pt x="171" y="395"/>
                </a:lnTo>
                <a:lnTo>
                  <a:pt x="172" y="397"/>
                </a:lnTo>
                <a:lnTo>
                  <a:pt x="174" y="400"/>
                </a:lnTo>
                <a:lnTo>
                  <a:pt x="174" y="400"/>
                </a:lnTo>
                <a:lnTo>
                  <a:pt x="174" y="401"/>
                </a:lnTo>
                <a:lnTo>
                  <a:pt x="172" y="402"/>
                </a:lnTo>
                <a:lnTo>
                  <a:pt x="169" y="405"/>
                </a:lnTo>
                <a:lnTo>
                  <a:pt x="165" y="407"/>
                </a:lnTo>
                <a:lnTo>
                  <a:pt x="164" y="408"/>
                </a:lnTo>
                <a:lnTo>
                  <a:pt x="164" y="409"/>
                </a:lnTo>
                <a:lnTo>
                  <a:pt x="164" y="409"/>
                </a:lnTo>
                <a:lnTo>
                  <a:pt x="166" y="412"/>
                </a:lnTo>
                <a:lnTo>
                  <a:pt x="172" y="415"/>
                </a:lnTo>
                <a:lnTo>
                  <a:pt x="178" y="419"/>
                </a:lnTo>
                <a:lnTo>
                  <a:pt x="185" y="425"/>
                </a:lnTo>
                <a:lnTo>
                  <a:pt x="185" y="425"/>
                </a:lnTo>
                <a:lnTo>
                  <a:pt x="188" y="429"/>
                </a:lnTo>
                <a:lnTo>
                  <a:pt x="189" y="432"/>
                </a:lnTo>
                <a:lnTo>
                  <a:pt x="189" y="435"/>
                </a:lnTo>
                <a:lnTo>
                  <a:pt x="189" y="438"/>
                </a:lnTo>
                <a:lnTo>
                  <a:pt x="189" y="438"/>
                </a:lnTo>
                <a:lnTo>
                  <a:pt x="186" y="441"/>
                </a:lnTo>
                <a:lnTo>
                  <a:pt x="183" y="444"/>
                </a:lnTo>
                <a:lnTo>
                  <a:pt x="176" y="448"/>
                </a:lnTo>
                <a:lnTo>
                  <a:pt x="169" y="454"/>
                </a:lnTo>
                <a:lnTo>
                  <a:pt x="166" y="456"/>
                </a:lnTo>
                <a:lnTo>
                  <a:pt x="165" y="461"/>
                </a:lnTo>
                <a:lnTo>
                  <a:pt x="165" y="461"/>
                </a:lnTo>
                <a:lnTo>
                  <a:pt x="161" y="466"/>
                </a:lnTo>
                <a:lnTo>
                  <a:pt x="154" y="471"/>
                </a:lnTo>
                <a:lnTo>
                  <a:pt x="146" y="475"/>
                </a:lnTo>
                <a:lnTo>
                  <a:pt x="141" y="481"/>
                </a:lnTo>
                <a:lnTo>
                  <a:pt x="141" y="481"/>
                </a:lnTo>
                <a:lnTo>
                  <a:pt x="132" y="489"/>
                </a:lnTo>
                <a:lnTo>
                  <a:pt x="132" y="489"/>
                </a:lnTo>
                <a:lnTo>
                  <a:pt x="139" y="488"/>
                </a:lnTo>
                <a:lnTo>
                  <a:pt x="139" y="488"/>
                </a:lnTo>
                <a:lnTo>
                  <a:pt x="141" y="488"/>
                </a:lnTo>
                <a:lnTo>
                  <a:pt x="142" y="488"/>
                </a:lnTo>
                <a:lnTo>
                  <a:pt x="144" y="491"/>
                </a:lnTo>
                <a:lnTo>
                  <a:pt x="146" y="495"/>
                </a:lnTo>
                <a:lnTo>
                  <a:pt x="149" y="498"/>
                </a:lnTo>
                <a:lnTo>
                  <a:pt x="149" y="498"/>
                </a:lnTo>
                <a:lnTo>
                  <a:pt x="152" y="499"/>
                </a:lnTo>
                <a:lnTo>
                  <a:pt x="156" y="499"/>
                </a:lnTo>
                <a:lnTo>
                  <a:pt x="161" y="499"/>
                </a:lnTo>
                <a:lnTo>
                  <a:pt x="164" y="501"/>
                </a:lnTo>
                <a:lnTo>
                  <a:pt x="164" y="501"/>
                </a:lnTo>
                <a:lnTo>
                  <a:pt x="164" y="502"/>
                </a:lnTo>
                <a:lnTo>
                  <a:pt x="162" y="503"/>
                </a:lnTo>
                <a:lnTo>
                  <a:pt x="156" y="503"/>
                </a:lnTo>
                <a:lnTo>
                  <a:pt x="156" y="503"/>
                </a:lnTo>
                <a:lnTo>
                  <a:pt x="152" y="503"/>
                </a:lnTo>
                <a:lnTo>
                  <a:pt x="149" y="505"/>
                </a:lnTo>
                <a:lnTo>
                  <a:pt x="141" y="508"/>
                </a:lnTo>
                <a:lnTo>
                  <a:pt x="141" y="508"/>
                </a:lnTo>
                <a:lnTo>
                  <a:pt x="137" y="510"/>
                </a:lnTo>
                <a:lnTo>
                  <a:pt x="135" y="512"/>
                </a:lnTo>
                <a:lnTo>
                  <a:pt x="132" y="515"/>
                </a:lnTo>
                <a:lnTo>
                  <a:pt x="132" y="515"/>
                </a:lnTo>
                <a:lnTo>
                  <a:pt x="134" y="518"/>
                </a:lnTo>
                <a:lnTo>
                  <a:pt x="134" y="520"/>
                </a:lnTo>
                <a:lnTo>
                  <a:pt x="129" y="525"/>
                </a:lnTo>
                <a:lnTo>
                  <a:pt x="129" y="525"/>
                </a:lnTo>
                <a:lnTo>
                  <a:pt x="127" y="530"/>
                </a:lnTo>
                <a:lnTo>
                  <a:pt x="124" y="533"/>
                </a:lnTo>
                <a:lnTo>
                  <a:pt x="124" y="533"/>
                </a:lnTo>
                <a:lnTo>
                  <a:pt x="124" y="538"/>
                </a:lnTo>
                <a:lnTo>
                  <a:pt x="125" y="542"/>
                </a:lnTo>
                <a:lnTo>
                  <a:pt x="125" y="542"/>
                </a:lnTo>
                <a:lnTo>
                  <a:pt x="127" y="547"/>
                </a:lnTo>
                <a:lnTo>
                  <a:pt x="128" y="550"/>
                </a:lnTo>
                <a:lnTo>
                  <a:pt x="128" y="550"/>
                </a:lnTo>
                <a:lnTo>
                  <a:pt x="129" y="553"/>
                </a:lnTo>
                <a:lnTo>
                  <a:pt x="128" y="555"/>
                </a:lnTo>
                <a:lnTo>
                  <a:pt x="124" y="556"/>
                </a:lnTo>
                <a:lnTo>
                  <a:pt x="124" y="556"/>
                </a:lnTo>
                <a:lnTo>
                  <a:pt x="124" y="557"/>
                </a:lnTo>
                <a:lnTo>
                  <a:pt x="124" y="560"/>
                </a:lnTo>
                <a:lnTo>
                  <a:pt x="127" y="565"/>
                </a:lnTo>
                <a:lnTo>
                  <a:pt x="127" y="565"/>
                </a:lnTo>
                <a:lnTo>
                  <a:pt x="128" y="567"/>
                </a:lnTo>
                <a:lnTo>
                  <a:pt x="129" y="569"/>
                </a:lnTo>
                <a:lnTo>
                  <a:pt x="128" y="573"/>
                </a:lnTo>
                <a:lnTo>
                  <a:pt x="128" y="573"/>
                </a:lnTo>
                <a:lnTo>
                  <a:pt x="128" y="576"/>
                </a:lnTo>
                <a:lnTo>
                  <a:pt x="129" y="579"/>
                </a:lnTo>
                <a:lnTo>
                  <a:pt x="134" y="583"/>
                </a:lnTo>
                <a:lnTo>
                  <a:pt x="134" y="583"/>
                </a:lnTo>
                <a:lnTo>
                  <a:pt x="135" y="586"/>
                </a:lnTo>
                <a:lnTo>
                  <a:pt x="135" y="589"/>
                </a:lnTo>
                <a:lnTo>
                  <a:pt x="137" y="592"/>
                </a:lnTo>
                <a:lnTo>
                  <a:pt x="138" y="594"/>
                </a:lnTo>
                <a:lnTo>
                  <a:pt x="138" y="594"/>
                </a:lnTo>
                <a:lnTo>
                  <a:pt x="141" y="596"/>
                </a:lnTo>
                <a:lnTo>
                  <a:pt x="144" y="597"/>
                </a:lnTo>
                <a:lnTo>
                  <a:pt x="146" y="596"/>
                </a:lnTo>
                <a:lnTo>
                  <a:pt x="146" y="596"/>
                </a:lnTo>
                <a:lnTo>
                  <a:pt x="148" y="596"/>
                </a:lnTo>
                <a:lnTo>
                  <a:pt x="151" y="597"/>
                </a:lnTo>
                <a:lnTo>
                  <a:pt x="154" y="600"/>
                </a:lnTo>
                <a:lnTo>
                  <a:pt x="154" y="600"/>
                </a:lnTo>
                <a:lnTo>
                  <a:pt x="155" y="602"/>
                </a:lnTo>
                <a:lnTo>
                  <a:pt x="158" y="602"/>
                </a:lnTo>
                <a:lnTo>
                  <a:pt x="162" y="600"/>
                </a:lnTo>
                <a:lnTo>
                  <a:pt x="162" y="600"/>
                </a:lnTo>
                <a:lnTo>
                  <a:pt x="166" y="600"/>
                </a:lnTo>
                <a:lnTo>
                  <a:pt x="171" y="602"/>
                </a:lnTo>
                <a:lnTo>
                  <a:pt x="178" y="604"/>
                </a:lnTo>
                <a:lnTo>
                  <a:pt x="178" y="604"/>
                </a:lnTo>
                <a:lnTo>
                  <a:pt x="179" y="606"/>
                </a:lnTo>
                <a:lnTo>
                  <a:pt x="179" y="609"/>
                </a:lnTo>
                <a:lnTo>
                  <a:pt x="179" y="616"/>
                </a:lnTo>
                <a:lnTo>
                  <a:pt x="179" y="616"/>
                </a:lnTo>
                <a:lnTo>
                  <a:pt x="179" y="621"/>
                </a:lnTo>
                <a:lnTo>
                  <a:pt x="179" y="624"/>
                </a:lnTo>
                <a:lnTo>
                  <a:pt x="181" y="627"/>
                </a:lnTo>
                <a:lnTo>
                  <a:pt x="181" y="627"/>
                </a:lnTo>
                <a:lnTo>
                  <a:pt x="183" y="630"/>
                </a:lnTo>
                <a:lnTo>
                  <a:pt x="185" y="633"/>
                </a:lnTo>
                <a:lnTo>
                  <a:pt x="186" y="636"/>
                </a:lnTo>
                <a:lnTo>
                  <a:pt x="188" y="637"/>
                </a:lnTo>
                <a:lnTo>
                  <a:pt x="188" y="637"/>
                </a:lnTo>
                <a:lnTo>
                  <a:pt x="191" y="639"/>
                </a:lnTo>
                <a:lnTo>
                  <a:pt x="193" y="641"/>
                </a:lnTo>
                <a:lnTo>
                  <a:pt x="195" y="644"/>
                </a:lnTo>
                <a:lnTo>
                  <a:pt x="198" y="646"/>
                </a:lnTo>
                <a:lnTo>
                  <a:pt x="198" y="646"/>
                </a:lnTo>
                <a:lnTo>
                  <a:pt x="203" y="648"/>
                </a:lnTo>
                <a:lnTo>
                  <a:pt x="205" y="651"/>
                </a:lnTo>
                <a:lnTo>
                  <a:pt x="206" y="654"/>
                </a:lnTo>
                <a:lnTo>
                  <a:pt x="206" y="654"/>
                </a:lnTo>
                <a:lnTo>
                  <a:pt x="206" y="657"/>
                </a:lnTo>
                <a:lnTo>
                  <a:pt x="203" y="658"/>
                </a:lnTo>
                <a:lnTo>
                  <a:pt x="198" y="661"/>
                </a:lnTo>
                <a:lnTo>
                  <a:pt x="198" y="661"/>
                </a:lnTo>
                <a:lnTo>
                  <a:pt x="195" y="661"/>
                </a:lnTo>
                <a:lnTo>
                  <a:pt x="192" y="660"/>
                </a:lnTo>
                <a:lnTo>
                  <a:pt x="189" y="660"/>
                </a:lnTo>
                <a:lnTo>
                  <a:pt x="186" y="660"/>
                </a:lnTo>
                <a:lnTo>
                  <a:pt x="186" y="660"/>
                </a:lnTo>
                <a:lnTo>
                  <a:pt x="186" y="663"/>
                </a:lnTo>
                <a:lnTo>
                  <a:pt x="186" y="666"/>
                </a:lnTo>
                <a:lnTo>
                  <a:pt x="189" y="674"/>
                </a:lnTo>
                <a:lnTo>
                  <a:pt x="189" y="674"/>
                </a:lnTo>
                <a:lnTo>
                  <a:pt x="192" y="681"/>
                </a:lnTo>
                <a:lnTo>
                  <a:pt x="193" y="683"/>
                </a:lnTo>
                <a:lnTo>
                  <a:pt x="196" y="683"/>
                </a:lnTo>
                <a:lnTo>
                  <a:pt x="196" y="683"/>
                </a:lnTo>
                <a:lnTo>
                  <a:pt x="198" y="683"/>
                </a:lnTo>
                <a:lnTo>
                  <a:pt x="201" y="681"/>
                </a:lnTo>
                <a:lnTo>
                  <a:pt x="203" y="680"/>
                </a:lnTo>
                <a:lnTo>
                  <a:pt x="203" y="680"/>
                </a:lnTo>
                <a:lnTo>
                  <a:pt x="206" y="678"/>
                </a:lnTo>
                <a:lnTo>
                  <a:pt x="209" y="678"/>
                </a:lnTo>
                <a:lnTo>
                  <a:pt x="215" y="678"/>
                </a:lnTo>
                <a:lnTo>
                  <a:pt x="215" y="678"/>
                </a:lnTo>
                <a:lnTo>
                  <a:pt x="220" y="678"/>
                </a:lnTo>
                <a:lnTo>
                  <a:pt x="225" y="678"/>
                </a:lnTo>
                <a:lnTo>
                  <a:pt x="228" y="680"/>
                </a:lnTo>
                <a:lnTo>
                  <a:pt x="228" y="680"/>
                </a:lnTo>
                <a:lnTo>
                  <a:pt x="229" y="687"/>
                </a:lnTo>
                <a:lnTo>
                  <a:pt x="230" y="690"/>
                </a:lnTo>
                <a:lnTo>
                  <a:pt x="229" y="693"/>
                </a:lnTo>
                <a:lnTo>
                  <a:pt x="229" y="693"/>
                </a:lnTo>
                <a:lnTo>
                  <a:pt x="229" y="694"/>
                </a:lnTo>
                <a:lnTo>
                  <a:pt x="230" y="697"/>
                </a:lnTo>
                <a:lnTo>
                  <a:pt x="233" y="701"/>
                </a:lnTo>
                <a:lnTo>
                  <a:pt x="233" y="701"/>
                </a:lnTo>
                <a:lnTo>
                  <a:pt x="235" y="703"/>
                </a:lnTo>
                <a:lnTo>
                  <a:pt x="239" y="704"/>
                </a:lnTo>
                <a:lnTo>
                  <a:pt x="245" y="704"/>
                </a:lnTo>
                <a:lnTo>
                  <a:pt x="245" y="704"/>
                </a:lnTo>
                <a:lnTo>
                  <a:pt x="250" y="710"/>
                </a:lnTo>
                <a:lnTo>
                  <a:pt x="252" y="714"/>
                </a:lnTo>
                <a:lnTo>
                  <a:pt x="252" y="717"/>
                </a:lnTo>
                <a:lnTo>
                  <a:pt x="252" y="717"/>
                </a:lnTo>
                <a:lnTo>
                  <a:pt x="252" y="718"/>
                </a:lnTo>
                <a:lnTo>
                  <a:pt x="253" y="720"/>
                </a:lnTo>
                <a:lnTo>
                  <a:pt x="257" y="720"/>
                </a:lnTo>
                <a:lnTo>
                  <a:pt x="257" y="720"/>
                </a:lnTo>
                <a:lnTo>
                  <a:pt x="260" y="720"/>
                </a:lnTo>
                <a:lnTo>
                  <a:pt x="262" y="721"/>
                </a:lnTo>
                <a:lnTo>
                  <a:pt x="266" y="724"/>
                </a:lnTo>
                <a:lnTo>
                  <a:pt x="266" y="724"/>
                </a:lnTo>
                <a:lnTo>
                  <a:pt x="270" y="724"/>
                </a:lnTo>
                <a:lnTo>
                  <a:pt x="275" y="722"/>
                </a:lnTo>
                <a:lnTo>
                  <a:pt x="275" y="722"/>
                </a:lnTo>
                <a:lnTo>
                  <a:pt x="279" y="721"/>
                </a:lnTo>
                <a:lnTo>
                  <a:pt x="282" y="721"/>
                </a:lnTo>
                <a:lnTo>
                  <a:pt x="283" y="722"/>
                </a:lnTo>
                <a:lnTo>
                  <a:pt x="283" y="722"/>
                </a:lnTo>
                <a:lnTo>
                  <a:pt x="287" y="727"/>
                </a:lnTo>
                <a:lnTo>
                  <a:pt x="290" y="731"/>
                </a:lnTo>
                <a:lnTo>
                  <a:pt x="290" y="731"/>
                </a:lnTo>
                <a:lnTo>
                  <a:pt x="292" y="731"/>
                </a:lnTo>
                <a:lnTo>
                  <a:pt x="294" y="731"/>
                </a:lnTo>
                <a:lnTo>
                  <a:pt x="299" y="731"/>
                </a:lnTo>
                <a:lnTo>
                  <a:pt x="303" y="732"/>
                </a:lnTo>
                <a:lnTo>
                  <a:pt x="303" y="732"/>
                </a:lnTo>
                <a:lnTo>
                  <a:pt x="310" y="734"/>
                </a:lnTo>
                <a:lnTo>
                  <a:pt x="313" y="735"/>
                </a:lnTo>
                <a:lnTo>
                  <a:pt x="317" y="737"/>
                </a:lnTo>
                <a:lnTo>
                  <a:pt x="317" y="737"/>
                </a:lnTo>
                <a:lnTo>
                  <a:pt x="323" y="740"/>
                </a:lnTo>
                <a:lnTo>
                  <a:pt x="324" y="740"/>
                </a:lnTo>
                <a:lnTo>
                  <a:pt x="326" y="742"/>
                </a:lnTo>
                <a:lnTo>
                  <a:pt x="326" y="742"/>
                </a:lnTo>
                <a:lnTo>
                  <a:pt x="326" y="744"/>
                </a:lnTo>
                <a:lnTo>
                  <a:pt x="324" y="745"/>
                </a:lnTo>
                <a:lnTo>
                  <a:pt x="321" y="748"/>
                </a:lnTo>
                <a:lnTo>
                  <a:pt x="321" y="748"/>
                </a:lnTo>
                <a:lnTo>
                  <a:pt x="323" y="751"/>
                </a:lnTo>
                <a:lnTo>
                  <a:pt x="324" y="752"/>
                </a:lnTo>
                <a:lnTo>
                  <a:pt x="326" y="754"/>
                </a:lnTo>
                <a:lnTo>
                  <a:pt x="326" y="754"/>
                </a:lnTo>
                <a:lnTo>
                  <a:pt x="324" y="755"/>
                </a:lnTo>
                <a:lnTo>
                  <a:pt x="323" y="755"/>
                </a:lnTo>
                <a:lnTo>
                  <a:pt x="320" y="757"/>
                </a:lnTo>
                <a:lnTo>
                  <a:pt x="320" y="757"/>
                </a:lnTo>
                <a:lnTo>
                  <a:pt x="320" y="757"/>
                </a:lnTo>
                <a:lnTo>
                  <a:pt x="320" y="758"/>
                </a:lnTo>
                <a:lnTo>
                  <a:pt x="320" y="761"/>
                </a:lnTo>
                <a:lnTo>
                  <a:pt x="323" y="764"/>
                </a:lnTo>
                <a:lnTo>
                  <a:pt x="323" y="764"/>
                </a:lnTo>
                <a:lnTo>
                  <a:pt x="321" y="768"/>
                </a:lnTo>
                <a:lnTo>
                  <a:pt x="320" y="772"/>
                </a:lnTo>
                <a:lnTo>
                  <a:pt x="320" y="772"/>
                </a:lnTo>
                <a:lnTo>
                  <a:pt x="319" y="774"/>
                </a:lnTo>
                <a:lnTo>
                  <a:pt x="314" y="774"/>
                </a:lnTo>
                <a:lnTo>
                  <a:pt x="307" y="772"/>
                </a:lnTo>
                <a:lnTo>
                  <a:pt x="307" y="772"/>
                </a:lnTo>
                <a:lnTo>
                  <a:pt x="304" y="774"/>
                </a:lnTo>
                <a:lnTo>
                  <a:pt x="300" y="776"/>
                </a:lnTo>
                <a:lnTo>
                  <a:pt x="297" y="779"/>
                </a:lnTo>
                <a:lnTo>
                  <a:pt x="294" y="781"/>
                </a:lnTo>
                <a:lnTo>
                  <a:pt x="294" y="781"/>
                </a:lnTo>
                <a:lnTo>
                  <a:pt x="293" y="782"/>
                </a:lnTo>
                <a:lnTo>
                  <a:pt x="293" y="784"/>
                </a:lnTo>
                <a:lnTo>
                  <a:pt x="294" y="789"/>
                </a:lnTo>
                <a:lnTo>
                  <a:pt x="294" y="789"/>
                </a:lnTo>
                <a:lnTo>
                  <a:pt x="304" y="788"/>
                </a:lnTo>
                <a:lnTo>
                  <a:pt x="309" y="788"/>
                </a:lnTo>
                <a:lnTo>
                  <a:pt x="310" y="788"/>
                </a:lnTo>
                <a:lnTo>
                  <a:pt x="310" y="788"/>
                </a:lnTo>
                <a:lnTo>
                  <a:pt x="310" y="789"/>
                </a:lnTo>
                <a:lnTo>
                  <a:pt x="309" y="791"/>
                </a:lnTo>
                <a:lnTo>
                  <a:pt x="303" y="795"/>
                </a:lnTo>
                <a:lnTo>
                  <a:pt x="290" y="799"/>
                </a:lnTo>
                <a:lnTo>
                  <a:pt x="290" y="799"/>
                </a:lnTo>
                <a:lnTo>
                  <a:pt x="290" y="801"/>
                </a:lnTo>
                <a:lnTo>
                  <a:pt x="290" y="801"/>
                </a:lnTo>
                <a:lnTo>
                  <a:pt x="293" y="804"/>
                </a:lnTo>
                <a:lnTo>
                  <a:pt x="296" y="806"/>
                </a:lnTo>
                <a:lnTo>
                  <a:pt x="297" y="809"/>
                </a:lnTo>
                <a:lnTo>
                  <a:pt x="297" y="809"/>
                </a:lnTo>
                <a:lnTo>
                  <a:pt x="294" y="811"/>
                </a:lnTo>
                <a:lnTo>
                  <a:pt x="292" y="812"/>
                </a:lnTo>
                <a:lnTo>
                  <a:pt x="289" y="815"/>
                </a:lnTo>
                <a:lnTo>
                  <a:pt x="287" y="816"/>
                </a:lnTo>
                <a:lnTo>
                  <a:pt x="287" y="818"/>
                </a:lnTo>
                <a:lnTo>
                  <a:pt x="287" y="818"/>
                </a:lnTo>
                <a:lnTo>
                  <a:pt x="287" y="822"/>
                </a:lnTo>
                <a:lnTo>
                  <a:pt x="286" y="823"/>
                </a:lnTo>
                <a:lnTo>
                  <a:pt x="283" y="825"/>
                </a:lnTo>
                <a:lnTo>
                  <a:pt x="279" y="825"/>
                </a:lnTo>
                <a:lnTo>
                  <a:pt x="279" y="825"/>
                </a:lnTo>
                <a:lnTo>
                  <a:pt x="275" y="825"/>
                </a:lnTo>
                <a:lnTo>
                  <a:pt x="273" y="826"/>
                </a:lnTo>
                <a:lnTo>
                  <a:pt x="273" y="828"/>
                </a:lnTo>
                <a:lnTo>
                  <a:pt x="275" y="829"/>
                </a:lnTo>
                <a:lnTo>
                  <a:pt x="275" y="829"/>
                </a:lnTo>
                <a:lnTo>
                  <a:pt x="276" y="831"/>
                </a:lnTo>
                <a:lnTo>
                  <a:pt x="277" y="833"/>
                </a:lnTo>
                <a:lnTo>
                  <a:pt x="282" y="836"/>
                </a:lnTo>
                <a:lnTo>
                  <a:pt x="287" y="839"/>
                </a:lnTo>
                <a:lnTo>
                  <a:pt x="287" y="839"/>
                </a:lnTo>
                <a:lnTo>
                  <a:pt x="294" y="842"/>
                </a:lnTo>
                <a:lnTo>
                  <a:pt x="303" y="848"/>
                </a:lnTo>
                <a:lnTo>
                  <a:pt x="310" y="853"/>
                </a:lnTo>
                <a:lnTo>
                  <a:pt x="317" y="860"/>
                </a:lnTo>
                <a:lnTo>
                  <a:pt x="317" y="860"/>
                </a:lnTo>
                <a:lnTo>
                  <a:pt x="321" y="863"/>
                </a:lnTo>
                <a:lnTo>
                  <a:pt x="321" y="863"/>
                </a:lnTo>
                <a:lnTo>
                  <a:pt x="327" y="860"/>
                </a:lnTo>
                <a:lnTo>
                  <a:pt x="327" y="860"/>
                </a:lnTo>
                <a:lnTo>
                  <a:pt x="331" y="860"/>
                </a:lnTo>
                <a:lnTo>
                  <a:pt x="337" y="862"/>
                </a:lnTo>
                <a:lnTo>
                  <a:pt x="346" y="866"/>
                </a:lnTo>
                <a:lnTo>
                  <a:pt x="346" y="866"/>
                </a:lnTo>
                <a:lnTo>
                  <a:pt x="351" y="868"/>
                </a:lnTo>
                <a:lnTo>
                  <a:pt x="360" y="868"/>
                </a:lnTo>
                <a:lnTo>
                  <a:pt x="367" y="868"/>
                </a:lnTo>
                <a:lnTo>
                  <a:pt x="371" y="869"/>
                </a:lnTo>
                <a:lnTo>
                  <a:pt x="371" y="869"/>
                </a:lnTo>
                <a:lnTo>
                  <a:pt x="376" y="873"/>
                </a:lnTo>
                <a:lnTo>
                  <a:pt x="378" y="875"/>
                </a:lnTo>
                <a:lnTo>
                  <a:pt x="381" y="875"/>
                </a:lnTo>
                <a:lnTo>
                  <a:pt x="381" y="875"/>
                </a:lnTo>
                <a:lnTo>
                  <a:pt x="384" y="876"/>
                </a:lnTo>
                <a:lnTo>
                  <a:pt x="387" y="879"/>
                </a:lnTo>
                <a:lnTo>
                  <a:pt x="388" y="880"/>
                </a:lnTo>
                <a:lnTo>
                  <a:pt x="391" y="880"/>
                </a:lnTo>
                <a:lnTo>
                  <a:pt x="391" y="880"/>
                </a:lnTo>
                <a:lnTo>
                  <a:pt x="394" y="879"/>
                </a:lnTo>
                <a:lnTo>
                  <a:pt x="400" y="879"/>
                </a:lnTo>
                <a:lnTo>
                  <a:pt x="407" y="877"/>
                </a:lnTo>
                <a:lnTo>
                  <a:pt x="407" y="877"/>
                </a:lnTo>
                <a:lnTo>
                  <a:pt x="410" y="879"/>
                </a:lnTo>
                <a:lnTo>
                  <a:pt x="413" y="880"/>
                </a:lnTo>
                <a:lnTo>
                  <a:pt x="413" y="880"/>
                </a:lnTo>
                <a:lnTo>
                  <a:pt x="415" y="882"/>
                </a:lnTo>
                <a:lnTo>
                  <a:pt x="415" y="886"/>
                </a:lnTo>
                <a:lnTo>
                  <a:pt x="417" y="889"/>
                </a:lnTo>
                <a:lnTo>
                  <a:pt x="418" y="890"/>
                </a:lnTo>
                <a:lnTo>
                  <a:pt x="418" y="890"/>
                </a:lnTo>
                <a:lnTo>
                  <a:pt x="421" y="890"/>
                </a:lnTo>
                <a:lnTo>
                  <a:pt x="424" y="893"/>
                </a:lnTo>
                <a:lnTo>
                  <a:pt x="428" y="896"/>
                </a:lnTo>
                <a:lnTo>
                  <a:pt x="432" y="897"/>
                </a:lnTo>
                <a:lnTo>
                  <a:pt x="432" y="897"/>
                </a:lnTo>
                <a:lnTo>
                  <a:pt x="437" y="899"/>
                </a:lnTo>
                <a:lnTo>
                  <a:pt x="440" y="902"/>
                </a:lnTo>
                <a:lnTo>
                  <a:pt x="442" y="905"/>
                </a:lnTo>
                <a:lnTo>
                  <a:pt x="445" y="906"/>
                </a:lnTo>
                <a:lnTo>
                  <a:pt x="445" y="906"/>
                </a:lnTo>
                <a:lnTo>
                  <a:pt x="447" y="906"/>
                </a:lnTo>
                <a:lnTo>
                  <a:pt x="450" y="907"/>
                </a:lnTo>
                <a:lnTo>
                  <a:pt x="451" y="907"/>
                </a:lnTo>
                <a:lnTo>
                  <a:pt x="452" y="906"/>
                </a:lnTo>
                <a:lnTo>
                  <a:pt x="452" y="906"/>
                </a:lnTo>
                <a:lnTo>
                  <a:pt x="454" y="905"/>
                </a:lnTo>
                <a:lnTo>
                  <a:pt x="457" y="903"/>
                </a:lnTo>
                <a:lnTo>
                  <a:pt x="461" y="902"/>
                </a:lnTo>
                <a:lnTo>
                  <a:pt x="462" y="899"/>
                </a:lnTo>
                <a:lnTo>
                  <a:pt x="462" y="899"/>
                </a:lnTo>
                <a:lnTo>
                  <a:pt x="450" y="882"/>
                </a:lnTo>
                <a:lnTo>
                  <a:pt x="445" y="875"/>
                </a:lnTo>
                <a:lnTo>
                  <a:pt x="444" y="870"/>
                </a:lnTo>
                <a:lnTo>
                  <a:pt x="444" y="870"/>
                </a:lnTo>
                <a:lnTo>
                  <a:pt x="445" y="865"/>
                </a:lnTo>
                <a:lnTo>
                  <a:pt x="445" y="859"/>
                </a:lnTo>
                <a:lnTo>
                  <a:pt x="444" y="855"/>
                </a:lnTo>
                <a:lnTo>
                  <a:pt x="438" y="849"/>
                </a:lnTo>
                <a:lnTo>
                  <a:pt x="438" y="849"/>
                </a:lnTo>
                <a:lnTo>
                  <a:pt x="435" y="845"/>
                </a:lnTo>
                <a:lnTo>
                  <a:pt x="434" y="842"/>
                </a:lnTo>
                <a:lnTo>
                  <a:pt x="434" y="839"/>
                </a:lnTo>
                <a:lnTo>
                  <a:pt x="435" y="838"/>
                </a:lnTo>
                <a:lnTo>
                  <a:pt x="441" y="832"/>
                </a:lnTo>
                <a:lnTo>
                  <a:pt x="447" y="825"/>
                </a:lnTo>
                <a:lnTo>
                  <a:pt x="447" y="825"/>
                </a:lnTo>
                <a:lnTo>
                  <a:pt x="452" y="821"/>
                </a:lnTo>
                <a:lnTo>
                  <a:pt x="459" y="816"/>
                </a:lnTo>
                <a:lnTo>
                  <a:pt x="467" y="812"/>
                </a:lnTo>
                <a:lnTo>
                  <a:pt x="475" y="808"/>
                </a:lnTo>
                <a:lnTo>
                  <a:pt x="475" y="808"/>
                </a:lnTo>
                <a:lnTo>
                  <a:pt x="469" y="805"/>
                </a:lnTo>
                <a:lnTo>
                  <a:pt x="469" y="805"/>
                </a:lnTo>
                <a:lnTo>
                  <a:pt x="465" y="802"/>
                </a:lnTo>
                <a:lnTo>
                  <a:pt x="464" y="801"/>
                </a:lnTo>
                <a:lnTo>
                  <a:pt x="464" y="799"/>
                </a:lnTo>
                <a:lnTo>
                  <a:pt x="465" y="798"/>
                </a:lnTo>
                <a:lnTo>
                  <a:pt x="465" y="798"/>
                </a:lnTo>
                <a:lnTo>
                  <a:pt x="468" y="796"/>
                </a:lnTo>
                <a:lnTo>
                  <a:pt x="468" y="795"/>
                </a:lnTo>
                <a:lnTo>
                  <a:pt x="464" y="788"/>
                </a:lnTo>
                <a:lnTo>
                  <a:pt x="464" y="788"/>
                </a:lnTo>
                <a:lnTo>
                  <a:pt x="458" y="779"/>
                </a:lnTo>
                <a:lnTo>
                  <a:pt x="455" y="778"/>
                </a:lnTo>
                <a:lnTo>
                  <a:pt x="454" y="776"/>
                </a:lnTo>
                <a:lnTo>
                  <a:pt x="454" y="776"/>
                </a:lnTo>
                <a:lnTo>
                  <a:pt x="448" y="776"/>
                </a:lnTo>
                <a:lnTo>
                  <a:pt x="442" y="776"/>
                </a:lnTo>
                <a:lnTo>
                  <a:pt x="442" y="776"/>
                </a:lnTo>
                <a:lnTo>
                  <a:pt x="440" y="776"/>
                </a:lnTo>
                <a:lnTo>
                  <a:pt x="440" y="775"/>
                </a:lnTo>
                <a:lnTo>
                  <a:pt x="440" y="768"/>
                </a:lnTo>
                <a:lnTo>
                  <a:pt x="440" y="768"/>
                </a:lnTo>
                <a:lnTo>
                  <a:pt x="438" y="765"/>
                </a:lnTo>
                <a:lnTo>
                  <a:pt x="435" y="764"/>
                </a:lnTo>
                <a:lnTo>
                  <a:pt x="432" y="764"/>
                </a:lnTo>
                <a:lnTo>
                  <a:pt x="430" y="762"/>
                </a:lnTo>
                <a:lnTo>
                  <a:pt x="430" y="762"/>
                </a:lnTo>
                <a:lnTo>
                  <a:pt x="430" y="759"/>
                </a:lnTo>
                <a:lnTo>
                  <a:pt x="431" y="757"/>
                </a:lnTo>
                <a:lnTo>
                  <a:pt x="434" y="752"/>
                </a:lnTo>
                <a:lnTo>
                  <a:pt x="434" y="752"/>
                </a:lnTo>
                <a:lnTo>
                  <a:pt x="437" y="751"/>
                </a:lnTo>
                <a:lnTo>
                  <a:pt x="438" y="749"/>
                </a:lnTo>
                <a:lnTo>
                  <a:pt x="440" y="747"/>
                </a:lnTo>
                <a:lnTo>
                  <a:pt x="440" y="747"/>
                </a:lnTo>
                <a:lnTo>
                  <a:pt x="438" y="745"/>
                </a:lnTo>
                <a:lnTo>
                  <a:pt x="435" y="744"/>
                </a:lnTo>
                <a:lnTo>
                  <a:pt x="434" y="742"/>
                </a:lnTo>
                <a:lnTo>
                  <a:pt x="434" y="740"/>
                </a:lnTo>
                <a:lnTo>
                  <a:pt x="434" y="740"/>
                </a:lnTo>
                <a:lnTo>
                  <a:pt x="437" y="737"/>
                </a:lnTo>
                <a:lnTo>
                  <a:pt x="440" y="734"/>
                </a:lnTo>
                <a:lnTo>
                  <a:pt x="442" y="732"/>
                </a:lnTo>
                <a:lnTo>
                  <a:pt x="442" y="730"/>
                </a:lnTo>
                <a:lnTo>
                  <a:pt x="442" y="730"/>
                </a:lnTo>
                <a:lnTo>
                  <a:pt x="444" y="725"/>
                </a:lnTo>
                <a:lnTo>
                  <a:pt x="445" y="724"/>
                </a:lnTo>
                <a:lnTo>
                  <a:pt x="448" y="722"/>
                </a:lnTo>
                <a:lnTo>
                  <a:pt x="452" y="724"/>
                </a:lnTo>
                <a:lnTo>
                  <a:pt x="452" y="724"/>
                </a:lnTo>
                <a:lnTo>
                  <a:pt x="455" y="727"/>
                </a:lnTo>
                <a:lnTo>
                  <a:pt x="458" y="731"/>
                </a:lnTo>
                <a:lnTo>
                  <a:pt x="461" y="734"/>
                </a:lnTo>
                <a:lnTo>
                  <a:pt x="462" y="735"/>
                </a:lnTo>
                <a:lnTo>
                  <a:pt x="465" y="734"/>
                </a:lnTo>
                <a:lnTo>
                  <a:pt x="465" y="734"/>
                </a:lnTo>
                <a:lnTo>
                  <a:pt x="468" y="732"/>
                </a:lnTo>
                <a:lnTo>
                  <a:pt x="468" y="730"/>
                </a:lnTo>
                <a:lnTo>
                  <a:pt x="467" y="724"/>
                </a:lnTo>
                <a:lnTo>
                  <a:pt x="467" y="724"/>
                </a:lnTo>
                <a:lnTo>
                  <a:pt x="465" y="720"/>
                </a:lnTo>
                <a:lnTo>
                  <a:pt x="467" y="717"/>
                </a:lnTo>
                <a:lnTo>
                  <a:pt x="471" y="715"/>
                </a:lnTo>
                <a:lnTo>
                  <a:pt x="471" y="715"/>
                </a:lnTo>
                <a:lnTo>
                  <a:pt x="474" y="714"/>
                </a:lnTo>
                <a:lnTo>
                  <a:pt x="475" y="711"/>
                </a:lnTo>
                <a:lnTo>
                  <a:pt x="477" y="710"/>
                </a:lnTo>
                <a:lnTo>
                  <a:pt x="479" y="708"/>
                </a:lnTo>
                <a:lnTo>
                  <a:pt x="479" y="708"/>
                </a:lnTo>
                <a:lnTo>
                  <a:pt x="484" y="707"/>
                </a:lnTo>
                <a:lnTo>
                  <a:pt x="488" y="705"/>
                </a:lnTo>
                <a:lnTo>
                  <a:pt x="496" y="700"/>
                </a:lnTo>
                <a:lnTo>
                  <a:pt x="496" y="700"/>
                </a:lnTo>
                <a:lnTo>
                  <a:pt x="502" y="697"/>
                </a:lnTo>
                <a:lnTo>
                  <a:pt x="505" y="697"/>
                </a:lnTo>
                <a:lnTo>
                  <a:pt x="508" y="697"/>
                </a:lnTo>
                <a:lnTo>
                  <a:pt x="508" y="697"/>
                </a:lnTo>
                <a:lnTo>
                  <a:pt x="514" y="700"/>
                </a:lnTo>
                <a:lnTo>
                  <a:pt x="515" y="700"/>
                </a:lnTo>
                <a:lnTo>
                  <a:pt x="516" y="697"/>
                </a:lnTo>
                <a:lnTo>
                  <a:pt x="516" y="697"/>
                </a:lnTo>
                <a:lnTo>
                  <a:pt x="519" y="694"/>
                </a:lnTo>
                <a:lnTo>
                  <a:pt x="523" y="694"/>
                </a:lnTo>
                <a:lnTo>
                  <a:pt x="526" y="695"/>
                </a:lnTo>
                <a:lnTo>
                  <a:pt x="528" y="697"/>
                </a:lnTo>
                <a:lnTo>
                  <a:pt x="528" y="697"/>
                </a:lnTo>
                <a:lnTo>
                  <a:pt x="531" y="698"/>
                </a:lnTo>
                <a:lnTo>
                  <a:pt x="536" y="700"/>
                </a:lnTo>
                <a:lnTo>
                  <a:pt x="542" y="701"/>
                </a:lnTo>
                <a:lnTo>
                  <a:pt x="546" y="703"/>
                </a:lnTo>
                <a:lnTo>
                  <a:pt x="546" y="703"/>
                </a:lnTo>
                <a:lnTo>
                  <a:pt x="555" y="708"/>
                </a:lnTo>
                <a:lnTo>
                  <a:pt x="559" y="711"/>
                </a:lnTo>
                <a:lnTo>
                  <a:pt x="560" y="714"/>
                </a:lnTo>
                <a:lnTo>
                  <a:pt x="560" y="714"/>
                </a:lnTo>
                <a:lnTo>
                  <a:pt x="560" y="715"/>
                </a:lnTo>
                <a:lnTo>
                  <a:pt x="562" y="718"/>
                </a:lnTo>
                <a:lnTo>
                  <a:pt x="563" y="718"/>
                </a:lnTo>
                <a:lnTo>
                  <a:pt x="565" y="715"/>
                </a:lnTo>
                <a:lnTo>
                  <a:pt x="565" y="715"/>
                </a:lnTo>
                <a:lnTo>
                  <a:pt x="565" y="714"/>
                </a:lnTo>
                <a:lnTo>
                  <a:pt x="568" y="712"/>
                </a:lnTo>
                <a:lnTo>
                  <a:pt x="573" y="715"/>
                </a:lnTo>
                <a:lnTo>
                  <a:pt x="573" y="715"/>
                </a:lnTo>
                <a:lnTo>
                  <a:pt x="579" y="718"/>
                </a:lnTo>
                <a:lnTo>
                  <a:pt x="583" y="718"/>
                </a:lnTo>
                <a:lnTo>
                  <a:pt x="586" y="717"/>
                </a:lnTo>
                <a:lnTo>
                  <a:pt x="589" y="714"/>
                </a:lnTo>
                <a:lnTo>
                  <a:pt x="589" y="714"/>
                </a:lnTo>
                <a:lnTo>
                  <a:pt x="592" y="712"/>
                </a:lnTo>
                <a:lnTo>
                  <a:pt x="596" y="710"/>
                </a:lnTo>
                <a:lnTo>
                  <a:pt x="600" y="708"/>
                </a:lnTo>
                <a:lnTo>
                  <a:pt x="605" y="710"/>
                </a:lnTo>
                <a:lnTo>
                  <a:pt x="605" y="710"/>
                </a:lnTo>
                <a:lnTo>
                  <a:pt x="609" y="712"/>
                </a:lnTo>
                <a:lnTo>
                  <a:pt x="610" y="712"/>
                </a:lnTo>
                <a:lnTo>
                  <a:pt x="613" y="710"/>
                </a:lnTo>
                <a:lnTo>
                  <a:pt x="613" y="710"/>
                </a:lnTo>
                <a:lnTo>
                  <a:pt x="617" y="708"/>
                </a:lnTo>
                <a:lnTo>
                  <a:pt x="623" y="707"/>
                </a:lnTo>
                <a:lnTo>
                  <a:pt x="627" y="708"/>
                </a:lnTo>
                <a:lnTo>
                  <a:pt x="629" y="711"/>
                </a:lnTo>
                <a:lnTo>
                  <a:pt x="629" y="711"/>
                </a:lnTo>
                <a:lnTo>
                  <a:pt x="632" y="714"/>
                </a:lnTo>
                <a:lnTo>
                  <a:pt x="633" y="715"/>
                </a:lnTo>
                <a:lnTo>
                  <a:pt x="640" y="715"/>
                </a:lnTo>
                <a:lnTo>
                  <a:pt x="640" y="715"/>
                </a:lnTo>
                <a:lnTo>
                  <a:pt x="643" y="717"/>
                </a:lnTo>
                <a:lnTo>
                  <a:pt x="644" y="720"/>
                </a:lnTo>
                <a:lnTo>
                  <a:pt x="646" y="721"/>
                </a:lnTo>
                <a:lnTo>
                  <a:pt x="647" y="721"/>
                </a:lnTo>
                <a:lnTo>
                  <a:pt x="647" y="721"/>
                </a:lnTo>
                <a:lnTo>
                  <a:pt x="649" y="720"/>
                </a:lnTo>
                <a:lnTo>
                  <a:pt x="650" y="717"/>
                </a:lnTo>
                <a:lnTo>
                  <a:pt x="652" y="714"/>
                </a:lnTo>
                <a:lnTo>
                  <a:pt x="653" y="712"/>
                </a:lnTo>
                <a:lnTo>
                  <a:pt x="653" y="712"/>
                </a:lnTo>
                <a:lnTo>
                  <a:pt x="659" y="715"/>
                </a:lnTo>
                <a:lnTo>
                  <a:pt x="661" y="717"/>
                </a:lnTo>
                <a:lnTo>
                  <a:pt x="666" y="718"/>
                </a:lnTo>
                <a:lnTo>
                  <a:pt x="666" y="718"/>
                </a:lnTo>
                <a:lnTo>
                  <a:pt x="670" y="718"/>
                </a:lnTo>
                <a:lnTo>
                  <a:pt x="673" y="717"/>
                </a:lnTo>
                <a:lnTo>
                  <a:pt x="674" y="715"/>
                </a:lnTo>
                <a:lnTo>
                  <a:pt x="676" y="712"/>
                </a:lnTo>
                <a:lnTo>
                  <a:pt x="676" y="712"/>
                </a:lnTo>
                <a:lnTo>
                  <a:pt x="674" y="705"/>
                </a:lnTo>
                <a:lnTo>
                  <a:pt x="673" y="703"/>
                </a:lnTo>
                <a:lnTo>
                  <a:pt x="671" y="701"/>
                </a:lnTo>
                <a:lnTo>
                  <a:pt x="671" y="701"/>
                </a:lnTo>
                <a:lnTo>
                  <a:pt x="666" y="700"/>
                </a:lnTo>
                <a:lnTo>
                  <a:pt x="663" y="698"/>
                </a:lnTo>
                <a:lnTo>
                  <a:pt x="660" y="697"/>
                </a:lnTo>
                <a:lnTo>
                  <a:pt x="660" y="697"/>
                </a:lnTo>
                <a:lnTo>
                  <a:pt x="657" y="697"/>
                </a:lnTo>
                <a:lnTo>
                  <a:pt x="654" y="694"/>
                </a:lnTo>
                <a:lnTo>
                  <a:pt x="654" y="691"/>
                </a:lnTo>
                <a:lnTo>
                  <a:pt x="656" y="688"/>
                </a:lnTo>
                <a:lnTo>
                  <a:pt x="656" y="688"/>
                </a:lnTo>
                <a:lnTo>
                  <a:pt x="663" y="685"/>
                </a:lnTo>
                <a:lnTo>
                  <a:pt x="666" y="683"/>
                </a:lnTo>
                <a:lnTo>
                  <a:pt x="666" y="680"/>
                </a:lnTo>
                <a:lnTo>
                  <a:pt x="666" y="680"/>
                </a:lnTo>
                <a:lnTo>
                  <a:pt x="664" y="677"/>
                </a:lnTo>
                <a:lnTo>
                  <a:pt x="664" y="674"/>
                </a:lnTo>
                <a:lnTo>
                  <a:pt x="666" y="671"/>
                </a:lnTo>
                <a:lnTo>
                  <a:pt x="669" y="668"/>
                </a:lnTo>
                <a:lnTo>
                  <a:pt x="669" y="668"/>
                </a:lnTo>
                <a:lnTo>
                  <a:pt x="680" y="668"/>
                </a:lnTo>
                <a:lnTo>
                  <a:pt x="684" y="667"/>
                </a:lnTo>
                <a:lnTo>
                  <a:pt x="686" y="666"/>
                </a:lnTo>
                <a:lnTo>
                  <a:pt x="686" y="666"/>
                </a:lnTo>
                <a:lnTo>
                  <a:pt x="683" y="664"/>
                </a:lnTo>
                <a:lnTo>
                  <a:pt x="679" y="663"/>
                </a:lnTo>
                <a:lnTo>
                  <a:pt x="674" y="661"/>
                </a:lnTo>
                <a:lnTo>
                  <a:pt x="671" y="658"/>
                </a:lnTo>
                <a:lnTo>
                  <a:pt x="671" y="658"/>
                </a:lnTo>
                <a:lnTo>
                  <a:pt x="670" y="656"/>
                </a:lnTo>
                <a:lnTo>
                  <a:pt x="669" y="651"/>
                </a:lnTo>
                <a:lnTo>
                  <a:pt x="670" y="647"/>
                </a:lnTo>
                <a:lnTo>
                  <a:pt x="670" y="646"/>
                </a:lnTo>
                <a:lnTo>
                  <a:pt x="670" y="646"/>
                </a:lnTo>
                <a:lnTo>
                  <a:pt x="673" y="646"/>
                </a:lnTo>
                <a:lnTo>
                  <a:pt x="677" y="646"/>
                </a:lnTo>
                <a:lnTo>
                  <a:pt x="680" y="646"/>
                </a:lnTo>
                <a:lnTo>
                  <a:pt x="684" y="644"/>
                </a:lnTo>
                <a:lnTo>
                  <a:pt x="684" y="644"/>
                </a:lnTo>
                <a:lnTo>
                  <a:pt x="688" y="644"/>
                </a:lnTo>
                <a:lnTo>
                  <a:pt x="693" y="644"/>
                </a:lnTo>
                <a:lnTo>
                  <a:pt x="698" y="644"/>
                </a:lnTo>
                <a:lnTo>
                  <a:pt x="703" y="643"/>
                </a:lnTo>
                <a:lnTo>
                  <a:pt x="703" y="643"/>
                </a:lnTo>
                <a:lnTo>
                  <a:pt x="708" y="640"/>
                </a:lnTo>
                <a:lnTo>
                  <a:pt x="716" y="639"/>
                </a:lnTo>
                <a:lnTo>
                  <a:pt x="727" y="637"/>
                </a:lnTo>
                <a:lnTo>
                  <a:pt x="727" y="637"/>
                </a:lnTo>
                <a:lnTo>
                  <a:pt x="733" y="637"/>
                </a:lnTo>
                <a:lnTo>
                  <a:pt x="735" y="636"/>
                </a:lnTo>
                <a:lnTo>
                  <a:pt x="744" y="633"/>
                </a:lnTo>
                <a:lnTo>
                  <a:pt x="744" y="633"/>
                </a:lnTo>
                <a:lnTo>
                  <a:pt x="755" y="631"/>
                </a:lnTo>
                <a:lnTo>
                  <a:pt x="767" y="629"/>
                </a:lnTo>
                <a:lnTo>
                  <a:pt x="767" y="629"/>
                </a:lnTo>
                <a:lnTo>
                  <a:pt x="780" y="626"/>
                </a:lnTo>
                <a:lnTo>
                  <a:pt x="787" y="623"/>
                </a:lnTo>
                <a:lnTo>
                  <a:pt x="789" y="621"/>
                </a:lnTo>
                <a:lnTo>
                  <a:pt x="789" y="620"/>
                </a:lnTo>
                <a:lnTo>
                  <a:pt x="789" y="620"/>
                </a:lnTo>
                <a:lnTo>
                  <a:pt x="792" y="619"/>
                </a:lnTo>
                <a:lnTo>
                  <a:pt x="799" y="616"/>
                </a:lnTo>
                <a:lnTo>
                  <a:pt x="805" y="616"/>
                </a:lnTo>
                <a:lnTo>
                  <a:pt x="809" y="616"/>
                </a:lnTo>
                <a:lnTo>
                  <a:pt x="809" y="616"/>
                </a:lnTo>
                <a:lnTo>
                  <a:pt x="817" y="619"/>
                </a:lnTo>
                <a:lnTo>
                  <a:pt x="819" y="619"/>
                </a:lnTo>
                <a:lnTo>
                  <a:pt x="822" y="617"/>
                </a:lnTo>
                <a:lnTo>
                  <a:pt x="822" y="617"/>
                </a:lnTo>
                <a:lnTo>
                  <a:pt x="825" y="617"/>
                </a:lnTo>
                <a:lnTo>
                  <a:pt x="829" y="619"/>
                </a:lnTo>
                <a:lnTo>
                  <a:pt x="832" y="621"/>
                </a:lnTo>
                <a:lnTo>
                  <a:pt x="832" y="624"/>
                </a:lnTo>
                <a:lnTo>
                  <a:pt x="832" y="624"/>
                </a:lnTo>
                <a:lnTo>
                  <a:pt x="832" y="627"/>
                </a:lnTo>
                <a:lnTo>
                  <a:pt x="834" y="630"/>
                </a:lnTo>
                <a:lnTo>
                  <a:pt x="835" y="633"/>
                </a:lnTo>
                <a:lnTo>
                  <a:pt x="835" y="636"/>
                </a:lnTo>
                <a:lnTo>
                  <a:pt x="835" y="636"/>
                </a:lnTo>
                <a:lnTo>
                  <a:pt x="834" y="639"/>
                </a:lnTo>
                <a:lnTo>
                  <a:pt x="834" y="640"/>
                </a:lnTo>
                <a:lnTo>
                  <a:pt x="834" y="643"/>
                </a:lnTo>
                <a:lnTo>
                  <a:pt x="834" y="643"/>
                </a:lnTo>
                <a:lnTo>
                  <a:pt x="836" y="643"/>
                </a:lnTo>
                <a:lnTo>
                  <a:pt x="841" y="643"/>
                </a:lnTo>
                <a:lnTo>
                  <a:pt x="845" y="641"/>
                </a:lnTo>
                <a:lnTo>
                  <a:pt x="848" y="640"/>
                </a:lnTo>
                <a:lnTo>
                  <a:pt x="848" y="640"/>
                </a:lnTo>
                <a:lnTo>
                  <a:pt x="851" y="639"/>
                </a:lnTo>
                <a:lnTo>
                  <a:pt x="852" y="640"/>
                </a:lnTo>
                <a:lnTo>
                  <a:pt x="854" y="641"/>
                </a:lnTo>
                <a:lnTo>
                  <a:pt x="855" y="644"/>
                </a:lnTo>
                <a:lnTo>
                  <a:pt x="855" y="644"/>
                </a:lnTo>
                <a:lnTo>
                  <a:pt x="855" y="646"/>
                </a:lnTo>
                <a:lnTo>
                  <a:pt x="856" y="647"/>
                </a:lnTo>
                <a:lnTo>
                  <a:pt x="858" y="646"/>
                </a:lnTo>
                <a:lnTo>
                  <a:pt x="859" y="644"/>
                </a:lnTo>
                <a:lnTo>
                  <a:pt x="859" y="644"/>
                </a:lnTo>
                <a:lnTo>
                  <a:pt x="859" y="643"/>
                </a:lnTo>
                <a:lnTo>
                  <a:pt x="862" y="643"/>
                </a:lnTo>
                <a:lnTo>
                  <a:pt x="866" y="646"/>
                </a:lnTo>
                <a:lnTo>
                  <a:pt x="866" y="646"/>
                </a:lnTo>
                <a:lnTo>
                  <a:pt x="869" y="647"/>
                </a:lnTo>
                <a:lnTo>
                  <a:pt x="872" y="646"/>
                </a:lnTo>
                <a:lnTo>
                  <a:pt x="873" y="646"/>
                </a:lnTo>
                <a:lnTo>
                  <a:pt x="875" y="647"/>
                </a:lnTo>
                <a:lnTo>
                  <a:pt x="875" y="647"/>
                </a:lnTo>
                <a:lnTo>
                  <a:pt x="873" y="650"/>
                </a:lnTo>
                <a:lnTo>
                  <a:pt x="871" y="651"/>
                </a:lnTo>
                <a:lnTo>
                  <a:pt x="868" y="654"/>
                </a:lnTo>
                <a:lnTo>
                  <a:pt x="868" y="656"/>
                </a:lnTo>
                <a:lnTo>
                  <a:pt x="869" y="657"/>
                </a:lnTo>
                <a:lnTo>
                  <a:pt x="869" y="657"/>
                </a:lnTo>
                <a:lnTo>
                  <a:pt x="871" y="658"/>
                </a:lnTo>
                <a:lnTo>
                  <a:pt x="872" y="658"/>
                </a:lnTo>
                <a:lnTo>
                  <a:pt x="875" y="657"/>
                </a:lnTo>
                <a:lnTo>
                  <a:pt x="878" y="654"/>
                </a:lnTo>
                <a:lnTo>
                  <a:pt x="882" y="654"/>
                </a:lnTo>
                <a:lnTo>
                  <a:pt x="882" y="654"/>
                </a:lnTo>
                <a:lnTo>
                  <a:pt x="886" y="654"/>
                </a:lnTo>
                <a:lnTo>
                  <a:pt x="890" y="651"/>
                </a:lnTo>
                <a:lnTo>
                  <a:pt x="895" y="648"/>
                </a:lnTo>
                <a:lnTo>
                  <a:pt x="899" y="647"/>
                </a:lnTo>
                <a:lnTo>
                  <a:pt x="899" y="647"/>
                </a:lnTo>
                <a:lnTo>
                  <a:pt x="903" y="646"/>
                </a:lnTo>
                <a:lnTo>
                  <a:pt x="906" y="644"/>
                </a:lnTo>
                <a:lnTo>
                  <a:pt x="913" y="639"/>
                </a:lnTo>
                <a:lnTo>
                  <a:pt x="913" y="639"/>
                </a:lnTo>
                <a:lnTo>
                  <a:pt x="918" y="639"/>
                </a:lnTo>
                <a:lnTo>
                  <a:pt x="922" y="637"/>
                </a:lnTo>
                <a:lnTo>
                  <a:pt x="925" y="639"/>
                </a:lnTo>
                <a:lnTo>
                  <a:pt x="925" y="639"/>
                </a:lnTo>
                <a:lnTo>
                  <a:pt x="925" y="640"/>
                </a:lnTo>
                <a:lnTo>
                  <a:pt x="925" y="640"/>
                </a:lnTo>
                <a:lnTo>
                  <a:pt x="922" y="643"/>
                </a:lnTo>
                <a:lnTo>
                  <a:pt x="922" y="646"/>
                </a:lnTo>
                <a:lnTo>
                  <a:pt x="923" y="648"/>
                </a:lnTo>
                <a:lnTo>
                  <a:pt x="929" y="653"/>
                </a:lnTo>
                <a:lnTo>
                  <a:pt x="929" y="653"/>
                </a:lnTo>
                <a:lnTo>
                  <a:pt x="933" y="654"/>
                </a:lnTo>
                <a:lnTo>
                  <a:pt x="937" y="658"/>
                </a:lnTo>
                <a:lnTo>
                  <a:pt x="945" y="667"/>
                </a:lnTo>
                <a:lnTo>
                  <a:pt x="959" y="687"/>
                </a:lnTo>
                <a:lnTo>
                  <a:pt x="959" y="687"/>
                </a:lnTo>
                <a:lnTo>
                  <a:pt x="963" y="695"/>
                </a:lnTo>
                <a:lnTo>
                  <a:pt x="967" y="705"/>
                </a:lnTo>
                <a:lnTo>
                  <a:pt x="972" y="712"/>
                </a:lnTo>
                <a:lnTo>
                  <a:pt x="973" y="715"/>
                </a:lnTo>
                <a:lnTo>
                  <a:pt x="974" y="715"/>
                </a:lnTo>
                <a:lnTo>
                  <a:pt x="974" y="715"/>
                </a:lnTo>
                <a:lnTo>
                  <a:pt x="977" y="714"/>
                </a:lnTo>
                <a:lnTo>
                  <a:pt x="979" y="711"/>
                </a:lnTo>
                <a:lnTo>
                  <a:pt x="982" y="708"/>
                </a:lnTo>
                <a:lnTo>
                  <a:pt x="984" y="705"/>
                </a:lnTo>
                <a:lnTo>
                  <a:pt x="984" y="705"/>
                </a:lnTo>
                <a:lnTo>
                  <a:pt x="987" y="707"/>
                </a:lnTo>
                <a:lnTo>
                  <a:pt x="990" y="710"/>
                </a:lnTo>
                <a:lnTo>
                  <a:pt x="993" y="712"/>
                </a:lnTo>
                <a:lnTo>
                  <a:pt x="997" y="714"/>
                </a:lnTo>
                <a:lnTo>
                  <a:pt x="997" y="714"/>
                </a:lnTo>
                <a:lnTo>
                  <a:pt x="1004" y="717"/>
                </a:lnTo>
                <a:lnTo>
                  <a:pt x="1009" y="717"/>
                </a:lnTo>
                <a:lnTo>
                  <a:pt x="1013" y="717"/>
                </a:lnTo>
                <a:lnTo>
                  <a:pt x="1013" y="717"/>
                </a:lnTo>
                <a:lnTo>
                  <a:pt x="1020" y="714"/>
                </a:lnTo>
                <a:lnTo>
                  <a:pt x="1026" y="712"/>
                </a:lnTo>
                <a:lnTo>
                  <a:pt x="1028" y="712"/>
                </a:lnTo>
                <a:lnTo>
                  <a:pt x="1028" y="712"/>
                </a:lnTo>
                <a:lnTo>
                  <a:pt x="1034" y="715"/>
                </a:lnTo>
                <a:lnTo>
                  <a:pt x="1036" y="717"/>
                </a:lnTo>
                <a:lnTo>
                  <a:pt x="1038" y="721"/>
                </a:lnTo>
                <a:lnTo>
                  <a:pt x="1038" y="721"/>
                </a:lnTo>
                <a:lnTo>
                  <a:pt x="1041" y="725"/>
                </a:lnTo>
                <a:lnTo>
                  <a:pt x="1044" y="728"/>
                </a:lnTo>
                <a:lnTo>
                  <a:pt x="1046" y="728"/>
                </a:lnTo>
                <a:lnTo>
                  <a:pt x="1048" y="730"/>
                </a:lnTo>
                <a:lnTo>
                  <a:pt x="1048" y="730"/>
                </a:lnTo>
                <a:lnTo>
                  <a:pt x="1050" y="730"/>
                </a:lnTo>
                <a:lnTo>
                  <a:pt x="1051" y="731"/>
                </a:lnTo>
                <a:lnTo>
                  <a:pt x="1053" y="735"/>
                </a:lnTo>
                <a:lnTo>
                  <a:pt x="1053" y="735"/>
                </a:lnTo>
                <a:lnTo>
                  <a:pt x="1053" y="737"/>
                </a:lnTo>
                <a:lnTo>
                  <a:pt x="1056" y="740"/>
                </a:lnTo>
                <a:lnTo>
                  <a:pt x="1057" y="741"/>
                </a:lnTo>
                <a:lnTo>
                  <a:pt x="1060" y="742"/>
                </a:lnTo>
                <a:lnTo>
                  <a:pt x="1060" y="742"/>
                </a:lnTo>
                <a:lnTo>
                  <a:pt x="1067" y="741"/>
                </a:lnTo>
                <a:lnTo>
                  <a:pt x="1073" y="740"/>
                </a:lnTo>
                <a:lnTo>
                  <a:pt x="1073" y="740"/>
                </a:lnTo>
                <a:lnTo>
                  <a:pt x="1077" y="738"/>
                </a:lnTo>
                <a:lnTo>
                  <a:pt x="1078" y="738"/>
                </a:lnTo>
                <a:lnTo>
                  <a:pt x="1078" y="740"/>
                </a:lnTo>
                <a:lnTo>
                  <a:pt x="1078" y="740"/>
                </a:lnTo>
                <a:lnTo>
                  <a:pt x="1081" y="745"/>
                </a:lnTo>
                <a:lnTo>
                  <a:pt x="1084" y="748"/>
                </a:lnTo>
                <a:lnTo>
                  <a:pt x="1087" y="748"/>
                </a:lnTo>
                <a:lnTo>
                  <a:pt x="1087" y="748"/>
                </a:lnTo>
                <a:lnTo>
                  <a:pt x="1091" y="749"/>
                </a:lnTo>
                <a:lnTo>
                  <a:pt x="1094" y="749"/>
                </a:lnTo>
                <a:lnTo>
                  <a:pt x="1095" y="748"/>
                </a:lnTo>
                <a:lnTo>
                  <a:pt x="1095" y="748"/>
                </a:lnTo>
                <a:lnTo>
                  <a:pt x="1097" y="747"/>
                </a:lnTo>
                <a:lnTo>
                  <a:pt x="1100" y="745"/>
                </a:lnTo>
                <a:lnTo>
                  <a:pt x="1107" y="744"/>
                </a:lnTo>
                <a:lnTo>
                  <a:pt x="1107" y="744"/>
                </a:lnTo>
                <a:lnTo>
                  <a:pt x="1114" y="742"/>
                </a:lnTo>
                <a:lnTo>
                  <a:pt x="1118" y="741"/>
                </a:lnTo>
                <a:lnTo>
                  <a:pt x="1121" y="738"/>
                </a:lnTo>
                <a:lnTo>
                  <a:pt x="1121" y="738"/>
                </a:lnTo>
                <a:lnTo>
                  <a:pt x="1124" y="735"/>
                </a:lnTo>
                <a:lnTo>
                  <a:pt x="1127" y="734"/>
                </a:lnTo>
                <a:lnTo>
                  <a:pt x="1131" y="732"/>
                </a:lnTo>
                <a:lnTo>
                  <a:pt x="1134" y="731"/>
                </a:lnTo>
                <a:lnTo>
                  <a:pt x="1134" y="731"/>
                </a:lnTo>
                <a:lnTo>
                  <a:pt x="1138" y="727"/>
                </a:lnTo>
                <a:lnTo>
                  <a:pt x="1142" y="725"/>
                </a:lnTo>
                <a:lnTo>
                  <a:pt x="1144" y="724"/>
                </a:lnTo>
                <a:lnTo>
                  <a:pt x="1144" y="724"/>
                </a:lnTo>
                <a:lnTo>
                  <a:pt x="1145" y="721"/>
                </a:lnTo>
                <a:lnTo>
                  <a:pt x="1149" y="721"/>
                </a:lnTo>
                <a:lnTo>
                  <a:pt x="1152" y="720"/>
                </a:lnTo>
                <a:lnTo>
                  <a:pt x="1155" y="718"/>
                </a:lnTo>
                <a:lnTo>
                  <a:pt x="1155" y="718"/>
                </a:lnTo>
                <a:lnTo>
                  <a:pt x="1157" y="717"/>
                </a:lnTo>
                <a:lnTo>
                  <a:pt x="1159" y="717"/>
                </a:lnTo>
                <a:lnTo>
                  <a:pt x="1166" y="717"/>
                </a:lnTo>
                <a:lnTo>
                  <a:pt x="1166" y="717"/>
                </a:lnTo>
                <a:lnTo>
                  <a:pt x="1178" y="720"/>
                </a:lnTo>
                <a:lnTo>
                  <a:pt x="1188" y="721"/>
                </a:lnTo>
                <a:lnTo>
                  <a:pt x="1188" y="721"/>
                </a:lnTo>
                <a:lnTo>
                  <a:pt x="1189" y="721"/>
                </a:lnTo>
                <a:lnTo>
                  <a:pt x="1191" y="725"/>
                </a:lnTo>
                <a:lnTo>
                  <a:pt x="1192" y="728"/>
                </a:lnTo>
                <a:lnTo>
                  <a:pt x="1194" y="730"/>
                </a:lnTo>
                <a:lnTo>
                  <a:pt x="1194" y="730"/>
                </a:lnTo>
                <a:lnTo>
                  <a:pt x="1201" y="732"/>
                </a:lnTo>
                <a:lnTo>
                  <a:pt x="1203" y="735"/>
                </a:lnTo>
                <a:lnTo>
                  <a:pt x="1206" y="735"/>
                </a:lnTo>
                <a:lnTo>
                  <a:pt x="1206" y="735"/>
                </a:lnTo>
                <a:lnTo>
                  <a:pt x="1212" y="732"/>
                </a:lnTo>
                <a:lnTo>
                  <a:pt x="1216" y="732"/>
                </a:lnTo>
                <a:lnTo>
                  <a:pt x="1219" y="734"/>
                </a:lnTo>
                <a:lnTo>
                  <a:pt x="1219" y="734"/>
                </a:lnTo>
                <a:lnTo>
                  <a:pt x="1226" y="738"/>
                </a:lnTo>
                <a:lnTo>
                  <a:pt x="1229" y="738"/>
                </a:lnTo>
                <a:lnTo>
                  <a:pt x="1230" y="737"/>
                </a:lnTo>
                <a:lnTo>
                  <a:pt x="1230" y="737"/>
                </a:lnTo>
                <a:lnTo>
                  <a:pt x="1233" y="735"/>
                </a:lnTo>
                <a:lnTo>
                  <a:pt x="1238" y="734"/>
                </a:lnTo>
                <a:lnTo>
                  <a:pt x="1242" y="732"/>
                </a:lnTo>
                <a:lnTo>
                  <a:pt x="1245" y="731"/>
                </a:lnTo>
                <a:lnTo>
                  <a:pt x="1245" y="731"/>
                </a:lnTo>
                <a:lnTo>
                  <a:pt x="1246" y="725"/>
                </a:lnTo>
                <a:lnTo>
                  <a:pt x="1246" y="722"/>
                </a:lnTo>
                <a:lnTo>
                  <a:pt x="1245" y="721"/>
                </a:lnTo>
                <a:lnTo>
                  <a:pt x="1245" y="721"/>
                </a:lnTo>
                <a:lnTo>
                  <a:pt x="1240" y="715"/>
                </a:lnTo>
                <a:lnTo>
                  <a:pt x="1239" y="708"/>
                </a:lnTo>
                <a:lnTo>
                  <a:pt x="1239" y="708"/>
                </a:lnTo>
                <a:lnTo>
                  <a:pt x="1239" y="705"/>
                </a:lnTo>
                <a:lnTo>
                  <a:pt x="1242" y="704"/>
                </a:lnTo>
                <a:lnTo>
                  <a:pt x="1243" y="701"/>
                </a:lnTo>
                <a:lnTo>
                  <a:pt x="1246" y="700"/>
                </a:lnTo>
                <a:lnTo>
                  <a:pt x="1246" y="700"/>
                </a:lnTo>
                <a:lnTo>
                  <a:pt x="1248" y="697"/>
                </a:lnTo>
                <a:lnTo>
                  <a:pt x="1249" y="697"/>
                </a:lnTo>
                <a:lnTo>
                  <a:pt x="1255" y="694"/>
                </a:lnTo>
                <a:lnTo>
                  <a:pt x="1255" y="694"/>
                </a:lnTo>
                <a:lnTo>
                  <a:pt x="1256" y="690"/>
                </a:lnTo>
                <a:lnTo>
                  <a:pt x="1258" y="688"/>
                </a:lnTo>
                <a:lnTo>
                  <a:pt x="1260" y="688"/>
                </a:lnTo>
                <a:lnTo>
                  <a:pt x="1260" y="688"/>
                </a:lnTo>
                <a:lnTo>
                  <a:pt x="1266" y="691"/>
                </a:lnTo>
                <a:lnTo>
                  <a:pt x="1272" y="694"/>
                </a:lnTo>
                <a:lnTo>
                  <a:pt x="1272" y="694"/>
                </a:lnTo>
                <a:lnTo>
                  <a:pt x="1276" y="695"/>
                </a:lnTo>
                <a:lnTo>
                  <a:pt x="1282" y="695"/>
                </a:lnTo>
                <a:lnTo>
                  <a:pt x="1282" y="695"/>
                </a:lnTo>
                <a:lnTo>
                  <a:pt x="1287" y="697"/>
                </a:lnTo>
                <a:lnTo>
                  <a:pt x="1293" y="701"/>
                </a:lnTo>
                <a:lnTo>
                  <a:pt x="1293" y="701"/>
                </a:lnTo>
                <a:lnTo>
                  <a:pt x="1302" y="703"/>
                </a:lnTo>
                <a:lnTo>
                  <a:pt x="1306" y="704"/>
                </a:lnTo>
                <a:lnTo>
                  <a:pt x="1309" y="705"/>
                </a:lnTo>
                <a:lnTo>
                  <a:pt x="1309" y="705"/>
                </a:lnTo>
                <a:lnTo>
                  <a:pt x="1310" y="708"/>
                </a:lnTo>
                <a:lnTo>
                  <a:pt x="1310" y="712"/>
                </a:lnTo>
                <a:lnTo>
                  <a:pt x="1310" y="717"/>
                </a:lnTo>
                <a:lnTo>
                  <a:pt x="1312" y="720"/>
                </a:lnTo>
                <a:lnTo>
                  <a:pt x="1312" y="720"/>
                </a:lnTo>
                <a:lnTo>
                  <a:pt x="1316" y="724"/>
                </a:lnTo>
                <a:lnTo>
                  <a:pt x="1319" y="727"/>
                </a:lnTo>
                <a:lnTo>
                  <a:pt x="1322" y="727"/>
                </a:lnTo>
                <a:lnTo>
                  <a:pt x="1322" y="727"/>
                </a:lnTo>
                <a:lnTo>
                  <a:pt x="1323" y="727"/>
                </a:lnTo>
                <a:lnTo>
                  <a:pt x="1327" y="728"/>
                </a:lnTo>
                <a:lnTo>
                  <a:pt x="1331" y="730"/>
                </a:lnTo>
                <a:lnTo>
                  <a:pt x="1336" y="731"/>
                </a:lnTo>
                <a:lnTo>
                  <a:pt x="1336" y="731"/>
                </a:lnTo>
                <a:lnTo>
                  <a:pt x="1341" y="728"/>
                </a:lnTo>
                <a:lnTo>
                  <a:pt x="1344" y="725"/>
                </a:lnTo>
                <a:lnTo>
                  <a:pt x="1347" y="725"/>
                </a:lnTo>
                <a:lnTo>
                  <a:pt x="1347" y="725"/>
                </a:lnTo>
                <a:lnTo>
                  <a:pt x="1354" y="724"/>
                </a:lnTo>
                <a:lnTo>
                  <a:pt x="1361" y="724"/>
                </a:lnTo>
                <a:lnTo>
                  <a:pt x="1361" y="724"/>
                </a:lnTo>
                <a:lnTo>
                  <a:pt x="1368" y="725"/>
                </a:lnTo>
                <a:lnTo>
                  <a:pt x="1373" y="727"/>
                </a:lnTo>
                <a:lnTo>
                  <a:pt x="1376" y="727"/>
                </a:lnTo>
                <a:lnTo>
                  <a:pt x="1376" y="727"/>
                </a:lnTo>
                <a:lnTo>
                  <a:pt x="1383" y="727"/>
                </a:lnTo>
                <a:lnTo>
                  <a:pt x="1386" y="728"/>
                </a:lnTo>
                <a:lnTo>
                  <a:pt x="1388" y="730"/>
                </a:lnTo>
                <a:lnTo>
                  <a:pt x="1388" y="730"/>
                </a:lnTo>
                <a:lnTo>
                  <a:pt x="1391" y="731"/>
                </a:lnTo>
                <a:lnTo>
                  <a:pt x="1396" y="732"/>
                </a:lnTo>
                <a:lnTo>
                  <a:pt x="1400" y="734"/>
                </a:lnTo>
                <a:lnTo>
                  <a:pt x="1401" y="735"/>
                </a:lnTo>
                <a:lnTo>
                  <a:pt x="1401" y="737"/>
                </a:lnTo>
                <a:lnTo>
                  <a:pt x="1401" y="737"/>
                </a:lnTo>
                <a:lnTo>
                  <a:pt x="1403" y="738"/>
                </a:lnTo>
                <a:lnTo>
                  <a:pt x="1405" y="741"/>
                </a:lnTo>
                <a:lnTo>
                  <a:pt x="1408" y="742"/>
                </a:lnTo>
                <a:lnTo>
                  <a:pt x="1410" y="745"/>
                </a:lnTo>
                <a:lnTo>
                  <a:pt x="1410" y="745"/>
                </a:lnTo>
                <a:lnTo>
                  <a:pt x="1411" y="747"/>
                </a:lnTo>
                <a:lnTo>
                  <a:pt x="1414" y="747"/>
                </a:lnTo>
                <a:lnTo>
                  <a:pt x="1420" y="748"/>
                </a:lnTo>
                <a:lnTo>
                  <a:pt x="1427" y="748"/>
                </a:lnTo>
                <a:lnTo>
                  <a:pt x="1431" y="749"/>
                </a:lnTo>
                <a:lnTo>
                  <a:pt x="1431" y="749"/>
                </a:lnTo>
                <a:lnTo>
                  <a:pt x="1435" y="749"/>
                </a:lnTo>
                <a:lnTo>
                  <a:pt x="1442" y="751"/>
                </a:lnTo>
                <a:lnTo>
                  <a:pt x="1448" y="749"/>
                </a:lnTo>
                <a:lnTo>
                  <a:pt x="1452" y="749"/>
                </a:lnTo>
                <a:lnTo>
                  <a:pt x="1452" y="749"/>
                </a:lnTo>
                <a:lnTo>
                  <a:pt x="1455" y="748"/>
                </a:lnTo>
                <a:lnTo>
                  <a:pt x="1461" y="747"/>
                </a:lnTo>
                <a:lnTo>
                  <a:pt x="1468" y="745"/>
                </a:lnTo>
                <a:lnTo>
                  <a:pt x="1472" y="744"/>
                </a:lnTo>
                <a:lnTo>
                  <a:pt x="1472" y="744"/>
                </a:lnTo>
                <a:lnTo>
                  <a:pt x="1477" y="742"/>
                </a:lnTo>
                <a:lnTo>
                  <a:pt x="1479" y="742"/>
                </a:lnTo>
                <a:lnTo>
                  <a:pt x="1484" y="741"/>
                </a:lnTo>
                <a:lnTo>
                  <a:pt x="1485" y="740"/>
                </a:lnTo>
                <a:lnTo>
                  <a:pt x="1485" y="740"/>
                </a:lnTo>
                <a:lnTo>
                  <a:pt x="1487" y="737"/>
                </a:lnTo>
                <a:lnTo>
                  <a:pt x="1491" y="734"/>
                </a:lnTo>
                <a:lnTo>
                  <a:pt x="1498" y="731"/>
                </a:lnTo>
                <a:lnTo>
                  <a:pt x="1498" y="731"/>
                </a:lnTo>
                <a:lnTo>
                  <a:pt x="1502" y="730"/>
                </a:lnTo>
                <a:lnTo>
                  <a:pt x="1509" y="728"/>
                </a:lnTo>
                <a:lnTo>
                  <a:pt x="1515" y="730"/>
                </a:lnTo>
                <a:lnTo>
                  <a:pt x="1518" y="731"/>
                </a:lnTo>
                <a:lnTo>
                  <a:pt x="1518" y="731"/>
                </a:lnTo>
                <a:lnTo>
                  <a:pt x="1521" y="734"/>
                </a:lnTo>
                <a:lnTo>
                  <a:pt x="1524" y="735"/>
                </a:lnTo>
                <a:lnTo>
                  <a:pt x="1528" y="735"/>
                </a:lnTo>
                <a:lnTo>
                  <a:pt x="1532" y="734"/>
                </a:lnTo>
                <a:lnTo>
                  <a:pt x="1532" y="734"/>
                </a:lnTo>
                <a:lnTo>
                  <a:pt x="1535" y="734"/>
                </a:lnTo>
                <a:lnTo>
                  <a:pt x="1541" y="734"/>
                </a:lnTo>
                <a:lnTo>
                  <a:pt x="1545" y="735"/>
                </a:lnTo>
                <a:lnTo>
                  <a:pt x="1548" y="738"/>
                </a:lnTo>
                <a:lnTo>
                  <a:pt x="1548" y="738"/>
                </a:lnTo>
                <a:lnTo>
                  <a:pt x="1549" y="740"/>
                </a:lnTo>
                <a:lnTo>
                  <a:pt x="1555" y="742"/>
                </a:lnTo>
                <a:lnTo>
                  <a:pt x="1563" y="742"/>
                </a:lnTo>
                <a:lnTo>
                  <a:pt x="1563" y="742"/>
                </a:lnTo>
                <a:lnTo>
                  <a:pt x="1570" y="738"/>
                </a:lnTo>
                <a:lnTo>
                  <a:pt x="1578" y="734"/>
                </a:lnTo>
                <a:lnTo>
                  <a:pt x="1578" y="734"/>
                </a:lnTo>
                <a:lnTo>
                  <a:pt x="1583" y="731"/>
                </a:lnTo>
                <a:lnTo>
                  <a:pt x="1585" y="730"/>
                </a:lnTo>
                <a:lnTo>
                  <a:pt x="1585" y="727"/>
                </a:lnTo>
                <a:lnTo>
                  <a:pt x="1585" y="727"/>
                </a:lnTo>
                <a:lnTo>
                  <a:pt x="1586" y="724"/>
                </a:lnTo>
                <a:lnTo>
                  <a:pt x="1588" y="720"/>
                </a:lnTo>
                <a:lnTo>
                  <a:pt x="1593" y="711"/>
                </a:lnTo>
                <a:lnTo>
                  <a:pt x="1593" y="711"/>
                </a:lnTo>
                <a:lnTo>
                  <a:pt x="1598" y="701"/>
                </a:lnTo>
                <a:lnTo>
                  <a:pt x="1600" y="697"/>
                </a:lnTo>
                <a:lnTo>
                  <a:pt x="1603" y="695"/>
                </a:lnTo>
                <a:lnTo>
                  <a:pt x="1603" y="695"/>
                </a:lnTo>
                <a:lnTo>
                  <a:pt x="1607" y="693"/>
                </a:lnTo>
                <a:lnTo>
                  <a:pt x="1609" y="690"/>
                </a:lnTo>
                <a:lnTo>
                  <a:pt x="1610" y="687"/>
                </a:lnTo>
                <a:lnTo>
                  <a:pt x="1610" y="687"/>
                </a:lnTo>
                <a:lnTo>
                  <a:pt x="1607" y="680"/>
                </a:lnTo>
                <a:lnTo>
                  <a:pt x="1606" y="677"/>
                </a:lnTo>
                <a:lnTo>
                  <a:pt x="1605" y="675"/>
                </a:lnTo>
                <a:lnTo>
                  <a:pt x="1605" y="675"/>
                </a:lnTo>
                <a:lnTo>
                  <a:pt x="1603" y="675"/>
                </a:lnTo>
                <a:lnTo>
                  <a:pt x="1600" y="675"/>
                </a:lnTo>
                <a:lnTo>
                  <a:pt x="1600" y="673"/>
                </a:lnTo>
                <a:lnTo>
                  <a:pt x="1603" y="667"/>
                </a:lnTo>
                <a:lnTo>
                  <a:pt x="1603" y="667"/>
                </a:lnTo>
                <a:lnTo>
                  <a:pt x="1606" y="664"/>
                </a:lnTo>
                <a:lnTo>
                  <a:pt x="1609" y="663"/>
                </a:lnTo>
                <a:lnTo>
                  <a:pt x="1616" y="661"/>
                </a:lnTo>
                <a:lnTo>
                  <a:pt x="1625" y="661"/>
                </a:lnTo>
                <a:lnTo>
                  <a:pt x="1625" y="661"/>
                </a:lnTo>
                <a:lnTo>
                  <a:pt x="1635" y="658"/>
                </a:lnTo>
                <a:lnTo>
                  <a:pt x="1642" y="658"/>
                </a:lnTo>
                <a:lnTo>
                  <a:pt x="1647" y="658"/>
                </a:lnTo>
                <a:lnTo>
                  <a:pt x="1647" y="658"/>
                </a:lnTo>
                <a:lnTo>
                  <a:pt x="1652" y="660"/>
                </a:lnTo>
                <a:lnTo>
                  <a:pt x="1656" y="660"/>
                </a:lnTo>
                <a:lnTo>
                  <a:pt x="1660" y="660"/>
                </a:lnTo>
                <a:lnTo>
                  <a:pt x="1666" y="661"/>
                </a:lnTo>
                <a:lnTo>
                  <a:pt x="1666" y="661"/>
                </a:lnTo>
                <a:lnTo>
                  <a:pt x="1671" y="664"/>
                </a:lnTo>
                <a:lnTo>
                  <a:pt x="1677" y="664"/>
                </a:lnTo>
                <a:lnTo>
                  <a:pt x="1681" y="666"/>
                </a:lnTo>
                <a:lnTo>
                  <a:pt x="1686" y="667"/>
                </a:lnTo>
                <a:lnTo>
                  <a:pt x="1686" y="667"/>
                </a:lnTo>
                <a:lnTo>
                  <a:pt x="1689" y="670"/>
                </a:lnTo>
                <a:lnTo>
                  <a:pt x="1691" y="673"/>
                </a:lnTo>
                <a:lnTo>
                  <a:pt x="1694" y="675"/>
                </a:lnTo>
                <a:lnTo>
                  <a:pt x="1696" y="677"/>
                </a:lnTo>
                <a:lnTo>
                  <a:pt x="1696" y="680"/>
                </a:lnTo>
                <a:lnTo>
                  <a:pt x="1696" y="680"/>
                </a:lnTo>
                <a:lnTo>
                  <a:pt x="1696" y="683"/>
                </a:lnTo>
                <a:lnTo>
                  <a:pt x="1699" y="684"/>
                </a:lnTo>
                <a:lnTo>
                  <a:pt x="1701" y="687"/>
                </a:lnTo>
                <a:lnTo>
                  <a:pt x="1703" y="694"/>
                </a:lnTo>
                <a:lnTo>
                  <a:pt x="1703" y="694"/>
                </a:lnTo>
                <a:lnTo>
                  <a:pt x="1706" y="701"/>
                </a:lnTo>
                <a:lnTo>
                  <a:pt x="1708" y="705"/>
                </a:lnTo>
                <a:lnTo>
                  <a:pt x="1711" y="710"/>
                </a:lnTo>
                <a:lnTo>
                  <a:pt x="1713" y="712"/>
                </a:lnTo>
                <a:lnTo>
                  <a:pt x="1713" y="712"/>
                </a:lnTo>
                <a:lnTo>
                  <a:pt x="1717" y="724"/>
                </a:lnTo>
                <a:lnTo>
                  <a:pt x="1720" y="728"/>
                </a:lnTo>
                <a:lnTo>
                  <a:pt x="1721" y="732"/>
                </a:lnTo>
                <a:lnTo>
                  <a:pt x="1721" y="732"/>
                </a:lnTo>
                <a:lnTo>
                  <a:pt x="1720" y="735"/>
                </a:lnTo>
                <a:lnTo>
                  <a:pt x="1720" y="738"/>
                </a:lnTo>
                <a:lnTo>
                  <a:pt x="1723" y="740"/>
                </a:lnTo>
                <a:lnTo>
                  <a:pt x="1727" y="741"/>
                </a:lnTo>
                <a:lnTo>
                  <a:pt x="1727" y="741"/>
                </a:lnTo>
                <a:lnTo>
                  <a:pt x="1733" y="742"/>
                </a:lnTo>
                <a:lnTo>
                  <a:pt x="1737" y="745"/>
                </a:lnTo>
                <a:lnTo>
                  <a:pt x="1740" y="747"/>
                </a:lnTo>
                <a:lnTo>
                  <a:pt x="1743" y="747"/>
                </a:lnTo>
                <a:lnTo>
                  <a:pt x="1743" y="747"/>
                </a:lnTo>
                <a:lnTo>
                  <a:pt x="1745" y="747"/>
                </a:lnTo>
                <a:lnTo>
                  <a:pt x="1750" y="748"/>
                </a:lnTo>
                <a:lnTo>
                  <a:pt x="1754" y="751"/>
                </a:lnTo>
                <a:lnTo>
                  <a:pt x="1758" y="754"/>
                </a:lnTo>
                <a:lnTo>
                  <a:pt x="1758" y="754"/>
                </a:lnTo>
                <a:lnTo>
                  <a:pt x="1763" y="757"/>
                </a:lnTo>
                <a:lnTo>
                  <a:pt x="1767" y="758"/>
                </a:lnTo>
                <a:lnTo>
                  <a:pt x="1770" y="759"/>
                </a:lnTo>
                <a:lnTo>
                  <a:pt x="1770" y="762"/>
                </a:lnTo>
                <a:lnTo>
                  <a:pt x="1770" y="762"/>
                </a:lnTo>
                <a:lnTo>
                  <a:pt x="1770" y="765"/>
                </a:lnTo>
                <a:lnTo>
                  <a:pt x="1771" y="769"/>
                </a:lnTo>
                <a:lnTo>
                  <a:pt x="1772" y="772"/>
                </a:lnTo>
                <a:lnTo>
                  <a:pt x="1774" y="775"/>
                </a:lnTo>
                <a:lnTo>
                  <a:pt x="1774" y="775"/>
                </a:lnTo>
                <a:lnTo>
                  <a:pt x="1774" y="778"/>
                </a:lnTo>
                <a:lnTo>
                  <a:pt x="1778" y="781"/>
                </a:lnTo>
                <a:lnTo>
                  <a:pt x="1784" y="782"/>
                </a:lnTo>
                <a:lnTo>
                  <a:pt x="1790" y="782"/>
                </a:lnTo>
                <a:lnTo>
                  <a:pt x="1790" y="782"/>
                </a:lnTo>
                <a:lnTo>
                  <a:pt x="1798" y="782"/>
                </a:lnTo>
                <a:lnTo>
                  <a:pt x="1801" y="781"/>
                </a:lnTo>
                <a:lnTo>
                  <a:pt x="1804" y="778"/>
                </a:lnTo>
                <a:lnTo>
                  <a:pt x="1804" y="778"/>
                </a:lnTo>
                <a:lnTo>
                  <a:pt x="1807" y="775"/>
                </a:lnTo>
                <a:lnTo>
                  <a:pt x="1811" y="774"/>
                </a:lnTo>
                <a:lnTo>
                  <a:pt x="1815" y="774"/>
                </a:lnTo>
                <a:lnTo>
                  <a:pt x="1819" y="772"/>
                </a:lnTo>
                <a:lnTo>
                  <a:pt x="1819" y="772"/>
                </a:lnTo>
                <a:lnTo>
                  <a:pt x="1822" y="771"/>
                </a:lnTo>
                <a:lnTo>
                  <a:pt x="1827" y="771"/>
                </a:lnTo>
                <a:lnTo>
                  <a:pt x="1831" y="771"/>
                </a:lnTo>
                <a:lnTo>
                  <a:pt x="1831" y="774"/>
                </a:lnTo>
                <a:lnTo>
                  <a:pt x="1832" y="776"/>
                </a:lnTo>
                <a:lnTo>
                  <a:pt x="1832" y="776"/>
                </a:lnTo>
                <a:lnTo>
                  <a:pt x="1832" y="781"/>
                </a:lnTo>
                <a:lnTo>
                  <a:pt x="1834" y="785"/>
                </a:lnTo>
                <a:lnTo>
                  <a:pt x="1834" y="786"/>
                </a:lnTo>
                <a:lnTo>
                  <a:pt x="1832" y="789"/>
                </a:lnTo>
                <a:lnTo>
                  <a:pt x="1832" y="789"/>
                </a:lnTo>
                <a:lnTo>
                  <a:pt x="1829" y="792"/>
                </a:lnTo>
                <a:lnTo>
                  <a:pt x="1827" y="798"/>
                </a:lnTo>
                <a:lnTo>
                  <a:pt x="1824" y="809"/>
                </a:lnTo>
                <a:lnTo>
                  <a:pt x="1824" y="809"/>
                </a:lnTo>
                <a:lnTo>
                  <a:pt x="1821" y="813"/>
                </a:lnTo>
                <a:lnTo>
                  <a:pt x="1818" y="815"/>
                </a:lnTo>
                <a:lnTo>
                  <a:pt x="1815" y="818"/>
                </a:lnTo>
                <a:lnTo>
                  <a:pt x="1814" y="822"/>
                </a:lnTo>
                <a:lnTo>
                  <a:pt x="1814" y="822"/>
                </a:lnTo>
                <a:lnTo>
                  <a:pt x="1812" y="825"/>
                </a:lnTo>
                <a:lnTo>
                  <a:pt x="1809" y="828"/>
                </a:lnTo>
                <a:lnTo>
                  <a:pt x="1808" y="829"/>
                </a:lnTo>
                <a:lnTo>
                  <a:pt x="1807" y="832"/>
                </a:lnTo>
                <a:lnTo>
                  <a:pt x="1807" y="832"/>
                </a:lnTo>
                <a:lnTo>
                  <a:pt x="1807" y="833"/>
                </a:lnTo>
                <a:lnTo>
                  <a:pt x="1805" y="835"/>
                </a:lnTo>
                <a:lnTo>
                  <a:pt x="1801" y="835"/>
                </a:lnTo>
                <a:lnTo>
                  <a:pt x="1797" y="835"/>
                </a:lnTo>
                <a:lnTo>
                  <a:pt x="1792" y="832"/>
                </a:lnTo>
                <a:lnTo>
                  <a:pt x="1792" y="832"/>
                </a:lnTo>
                <a:lnTo>
                  <a:pt x="1791" y="832"/>
                </a:lnTo>
                <a:lnTo>
                  <a:pt x="1788" y="832"/>
                </a:lnTo>
                <a:lnTo>
                  <a:pt x="1785" y="835"/>
                </a:lnTo>
                <a:lnTo>
                  <a:pt x="1782" y="838"/>
                </a:lnTo>
                <a:lnTo>
                  <a:pt x="1780" y="839"/>
                </a:lnTo>
                <a:lnTo>
                  <a:pt x="1780" y="839"/>
                </a:lnTo>
                <a:lnTo>
                  <a:pt x="1777" y="841"/>
                </a:lnTo>
                <a:lnTo>
                  <a:pt x="1775" y="843"/>
                </a:lnTo>
                <a:lnTo>
                  <a:pt x="1777" y="850"/>
                </a:lnTo>
                <a:lnTo>
                  <a:pt x="1777" y="850"/>
                </a:lnTo>
                <a:lnTo>
                  <a:pt x="1777" y="856"/>
                </a:lnTo>
                <a:lnTo>
                  <a:pt x="1777" y="859"/>
                </a:lnTo>
                <a:lnTo>
                  <a:pt x="1778" y="863"/>
                </a:lnTo>
                <a:lnTo>
                  <a:pt x="1778" y="863"/>
                </a:lnTo>
                <a:lnTo>
                  <a:pt x="1778" y="869"/>
                </a:lnTo>
                <a:lnTo>
                  <a:pt x="1778" y="879"/>
                </a:lnTo>
                <a:lnTo>
                  <a:pt x="1778" y="879"/>
                </a:lnTo>
                <a:lnTo>
                  <a:pt x="1787" y="873"/>
                </a:lnTo>
                <a:lnTo>
                  <a:pt x="1792" y="872"/>
                </a:lnTo>
                <a:lnTo>
                  <a:pt x="1792" y="872"/>
                </a:lnTo>
                <a:lnTo>
                  <a:pt x="1797" y="873"/>
                </a:lnTo>
                <a:lnTo>
                  <a:pt x="1801" y="876"/>
                </a:lnTo>
                <a:lnTo>
                  <a:pt x="1805" y="880"/>
                </a:lnTo>
                <a:lnTo>
                  <a:pt x="1811" y="882"/>
                </a:lnTo>
                <a:lnTo>
                  <a:pt x="1811" y="882"/>
                </a:lnTo>
                <a:lnTo>
                  <a:pt x="1814" y="880"/>
                </a:lnTo>
                <a:lnTo>
                  <a:pt x="1819" y="879"/>
                </a:lnTo>
                <a:lnTo>
                  <a:pt x="1831" y="872"/>
                </a:lnTo>
                <a:lnTo>
                  <a:pt x="1842" y="863"/>
                </a:lnTo>
                <a:lnTo>
                  <a:pt x="1848" y="859"/>
                </a:lnTo>
                <a:lnTo>
                  <a:pt x="1848" y="859"/>
                </a:lnTo>
                <a:lnTo>
                  <a:pt x="1851" y="853"/>
                </a:lnTo>
                <a:lnTo>
                  <a:pt x="1858" y="846"/>
                </a:lnTo>
                <a:lnTo>
                  <a:pt x="1873" y="829"/>
                </a:lnTo>
                <a:lnTo>
                  <a:pt x="1873" y="829"/>
                </a:lnTo>
                <a:lnTo>
                  <a:pt x="1886" y="813"/>
                </a:lnTo>
                <a:lnTo>
                  <a:pt x="1892" y="806"/>
                </a:lnTo>
                <a:lnTo>
                  <a:pt x="1898" y="798"/>
                </a:lnTo>
                <a:lnTo>
                  <a:pt x="1898" y="798"/>
                </a:lnTo>
                <a:lnTo>
                  <a:pt x="1901" y="792"/>
                </a:lnTo>
                <a:lnTo>
                  <a:pt x="1905" y="786"/>
                </a:lnTo>
                <a:lnTo>
                  <a:pt x="1915" y="775"/>
                </a:lnTo>
                <a:lnTo>
                  <a:pt x="1915" y="775"/>
                </a:lnTo>
                <a:lnTo>
                  <a:pt x="1918" y="769"/>
                </a:lnTo>
                <a:lnTo>
                  <a:pt x="1925" y="759"/>
                </a:lnTo>
                <a:lnTo>
                  <a:pt x="1925" y="759"/>
                </a:lnTo>
                <a:lnTo>
                  <a:pt x="1928" y="748"/>
                </a:lnTo>
                <a:lnTo>
                  <a:pt x="1929" y="734"/>
                </a:lnTo>
                <a:lnTo>
                  <a:pt x="1930" y="722"/>
                </a:lnTo>
                <a:lnTo>
                  <a:pt x="1930" y="717"/>
                </a:lnTo>
                <a:lnTo>
                  <a:pt x="1930" y="717"/>
                </a:lnTo>
                <a:lnTo>
                  <a:pt x="1932" y="712"/>
                </a:lnTo>
                <a:lnTo>
                  <a:pt x="1933" y="710"/>
                </a:lnTo>
                <a:lnTo>
                  <a:pt x="1935" y="707"/>
                </a:lnTo>
                <a:lnTo>
                  <a:pt x="1935" y="707"/>
                </a:lnTo>
                <a:lnTo>
                  <a:pt x="1936" y="701"/>
                </a:lnTo>
                <a:lnTo>
                  <a:pt x="1938" y="698"/>
                </a:lnTo>
                <a:lnTo>
                  <a:pt x="1940" y="695"/>
                </a:lnTo>
                <a:lnTo>
                  <a:pt x="1940" y="695"/>
                </a:lnTo>
                <a:lnTo>
                  <a:pt x="1942" y="693"/>
                </a:lnTo>
                <a:lnTo>
                  <a:pt x="1943" y="690"/>
                </a:lnTo>
                <a:lnTo>
                  <a:pt x="1943" y="684"/>
                </a:lnTo>
                <a:lnTo>
                  <a:pt x="1943" y="684"/>
                </a:lnTo>
                <a:lnTo>
                  <a:pt x="1942" y="678"/>
                </a:lnTo>
                <a:lnTo>
                  <a:pt x="1942" y="673"/>
                </a:lnTo>
                <a:lnTo>
                  <a:pt x="1942" y="673"/>
                </a:lnTo>
                <a:lnTo>
                  <a:pt x="1940" y="670"/>
                </a:lnTo>
                <a:lnTo>
                  <a:pt x="1943" y="668"/>
                </a:lnTo>
                <a:lnTo>
                  <a:pt x="1943" y="668"/>
                </a:lnTo>
                <a:lnTo>
                  <a:pt x="1945" y="666"/>
                </a:lnTo>
                <a:lnTo>
                  <a:pt x="1943" y="664"/>
                </a:lnTo>
                <a:lnTo>
                  <a:pt x="1938" y="660"/>
                </a:lnTo>
                <a:lnTo>
                  <a:pt x="1938" y="660"/>
                </a:lnTo>
                <a:lnTo>
                  <a:pt x="1932" y="657"/>
                </a:lnTo>
                <a:lnTo>
                  <a:pt x="1929" y="654"/>
                </a:lnTo>
                <a:lnTo>
                  <a:pt x="1928" y="651"/>
                </a:lnTo>
                <a:lnTo>
                  <a:pt x="1928" y="651"/>
                </a:lnTo>
                <a:lnTo>
                  <a:pt x="1926" y="648"/>
                </a:lnTo>
                <a:lnTo>
                  <a:pt x="1923" y="646"/>
                </a:lnTo>
                <a:lnTo>
                  <a:pt x="1919" y="643"/>
                </a:lnTo>
                <a:lnTo>
                  <a:pt x="1915" y="643"/>
                </a:lnTo>
                <a:lnTo>
                  <a:pt x="1915" y="643"/>
                </a:lnTo>
                <a:lnTo>
                  <a:pt x="1906" y="641"/>
                </a:lnTo>
                <a:lnTo>
                  <a:pt x="1902" y="641"/>
                </a:lnTo>
                <a:lnTo>
                  <a:pt x="1902" y="641"/>
                </a:lnTo>
                <a:lnTo>
                  <a:pt x="1902" y="643"/>
                </a:lnTo>
                <a:lnTo>
                  <a:pt x="1902" y="643"/>
                </a:lnTo>
                <a:lnTo>
                  <a:pt x="1902" y="646"/>
                </a:lnTo>
                <a:lnTo>
                  <a:pt x="1902" y="647"/>
                </a:lnTo>
                <a:lnTo>
                  <a:pt x="1901" y="648"/>
                </a:lnTo>
                <a:lnTo>
                  <a:pt x="1899" y="648"/>
                </a:lnTo>
                <a:lnTo>
                  <a:pt x="1899" y="648"/>
                </a:lnTo>
                <a:lnTo>
                  <a:pt x="1896" y="648"/>
                </a:lnTo>
                <a:lnTo>
                  <a:pt x="1895" y="650"/>
                </a:lnTo>
                <a:lnTo>
                  <a:pt x="1892" y="654"/>
                </a:lnTo>
                <a:lnTo>
                  <a:pt x="1892" y="654"/>
                </a:lnTo>
                <a:lnTo>
                  <a:pt x="1888" y="657"/>
                </a:lnTo>
                <a:lnTo>
                  <a:pt x="1883" y="658"/>
                </a:lnTo>
                <a:lnTo>
                  <a:pt x="1882" y="657"/>
                </a:lnTo>
                <a:lnTo>
                  <a:pt x="1882" y="657"/>
                </a:lnTo>
                <a:lnTo>
                  <a:pt x="1882" y="656"/>
                </a:lnTo>
                <a:lnTo>
                  <a:pt x="1882" y="656"/>
                </a:lnTo>
                <a:lnTo>
                  <a:pt x="1885" y="653"/>
                </a:lnTo>
                <a:lnTo>
                  <a:pt x="1883" y="650"/>
                </a:lnTo>
                <a:lnTo>
                  <a:pt x="1882" y="648"/>
                </a:lnTo>
                <a:lnTo>
                  <a:pt x="1882" y="646"/>
                </a:lnTo>
                <a:lnTo>
                  <a:pt x="1882" y="646"/>
                </a:lnTo>
                <a:lnTo>
                  <a:pt x="1883" y="640"/>
                </a:lnTo>
                <a:lnTo>
                  <a:pt x="1883" y="639"/>
                </a:lnTo>
                <a:lnTo>
                  <a:pt x="1882" y="640"/>
                </a:lnTo>
                <a:lnTo>
                  <a:pt x="1882" y="640"/>
                </a:lnTo>
                <a:lnTo>
                  <a:pt x="1878" y="643"/>
                </a:lnTo>
                <a:lnTo>
                  <a:pt x="1876" y="646"/>
                </a:lnTo>
                <a:lnTo>
                  <a:pt x="1873" y="648"/>
                </a:lnTo>
                <a:lnTo>
                  <a:pt x="1872" y="651"/>
                </a:lnTo>
                <a:lnTo>
                  <a:pt x="1872" y="651"/>
                </a:lnTo>
                <a:lnTo>
                  <a:pt x="1871" y="650"/>
                </a:lnTo>
                <a:lnTo>
                  <a:pt x="1869" y="648"/>
                </a:lnTo>
                <a:lnTo>
                  <a:pt x="1868" y="644"/>
                </a:lnTo>
                <a:lnTo>
                  <a:pt x="1869" y="634"/>
                </a:lnTo>
                <a:lnTo>
                  <a:pt x="1869" y="634"/>
                </a:lnTo>
                <a:lnTo>
                  <a:pt x="1869" y="633"/>
                </a:lnTo>
                <a:lnTo>
                  <a:pt x="1869" y="633"/>
                </a:lnTo>
                <a:lnTo>
                  <a:pt x="1865" y="633"/>
                </a:lnTo>
                <a:lnTo>
                  <a:pt x="1858" y="634"/>
                </a:lnTo>
                <a:lnTo>
                  <a:pt x="1851" y="634"/>
                </a:lnTo>
                <a:lnTo>
                  <a:pt x="1851" y="634"/>
                </a:lnTo>
                <a:lnTo>
                  <a:pt x="1846" y="633"/>
                </a:lnTo>
                <a:lnTo>
                  <a:pt x="1845" y="631"/>
                </a:lnTo>
                <a:lnTo>
                  <a:pt x="1845" y="630"/>
                </a:lnTo>
                <a:lnTo>
                  <a:pt x="1846" y="626"/>
                </a:lnTo>
                <a:lnTo>
                  <a:pt x="1852" y="621"/>
                </a:lnTo>
                <a:lnTo>
                  <a:pt x="1852" y="621"/>
                </a:lnTo>
                <a:lnTo>
                  <a:pt x="1856" y="619"/>
                </a:lnTo>
                <a:lnTo>
                  <a:pt x="1859" y="616"/>
                </a:lnTo>
                <a:lnTo>
                  <a:pt x="1861" y="614"/>
                </a:lnTo>
                <a:lnTo>
                  <a:pt x="1862" y="611"/>
                </a:lnTo>
                <a:lnTo>
                  <a:pt x="1862" y="611"/>
                </a:lnTo>
                <a:lnTo>
                  <a:pt x="1872" y="607"/>
                </a:lnTo>
                <a:lnTo>
                  <a:pt x="1883" y="600"/>
                </a:lnTo>
                <a:lnTo>
                  <a:pt x="1883" y="600"/>
                </a:lnTo>
                <a:lnTo>
                  <a:pt x="1886" y="597"/>
                </a:lnTo>
                <a:lnTo>
                  <a:pt x="1889" y="594"/>
                </a:lnTo>
                <a:lnTo>
                  <a:pt x="1892" y="589"/>
                </a:lnTo>
                <a:lnTo>
                  <a:pt x="1892" y="589"/>
                </a:lnTo>
                <a:lnTo>
                  <a:pt x="1895" y="584"/>
                </a:lnTo>
                <a:lnTo>
                  <a:pt x="1901" y="582"/>
                </a:lnTo>
                <a:lnTo>
                  <a:pt x="1915" y="572"/>
                </a:lnTo>
                <a:lnTo>
                  <a:pt x="1915" y="572"/>
                </a:lnTo>
                <a:lnTo>
                  <a:pt x="1926" y="560"/>
                </a:lnTo>
                <a:lnTo>
                  <a:pt x="1933" y="553"/>
                </a:lnTo>
                <a:lnTo>
                  <a:pt x="1933" y="553"/>
                </a:lnTo>
                <a:lnTo>
                  <a:pt x="1936" y="549"/>
                </a:lnTo>
                <a:lnTo>
                  <a:pt x="1942" y="545"/>
                </a:lnTo>
                <a:lnTo>
                  <a:pt x="1947" y="542"/>
                </a:lnTo>
                <a:lnTo>
                  <a:pt x="1950" y="538"/>
                </a:lnTo>
                <a:lnTo>
                  <a:pt x="1950" y="538"/>
                </a:lnTo>
                <a:lnTo>
                  <a:pt x="1953" y="535"/>
                </a:lnTo>
                <a:lnTo>
                  <a:pt x="1960" y="530"/>
                </a:lnTo>
                <a:lnTo>
                  <a:pt x="1970" y="525"/>
                </a:lnTo>
                <a:lnTo>
                  <a:pt x="1980" y="522"/>
                </a:lnTo>
                <a:lnTo>
                  <a:pt x="1980" y="522"/>
                </a:lnTo>
                <a:lnTo>
                  <a:pt x="1990" y="522"/>
                </a:lnTo>
                <a:lnTo>
                  <a:pt x="2002" y="522"/>
                </a:lnTo>
                <a:lnTo>
                  <a:pt x="2010" y="525"/>
                </a:lnTo>
                <a:lnTo>
                  <a:pt x="2016" y="526"/>
                </a:lnTo>
                <a:lnTo>
                  <a:pt x="2016" y="526"/>
                </a:lnTo>
                <a:lnTo>
                  <a:pt x="2017" y="529"/>
                </a:lnTo>
                <a:lnTo>
                  <a:pt x="2020" y="529"/>
                </a:lnTo>
                <a:lnTo>
                  <a:pt x="2024" y="526"/>
                </a:lnTo>
                <a:lnTo>
                  <a:pt x="2024" y="526"/>
                </a:lnTo>
                <a:lnTo>
                  <a:pt x="2026" y="525"/>
                </a:lnTo>
                <a:lnTo>
                  <a:pt x="2029" y="525"/>
                </a:lnTo>
                <a:lnTo>
                  <a:pt x="2039" y="526"/>
                </a:lnTo>
                <a:lnTo>
                  <a:pt x="2039" y="526"/>
                </a:lnTo>
                <a:lnTo>
                  <a:pt x="2044" y="526"/>
                </a:lnTo>
                <a:lnTo>
                  <a:pt x="2047" y="525"/>
                </a:lnTo>
                <a:lnTo>
                  <a:pt x="2050" y="523"/>
                </a:lnTo>
                <a:lnTo>
                  <a:pt x="2054" y="525"/>
                </a:lnTo>
                <a:lnTo>
                  <a:pt x="2054" y="525"/>
                </a:lnTo>
                <a:lnTo>
                  <a:pt x="2058" y="525"/>
                </a:lnTo>
                <a:lnTo>
                  <a:pt x="2061" y="525"/>
                </a:lnTo>
                <a:lnTo>
                  <a:pt x="2064" y="523"/>
                </a:lnTo>
                <a:lnTo>
                  <a:pt x="2067" y="520"/>
                </a:lnTo>
                <a:lnTo>
                  <a:pt x="2067" y="520"/>
                </a:lnTo>
                <a:lnTo>
                  <a:pt x="2068" y="518"/>
                </a:lnTo>
                <a:lnTo>
                  <a:pt x="2071" y="516"/>
                </a:lnTo>
                <a:lnTo>
                  <a:pt x="2078" y="516"/>
                </a:lnTo>
                <a:lnTo>
                  <a:pt x="2085" y="516"/>
                </a:lnTo>
                <a:lnTo>
                  <a:pt x="2090" y="518"/>
                </a:lnTo>
                <a:lnTo>
                  <a:pt x="2090" y="518"/>
                </a:lnTo>
                <a:lnTo>
                  <a:pt x="2095" y="522"/>
                </a:lnTo>
                <a:lnTo>
                  <a:pt x="2098" y="522"/>
                </a:lnTo>
                <a:lnTo>
                  <a:pt x="2103" y="520"/>
                </a:lnTo>
                <a:lnTo>
                  <a:pt x="2103" y="520"/>
                </a:lnTo>
                <a:lnTo>
                  <a:pt x="2104" y="519"/>
                </a:lnTo>
                <a:lnTo>
                  <a:pt x="2105" y="519"/>
                </a:lnTo>
                <a:lnTo>
                  <a:pt x="2107" y="522"/>
                </a:lnTo>
                <a:lnTo>
                  <a:pt x="2110" y="525"/>
                </a:lnTo>
                <a:lnTo>
                  <a:pt x="2112" y="526"/>
                </a:lnTo>
                <a:lnTo>
                  <a:pt x="2112" y="526"/>
                </a:lnTo>
                <a:lnTo>
                  <a:pt x="2115" y="528"/>
                </a:lnTo>
                <a:lnTo>
                  <a:pt x="2115" y="529"/>
                </a:lnTo>
                <a:lnTo>
                  <a:pt x="2114" y="530"/>
                </a:lnTo>
                <a:lnTo>
                  <a:pt x="2110" y="530"/>
                </a:lnTo>
                <a:lnTo>
                  <a:pt x="2110" y="530"/>
                </a:lnTo>
                <a:lnTo>
                  <a:pt x="2107" y="530"/>
                </a:lnTo>
                <a:lnTo>
                  <a:pt x="2104" y="532"/>
                </a:lnTo>
                <a:lnTo>
                  <a:pt x="2103" y="535"/>
                </a:lnTo>
                <a:lnTo>
                  <a:pt x="2105" y="536"/>
                </a:lnTo>
                <a:lnTo>
                  <a:pt x="2105" y="536"/>
                </a:lnTo>
                <a:lnTo>
                  <a:pt x="2110" y="538"/>
                </a:lnTo>
                <a:lnTo>
                  <a:pt x="2114" y="536"/>
                </a:lnTo>
                <a:lnTo>
                  <a:pt x="2118" y="535"/>
                </a:lnTo>
                <a:lnTo>
                  <a:pt x="2121" y="533"/>
                </a:lnTo>
                <a:lnTo>
                  <a:pt x="2121" y="533"/>
                </a:lnTo>
                <a:lnTo>
                  <a:pt x="2128" y="535"/>
                </a:lnTo>
                <a:lnTo>
                  <a:pt x="2134" y="533"/>
                </a:lnTo>
                <a:lnTo>
                  <a:pt x="2138" y="530"/>
                </a:lnTo>
                <a:lnTo>
                  <a:pt x="2138" y="530"/>
                </a:lnTo>
                <a:lnTo>
                  <a:pt x="2141" y="530"/>
                </a:lnTo>
                <a:lnTo>
                  <a:pt x="2144" y="530"/>
                </a:lnTo>
                <a:lnTo>
                  <a:pt x="2147" y="532"/>
                </a:lnTo>
                <a:lnTo>
                  <a:pt x="2149" y="530"/>
                </a:lnTo>
                <a:lnTo>
                  <a:pt x="2149" y="530"/>
                </a:lnTo>
                <a:lnTo>
                  <a:pt x="2152" y="529"/>
                </a:lnTo>
                <a:lnTo>
                  <a:pt x="2158" y="528"/>
                </a:lnTo>
                <a:lnTo>
                  <a:pt x="2167" y="526"/>
                </a:lnTo>
                <a:lnTo>
                  <a:pt x="2167" y="526"/>
                </a:lnTo>
                <a:lnTo>
                  <a:pt x="2168" y="526"/>
                </a:lnTo>
                <a:lnTo>
                  <a:pt x="2167" y="525"/>
                </a:lnTo>
                <a:lnTo>
                  <a:pt x="2164" y="522"/>
                </a:lnTo>
                <a:lnTo>
                  <a:pt x="2159" y="522"/>
                </a:lnTo>
                <a:lnTo>
                  <a:pt x="2159" y="522"/>
                </a:lnTo>
                <a:lnTo>
                  <a:pt x="2155" y="520"/>
                </a:lnTo>
                <a:lnTo>
                  <a:pt x="2154" y="519"/>
                </a:lnTo>
                <a:lnTo>
                  <a:pt x="2155" y="515"/>
                </a:lnTo>
                <a:lnTo>
                  <a:pt x="2158" y="508"/>
                </a:lnTo>
                <a:lnTo>
                  <a:pt x="2158" y="508"/>
                </a:lnTo>
                <a:lnTo>
                  <a:pt x="2164" y="502"/>
                </a:lnTo>
                <a:lnTo>
                  <a:pt x="2169" y="496"/>
                </a:lnTo>
                <a:lnTo>
                  <a:pt x="2182" y="488"/>
                </a:lnTo>
                <a:lnTo>
                  <a:pt x="2182" y="488"/>
                </a:lnTo>
                <a:lnTo>
                  <a:pt x="2186" y="485"/>
                </a:lnTo>
                <a:lnTo>
                  <a:pt x="2191" y="483"/>
                </a:lnTo>
                <a:lnTo>
                  <a:pt x="2192" y="482"/>
                </a:lnTo>
                <a:lnTo>
                  <a:pt x="2194" y="481"/>
                </a:lnTo>
                <a:lnTo>
                  <a:pt x="2194" y="481"/>
                </a:lnTo>
                <a:lnTo>
                  <a:pt x="2194" y="476"/>
                </a:lnTo>
                <a:lnTo>
                  <a:pt x="2196" y="472"/>
                </a:lnTo>
                <a:lnTo>
                  <a:pt x="2199" y="468"/>
                </a:lnTo>
                <a:lnTo>
                  <a:pt x="2202" y="466"/>
                </a:lnTo>
                <a:lnTo>
                  <a:pt x="2202" y="466"/>
                </a:lnTo>
                <a:lnTo>
                  <a:pt x="2215" y="466"/>
                </a:lnTo>
                <a:lnTo>
                  <a:pt x="2222" y="465"/>
                </a:lnTo>
                <a:lnTo>
                  <a:pt x="2229" y="464"/>
                </a:lnTo>
                <a:lnTo>
                  <a:pt x="2229" y="464"/>
                </a:lnTo>
                <a:lnTo>
                  <a:pt x="2233" y="462"/>
                </a:lnTo>
                <a:lnTo>
                  <a:pt x="2236" y="464"/>
                </a:lnTo>
                <a:lnTo>
                  <a:pt x="2238" y="466"/>
                </a:lnTo>
                <a:lnTo>
                  <a:pt x="2239" y="468"/>
                </a:lnTo>
                <a:lnTo>
                  <a:pt x="2239" y="468"/>
                </a:lnTo>
                <a:lnTo>
                  <a:pt x="2242" y="468"/>
                </a:lnTo>
                <a:lnTo>
                  <a:pt x="2245" y="465"/>
                </a:lnTo>
                <a:lnTo>
                  <a:pt x="2248" y="464"/>
                </a:lnTo>
                <a:lnTo>
                  <a:pt x="2250" y="464"/>
                </a:lnTo>
                <a:lnTo>
                  <a:pt x="2250" y="464"/>
                </a:lnTo>
                <a:lnTo>
                  <a:pt x="2252" y="465"/>
                </a:lnTo>
                <a:lnTo>
                  <a:pt x="2252" y="466"/>
                </a:lnTo>
                <a:lnTo>
                  <a:pt x="2249" y="469"/>
                </a:lnTo>
                <a:lnTo>
                  <a:pt x="2246" y="473"/>
                </a:lnTo>
                <a:lnTo>
                  <a:pt x="2243" y="478"/>
                </a:lnTo>
                <a:lnTo>
                  <a:pt x="2243" y="478"/>
                </a:lnTo>
                <a:lnTo>
                  <a:pt x="2243" y="482"/>
                </a:lnTo>
                <a:lnTo>
                  <a:pt x="2245" y="483"/>
                </a:lnTo>
                <a:lnTo>
                  <a:pt x="2249" y="483"/>
                </a:lnTo>
                <a:lnTo>
                  <a:pt x="2252" y="485"/>
                </a:lnTo>
                <a:lnTo>
                  <a:pt x="2252" y="485"/>
                </a:lnTo>
                <a:lnTo>
                  <a:pt x="2253" y="485"/>
                </a:lnTo>
                <a:lnTo>
                  <a:pt x="2253" y="486"/>
                </a:lnTo>
                <a:lnTo>
                  <a:pt x="2250" y="488"/>
                </a:lnTo>
                <a:lnTo>
                  <a:pt x="2249" y="489"/>
                </a:lnTo>
                <a:lnTo>
                  <a:pt x="2248" y="491"/>
                </a:lnTo>
                <a:lnTo>
                  <a:pt x="2248" y="491"/>
                </a:lnTo>
                <a:lnTo>
                  <a:pt x="2249" y="492"/>
                </a:lnTo>
                <a:lnTo>
                  <a:pt x="2253" y="492"/>
                </a:lnTo>
                <a:lnTo>
                  <a:pt x="2260" y="489"/>
                </a:lnTo>
                <a:lnTo>
                  <a:pt x="2268" y="482"/>
                </a:lnTo>
                <a:lnTo>
                  <a:pt x="2268" y="482"/>
                </a:lnTo>
                <a:lnTo>
                  <a:pt x="2275" y="476"/>
                </a:lnTo>
                <a:lnTo>
                  <a:pt x="2282" y="472"/>
                </a:lnTo>
                <a:lnTo>
                  <a:pt x="2287" y="471"/>
                </a:lnTo>
                <a:lnTo>
                  <a:pt x="2293" y="471"/>
                </a:lnTo>
                <a:lnTo>
                  <a:pt x="2293" y="471"/>
                </a:lnTo>
                <a:lnTo>
                  <a:pt x="2297" y="469"/>
                </a:lnTo>
                <a:lnTo>
                  <a:pt x="2297" y="466"/>
                </a:lnTo>
                <a:lnTo>
                  <a:pt x="2297" y="455"/>
                </a:lnTo>
                <a:lnTo>
                  <a:pt x="2297" y="455"/>
                </a:lnTo>
                <a:lnTo>
                  <a:pt x="2297" y="451"/>
                </a:lnTo>
                <a:lnTo>
                  <a:pt x="2300" y="448"/>
                </a:lnTo>
                <a:lnTo>
                  <a:pt x="2305" y="446"/>
                </a:lnTo>
                <a:lnTo>
                  <a:pt x="2309" y="445"/>
                </a:lnTo>
                <a:lnTo>
                  <a:pt x="2317" y="444"/>
                </a:lnTo>
                <a:lnTo>
                  <a:pt x="2324" y="445"/>
                </a:lnTo>
                <a:lnTo>
                  <a:pt x="2324" y="445"/>
                </a:lnTo>
                <a:lnTo>
                  <a:pt x="2329" y="446"/>
                </a:lnTo>
                <a:lnTo>
                  <a:pt x="2329" y="448"/>
                </a:lnTo>
                <a:lnTo>
                  <a:pt x="2327" y="449"/>
                </a:lnTo>
                <a:lnTo>
                  <a:pt x="2324" y="448"/>
                </a:lnTo>
                <a:lnTo>
                  <a:pt x="2324" y="448"/>
                </a:lnTo>
                <a:lnTo>
                  <a:pt x="2320" y="448"/>
                </a:lnTo>
                <a:lnTo>
                  <a:pt x="2316" y="451"/>
                </a:lnTo>
                <a:lnTo>
                  <a:pt x="2313" y="455"/>
                </a:lnTo>
                <a:lnTo>
                  <a:pt x="2312" y="461"/>
                </a:lnTo>
                <a:lnTo>
                  <a:pt x="2312" y="461"/>
                </a:lnTo>
                <a:lnTo>
                  <a:pt x="2312" y="466"/>
                </a:lnTo>
                <a:lnTo>
                  <a:pt x="2310" y="469"/>
                </a:lnTo>
                <a:lnTo>
                  <a:pt x="2309" y="472"/>
                </a:lnTo>
                <a:lnTo>
                  <a:pt x="2310" y="475"/>
                </a:lnTo>
                <a:lnTo>
                  <a:pt x="2310" y="475"/>
                </a:lnTo>
                <a:lnTo>
                  <a:pt x="2310" y="476"/>
                </a:lnTo>
                <a:lnTo>
                  <a:pt x="2309" y="478"/>
                </a:lnTo>
                <a:lnTo>
                  <a:pt x="2306" y="479"/>
                </a:lnTo>
                <a:lnTo>
                  <a:pt x="2305" y="482"/>
                </a:lnTo>
                <a:lnTo>
                  <a:pt x="2305" y="482"/>
                </a:lnTo>
                <a:lnTo>
                  <a:pt x="2305" y="486"/>
                </a:lnTo>
                <a:lnTo>
                  <a:pt x="2303" y="488"/>
                </a:lnTo>
                <a:lnTo>
                  <a:pt x="2300" y="489"/>
                </a:lnTo>
                <a:lnTo>
                  <a:pt x="2300" y="489"/>
                </a:lnTo>
                <a:lnTo>
                  <a:pt x="2287" y="492"/>
                </a:lnTo>
                <a:lnTo>
                  <a:pt x="2282" y="495"/>
                </a:lnTo>
                <a:lnTo>
                  <a:pt x="2280" y="496"/>
                </a:lnTo>
                <a:lnTo>
                  <a:pt x="2279" y="498"/>
                </a:lnTo>
                <a:lnTo>
                  <a:pt x="2279" y="498"/>
                </a:lnTo>
                <a:lnTo>
                  <a:pt x="2278" y="502"/>
                </a:lnTo>
                <a:lnTo>
                  <a:pt x="2273" y="505"/>
                </a:lnTo>
                <a:lnTo>
                  <a:pt x="2269" y="508"/>
                </a:lnTo>
                <a:lnTo>
                  <a:pt x="2266" y="512"/>
                </a:lnTo>
                <a:lnTo>
                  <a:pt x="2266" y="512"/>
                </a:lnTo>
                <a:lnTo>
                  <a:pt x="2260" y="518"/>
                </a:lnTo>
                <a:lnTo>
                  <a:pt x="2253" y="523"/>
                </a:lnTo>
                <a:lnTo>
                  <a:pt x="2245" y="530"/>
                </a:lnTo>
                <a:lnTo>
                  <a:pt x="2241" y="535"/>
                </a:lnTo>
                <a:lnTo>
                  <a:pt x="2236" y="540"/>
                </a:lnTo>
                <a:lnTo>
                  <a:pt x="2236" y="540"/>
                </a:lnTo>
                <a:lnTo>
                  <a:pt x="2232" y="545"/>
                </a:lnTo>
                <a:lnTo>
                  <a:pt x="2228" y="549"/>
                </a:lnTo>
                <a:lnTo>
                  <a:pt x="2219" y="553"/>
                </a:lnTo>
                <a:lnTo>
                  <a:pt x="2212" y="556"/>
                </a:lnTo>
                <a:lnTo>
                  <a:pt x="2211" y="557"/>
                </a:lnTo>
                <a:lnTo>
                  <a:pt x="2211" y="557"/>
                </a:lnTo>
                <a:lnTo>
                  <a:pt x="2211" y="557"/>
                </a:lnTo>
                <a:lnTo>
                  <a:pt x="2208" y="559"/>
                </a:lnTo>
                <a:lnTo>
                  <a:pt x="2204" y="560"/>
                </a:lnTo>
                <a:lnTo>
                  <a:pt x="2195" y="560"/>
                </a:lnTo>
                <a:lnTo>
                  <a:pt x="2195" y="560"/>
                </a:lnTo>
                <a:lnTo>
                  <a:pt x="2194" y="562"/>
                </a:lnTo>
                <a:lnTo>
                  <a:pt x="2194" y="563"/>
                </a:lnTo>
                <a:lnTo>
                  <a:pt x="2194" y="567"/>
                </a:lnTo>
                <a:lnTo>
                  <a:pt x="2194" y="573"/>
                </a:lnTo>
                <a:lnTo>
                  <a:pt x="2192" y="577"/>
                </a:lnTo>
                <a:lnTo>
                  <a:pt x="2189" y="580"/>
                </a:lnTo>
                <a:lnTo>
                  <a:pt x="2189" y="580"/>
                </a:lnTo>
                <a:lnTo>
                  <a:pt x="2184" y="589"/>
                </a:lnTo>
                <a:lnTo>
                  <a:pt x="2179" y="597"/>
                </a:lnTo>
                <a:lnTo>
                  <a:pt x="2175" y="607"/>
                </a:lnTo>
                <a:lnTo>
                  <a:pt x="2175" y="617"/>
                </a:lnTo>
                <a:lnTo>
                  <a:pt x="2175" y="617"/>
                </a:lnTo>
                <a:lnTo>
                  <a:pt x="2178" y="648"/>
                </a:lnTo>
                <a:lnTo>
                  <a:pt x="2181" y="666"/>
                </a:lnTo>
                <a:lnTo>
                  <a:pt x="2184" y="677"/>
                </a:lnTo>
                <a:lnTo>
                  <a:pt x="2184" y="677"/>
                </a:lnTo>
                <a:lnTo>
                  <a:pt x="2185" y="683"/>
                </a:lnTo>
                <a:lnTo>
                  <a:pt x="2186" y="691"/>
                </a:lnTo>
                <a:lnTo>
                  <a:pt x="2186" y="698"/>
                </a:lnTo>
                <a:lnTo>
                  <a:pt x="2189" y="704"/>
                </a:lnTo>
                <a:lnTo>
                  <a:pt x="2189" y="704"/>
                </a:lnTo>
                <a:lnTo>
                  <a:pt x="2191" y="707"/>
                </a:lnTo>
                <a:lnTo>
                  <a:pt x="2191" y="710"/>
                </a:lnTo>
                <a:lnTo>
                  <a:pt x="2192" y="712"/>
                </a:lnTo>
                <a:lnTo>
                  <a:pt x="2194" y="715"/>
                </a:lnTo>
                <a:lnTo>
                  <a:pt x="2194" y="715"/>
                </a:lnTo>
                <a:lnTo>
                  <a:pt x="2194" y="715"/>
                </a:lnTo>
                <a:lnTo>
                  <a:pt x="2195" y="714"/>
                </a:lnTo>
                <a:lnTo>
                  <a:pt x="2199" y="711"/>
                </a:lnTo>
                <a:lnTo>
                  <a:pt x="2209" y="701"/>
                </a:lnTo>
                <a:lnTo>
                  <a:pt x="2209" y="701"/>
                </a:lnTo>
                <a:lnTo>
                  <a:pt x="2213" y="698"/>
                </a:lnTo>
                <a:lnTo>
                  <a:pt x="2215" y="695"/>
                </a:lnTo>
                <a:lnTo>
                  <a:pt x="2216" y="694"/>
                </a:lnTo>
                <a:lnTo>
                  <a:pt x="2218" y="691"/>
                </a:lnTo>
                <a:lnTo>
                  <a:pt x="2218" y="691"/>
                </a:lnTo>
                <a:lnTo>
                  <a:pt x="2219" y="688"/>
                </a:lnTo>
                <a:lnTo>
                  <a:pt x="2221" y="684"/>
                </a:lnTo>
                <a:lnTo>
                  <a:pt x="2222" y="675"/>
                </a:lnTo>
                <a:lnTo>
                  <a:pt x="2222" y="675"/>
                </a:lnTo>
                <a:lnTo>
                  <a:pt x="2223" y="673"/>
                </a:lnTo>
                <a:lnTo>
                  <a:pt x="2226" y="671"/>
                </a:lnTo>
                <a:lnTo>
                  <a:pt x="2229" y="670"/>
                </a:lnTo>
                <a:lnTo>
                  <a:pt x="2232" y="668"/>
                </a:lnTo>
                <a:lnTo>
                  <a:pt x="2232" y="668"/>
                </a:lnTo>
                <a:lnTo>
                  <a:pt x="2235" y="667"/>
                </a:lnTo>
                <a:lnTo>
                  <a:pt x="2238" y="666"/>
                </a:lnTo>
                <a:lnTo>
                  <a:pt x="2245" y="666"/>
                </a:lnTo>
                <a:lnTo>
                  <a:pt x="2245" y="666"/>
                </a:lnTo>
                <a:lnTo>
                  <a:pt x="2245" y="664"/>
                </a:lnTo>
                <a:lnTo>
                  <a:pt x="2245" y="660"/>
                </a:lnTo>
                <a:lnTo>
                  <a:pt x="2243" y="651"/>
                </a:lnTo>
                <a:lnTo>
                  <a:pt x="2243" y="651"/>
                </a:lnTo>
                <a:lnTo>
                  <a:pt x="2243" y="650"/>
                </a:lnTo>
                <a:lnTo>
                  <a:pt x="2243" y="648"/>
                </a:lnTo>
                <a:lnTo>
                  <a:pt x="2248" y="644"/>
                </a:lnTo>
                <a:lnTo>
                  <a:pt x="2258" y="637"/>
                </a:lnTo>
                <a:lnTo>
                  <a:pt x="2258" y="637"/>
                </a:lnTo>
                <a:lnTo>
                  <a:pt x="2263" y="636"/>
                </a:lnTo>
                <a:lnTo>
                  <a:pt x="2268" y="636"/>
                </a:lnTo>
                <a:lnTo>
                  <a:pt x="2272" y="636"/>
                </a:lnTo>
                <a:lnTo>
                  <a:pt x="2275" y="636"/>
                </a:lnTo>
                <a:lnTo>
                  <a:pt x="2278" y="634"/>
                </a:lnTo>
                <a:lnTo>
                  <a:pt x="2278" y="634"/>
                </a:lnTo>
                <a:lnTo>
                  <a:pt x="2279" y="631"/>
                </a:lnTo>
                <a:lnTo>
                  <a:pt x="2280" y="630"/>
                </a:lnTo>
                <a:lnTo>
                  <a:pt x="2279" y="624"/>
                </a:lnTo>
                <a:lnTo>
                  <a:pt x="2276" y="621"/>
                </a:lnTo>
                <a:lnTo>
                  <a:pt x="2275" y="619"/>
                </a:lnTo>
                <a:lnTo>
                  <a:pt x="2275" y="619"/>
                </a:lnTo>
                <a:lnTo>
                  <a:pt x="2275" y="616"/>
                </a:lnTo>
                <a:lnTo>
                  <a:pt x="2275" y="614"/>
                </a:lnTo>
                <a:lnTo>
                  <a:pt x="2278" y="607"/>
                </a:lnTo>
                <a:lnTo>
                  <a:pt x="2282" y="602"/>
                </a:lnTo>
                <a:lnTo>
                  <a:pt x="2286" y="599"/>
                </a:lnTo>
                <a:lnTo>
                  <a:pt x="2286" y="599"/>
                </a:lnTo>
                <a:lnTo>
                  <a:pt x="2289" y="599"/>
                </a:lnTo>
                <a:lnTo>
                  <a:pt x="2292" y="599"/>
                </a:lnTo>
                <a:lnTo>
                  <a:pt x="2295" y="600"/>
                </a:lnTo>
                <a:lnTo>
                  <a:pt x="2299" y="597"/>
                </a:lnTo>
                <a:lnTo>
                  <a:pt x="2299" y="597"/>
                </a:lnTo>
                <a:lnTo>
                  <a:pt x="2299" y="596"/>
                </a:lnTo>
                <a:lnTo>
                  <a:pt x="2299" y="594"/>
                </a:lnTo>
                <a:lnTo>
                  <a:pt x="2297" y="590"/>
                </a:lnTo>
                <a:lnTo>
                  <a:pt x="2293" y="589"/>
                </a:lnTo>
                <a:lnTo>
                  <a:pt x="2290" y="587"/>
                </a:lnTo>
                <a:lnTo>
                  <a:pt x="2290" y="587"/>
                </a:lnTo>
                <a:lnTo>
                  <a:pt x="2289" y="587"/>
                </a:lnTo>
                <a:lnTo>
                  <a:pt x="2289" y="586"/>
                </a:lnTo>
                <a:lnTo>
                  <a:pt x="2287" y="580"/>
                </a:lnTo>
                <a:lnTo>
                  <a:pt x="2290" y="574"/>
                </a:lnTo>
                <a:lnTo>
                  <a:pt x="2292" y="572"/>
                </a:lnTo>
                <a:lnTo>
                  <a:pt x="2295" y="569"/>
                </a:lnTo>
                <a:lnTo>
                  <a:pt x="2295" y="569"/>
                </a:lnTo>
                <a:lnTo>
                  <a:pt x="2297" y="566"/>
                </a:lnTo>
                <a:lnTo>
                  <a:pt x="2299" y="563"/>
                </a:lnTo>
                <a:lnTo>
                  <a:pt x="2297" y="562"/>
                </a:lnTo>
                <a:lnTo>
                  <a:pt x="2293" y="560"/>
                </a:lnTo>
                <a:lnTo>
                  <a:pt x="2293" y="560"/>
                </a:lnTo>
                <a:lnTo>
                  <a:pt x="2290" y="560"/>
                </a:lnTo>
                <a:lnTo>
                  <a:pt x="2287" y="560"/>
                </a:lnTo>
                <a:lnTo>
                  <a:pt x="2283" y="562"/>
                </a:lnTo>
                <a:lnTo>
                  <a:pt x="2283" y="562"/>
                </a:lnTo>
                <a:lnTo>
                  <a:pt x="2280" y="560"/>
                </a:lnTo>
                <a:lnTo>
                  <a:pt x="2279" y="556"/>
                </a:lnTo>
                <a:lnTo>
                  <a:pt x="2279" y="550"/>
                </a:lnTo>
                <a:lnTo>
                  <a:pt x="2282" y="545"/>
                </a:lnTo>
                <a:lnTo>
                  <a:pt x="2282" y="545"/>
                </a:lnTo>
                <a:lnTo>
                  <a:pt x="2286" y="540"/>
                </a:lnTo>
                <a:lnTo>
                  <a:pt x="2290" y="538"/>
                </a:lnTo>
                <a:lnTo>
                  <a:pt x="2293" y="535"/>
                </a:lnTo>
                <a:lnTo>
                  <a:pt x="2295" y="530"/>
                </a:lnTo>
                <a:lnTo>
                  <a:pt x="2295" y="530"/>
                </a:lnTo>
                <a:lnTo>
                  <a:pt x="2297" y="525"/>
                </a:lnTo>
                <a:lnTo>
                  <a:pt x="2300" y="519"/>
                </a:lnTo>
                <a:lnTo>
                  <a:pt x="2307" y="510"/>
                </a:lnTo>
                <a:lnTo>
                  <a:pt x="2307" y="510"/>
                </a:lnTo>
                <a:lnTo>
                  <a:pt x="2310" y="509"/>
                </a:lnTo>
                <a:lnTo>
                  <a:pt x="2313" y="509"/>
                </a:lnTo>
                <a:lnTo>
                  <a:pt x="2322" y="509"/>
                </a:lnTo>
                <a:lnTo>
                  <a:pt x="2322" y="509"/>
                </a:lnTo>
                <a:lnTo>
                  <a:pt x="2323" y="510"/>
                </a:lnTo>
                <a:lnTo>
                  <a:pt x="2323" y="512"/>
                </a:lnTo>
                <a:lnTo>
                  <a:pt x="2324" y="513"/>
                </a:lnTo>
                <a:lnTo>
                  <a:pt x="2327" y="512"/>
                </a:lnTo>
                <a:lnTo>
                  <a:pt x="2327" y="512"/>
                </a:lnTo>
                <a:lnTo>
                  <a:pt x="2334" y="503"/>
                </a:lnTo>
                <a:lnTo>
                  <a:pt x="2339" y="499"/>
                </a:lnTo>
                <a:lnTo>
                  <a:pt x="2343" y="498"/>
                </a:lnTo>
                <a:lnTo>
                  <a:pt x="2343" y="498"/>
                </a:lnTo>
                <a:lnTo>
                  <a:pt x="2344" y="498"/>
                </a:lnTo>
                <a:lnTo>
                  <a:pt x="2346" y="499"/>
                </a:lnTo>
                <a:lnTo>
                  <a:pt x="2346" y="502"/>
                </a:lnTo>
                <a:lnTo>
                  <a:pt x="2346" y="506"/>
                </a:lnTo>
                <a:lnTo>
                  <a:pt x="2347" y="510"/>
                </a:lnTo>
                <a:lnTo>
                  <a:pt x="2347" y="510"/>
                </a:lnTo>
                <a:lnTo>
                  <a:pt x="2349" y="513"/>
                </a:lnTo>
                <a:lnTo>
                  <a:pt x="2350" y="512"/>
                </a:lnTo>
                <a:lnTo>
                  <a:pt x="2361" y="502"/>
                </a:lnTo>
                <a:lnTo>
                  <a:pt x="2361" y="502"/>
                </a:lnTo>
                <a:lnTo>
                  <a:pt x="2366" y="501"/>
                </a:lnTo>
                <a:lnTo>
                  <a:pt x="2371" y="499"/>
                </a:lnTo>
                <a:lnTo>
                  <a:pt x="2383" y="498"/>
                </a:lnTo>
                <a:lnTo>
                  <a:pt x="2394" y="498"/>
                </a:lnTo>
                <a:lnTo>
                  <a:pt x="2401" y="499"/>
                </a:lnTo>
                <a:lnTo>
                  <a:pt x="2401" y="499"/>
                </a:lnTo>
                <a:lnTo>
                  <a:pt x="2406" y="502"/>
                </a:lnTo>
                <a:lnTo>
                  <a:pt x="2408" y="506"/>
                </a:lnTo>
                <a:lnTo>
                  <a:pt x="2411" y="509"/>
                </a:lnTo>
                <a:lnTo>
                  <a:pt x="2414" y="509"/>
                </a:lnTo>
                <a:lnTo>
                  <a:pt x="2414" y="509"/>
                </a:lnTo>
                <a:lnTo>
                  <a:pt x="2415" y="508"/>
                </a:lnTo>
                <a:lnTo>
                  <a:pt x="2417" y="505"/>
                </a:lnTo>
                <a:lnTo>
                  <a:pt x="2417" y="502"/>
                </a:lnTo>
                <a:lnTo>
                  <a:pt x="2420" y="501"/>
                </a:lnTo>
                <a:lnTo>
                  <a:pt x="2420" y="501"/>
                </a:lnTo>
                <a:lnTo>
                  <a:pt x="2431" y="495"/>
                </a:lnTo>
                <a:lnTo>
                  <a:pt x="2444" y="488"/>
                </a:lnTo>
                <a:lnTo>
                  <a:pt x="2444" y="488"/>
                </a:lnTo>
                <a:lnTo>
                  <a:pt x="2450" y="483"/>
                </a:lnTo>
                <a:lnTo>
                  <a:pt x="2452" y="481"/>
                </a:lnTo>
                <a:lnTo>
                  <a:pt x="2452" y="481"/>
                </a:lnTo>
                <a:lnTo>
                  <a:pt x="2455" y="478"/>
                </a:lnTo>
                <a:lnTo>
                  <a:pt x="2458" y="476"/>
                </a:lnTo>
                <a:lnTo>
                  <a:pt x="2461" y="476"/>
                </a:lnTo>
                <a:lnTo>
                  <a:pt x="2462" y="475"/>
                </a:lnTo>
                <a:lnTo>
                  <a:pt x="2462" y="475"/>
                </a:lnTo>
                <a:lnTo>
                  <a:pt x="2465" y="472"/>
                </a:lnTo>
                <a:lnTo>
                  <a:pt x="2471" y="468"/>
                </a:lnTo>
                <a:lnTo>
                  <a:pt x="2478" y="465"/>
                </a:lnTo>
                <a:lnTo>
                  <a:pt x="2489" y="462"/>
                </a:lnTo>
                <a:lnTo>
                  <a:pt x="2489" y="462"/>
                </a:lnTo>
                <a:lnTo>
                  <a:pt x="2501" y="459"/>
                </a:lnTo>
                <a:lnTo>
                  <a:pt x="2512" y="454"/>
                </a:lnTo>
                <a:lnTo>
                  <a:pt x="2519" y="449"/>
                </a:lnTo>
                <a:lnTo>
                  <a:pt x="2522" y="448"/>
                </a:lnTo>
                <a:lnTo>
                  <a:pt x="2522" y="446"/>
                </a:lnTo>
                <a:lnTo>
                  <a:pt x="2522" y="446"/>
                </a:lnTo>
                <a:lnTo>
                  <a:pt x="2524" y="444"/>
                </a:lnTo>
                <a:lnTo>
                  <a:pt x="2525" y="444"/>
                </a:lnTo>
                <a:lnTo>
                  <a:pt x="2528" y="444"/>
                </a:lnTo>
                <a:lnTo>
                  <a:pt x="2529" y="445"/>
                </a:lnTo>
                <a:lnTo>
                  <a:pt x="2529" y="445"/>
                </a:lnTo>
                <a:lnTo>
                  <a:pt x="2531" y="446"/>
                </a:lnTo>
                <a:lnTo>
                  <a:pt x="2534" y="446"/>
                </a:lnTo>
                <a:lnTo>
                  <a:pt x="2544" y="448"/>
                </a:lnTo>
                <a:lnTo>
                  <a:pt x="2544" y="448"/>
                </a:lnTo>
                <a:lnTo>
                  <a:pt x="2552" y="451"/>
                </a:lnTo>
                <a:lnTo>
                  <a:pt x="2556" y="449"/>
                </a:lnTo>
                <a:lnTo>
                  <a:pt x="2561" y="446"/>
                </a:lnTo>
                <a:lnTo>
                  <a:pt x="2561" y="446"/>
                </a:lnTo>
                <a:lnTo>
                  <a:pt x="2563" y="442"/>
                </a:lnTo>
                <a:lnTo>
                  <a:pt x="2562" y="439"/>
                </a:lnTo>
                <a:lnTo>
                  <a:pt x="2561" y="436"/>
                </a:lnTo>
                <a:lnTo>
                  <a:pt x="2561" y="434"/>
                </a:lnTo>
                <a:lnTo>
                  <a:pt x="2561" y="434"/>
                </a:lnTo>
                <a:lnTo>
                  <a:pt x="2559" y="431"/>
                </a:lnTo>
                <a:lnTo>
                  <a:pt x="2555" y="427"/>
                </a:lnTo>
                <a:lnTo>
                  <a:pt x="2552" y="422"/>
                </a:lnTo>
                <a:lnTo>
                  <a:pt x="2551" y="421"/>
                </a:lnTo>
                <a:lnTo>
                  <a:pt x="2551" y="419"/>
                </a:lnTo>
                <a:lnTo>
                  <a:pt x="2551" y="419"/>
                </a:lnTo>
                <a:lnTo>
                  <a:pt x="2551" y="414"/>
                </a:lnTo>
                <a:lnTo>
                  <a:pt x="2546" y="408"/>
                </a:lnTo>
                <a:lnTo>
                  <a:pt x="2544" y="404"/>
                </a:lnTo>
                <a:lnTo>
                  <a:pt x="2541" y="404"/>
                </a:lnTo>
                <a:lnTo>
                  <a:pt x="2541" y="404"/>
                </a:lnTo>
                <a:lnTo>
                  <a:pt x="2541" y="404"/>
                </a:lnTo>
                <a:lnTo>
                  <a:pt x="2538" y="404"/>
                </a:lnTo>
                <a:lnTo>
                  <a:pt x="2534" y="402"/>
                </a:lnTo>
                <a:lnTo>
                  <a:pt x="2532" y="401"/>
                </a:lnTo>
                <a:lnTo>
                  <a:pt x="2531" y="398"/>
                </a:lnTo>
                <a:lnTo>
                  <a:pt x="2531" y="398"/>
                </a:lnTo>
                <a:lnTo>
                  <a:pt x="2529" y="392"/>
                </a:lnTo>
                <a:lnTo>
                  <a:pt x="2528" y="391"/>
                </a:lnTo>
                <a:lnTo>
                  <a:pt x="2525" y="392"/>
                </a:lnTo>
                <a:lnTo>
                  <a:pt x="2525" y="392"/>
                </a:lnTo>
                <a:lnTo>
                  <a:pt x="2522" y="394"/>
                </a:lnTo>
                <a:lnTo>
                  <a:pt x="2518" y="394"/>
                </a:lnTo>
                <a:lnTo>
                  <a:pt x="2514" y="392"/>
                </a:lnTo>
                <a:lnTo>
                  <a:pt x="2512" y="390"/>
                </a:lnTo>
                <a:lnTo>
                  <a:pt x="2512" y="390"/>
                </a:lnTo>
                <a:lnTo>
                  <a:pt x="2512" y="388"/>
                </a:lnTo>
                <a:lnTo>
                  <a:pt x="2512" y="387"/>
                </a:lnTo>
                <a:lnTo>
                  <a:pt x="2517" y="384"/>
                </a:lnTo>
                <a:lnTo>
                  <a:pt x="2522" y="384"/>
                </a:lnTo>
                <a:lnTo>
                  <a:pt x="2528" y="385"/>
                </a:lnTo>
                <a:lnTo>
                  <a:pt x="2528" y="385"/>
                </a:lnTo>
                <a:lnTo>
                  <a:pt x="2532" y="387"/>
                </a:lnTo>
                <a:lnTo>
                  <a:pt x="2534" y="390"/>
                </a:lnTo>
                <a:lnTo>
                  <a:pt x="2535" y="391"/>
                </a:lnTo>
                <a:lnTo>
                  <a:pt x="2536" y="392"/>
                </a:lnTo>
                <a:lnTo>
                  <a:pt x="2536" y="392"/>
                </a:lnTo>
                <a:lnTo>
                  <a:pt x="2541" y="394"/>
                </a:lnTo>
                <a:lnTo>
                  <a:pt x="2545" y="394"/>
                </a:lnTo>
                <a:lnTo>
                  <a:pt x="2551" y="392"/>
                </a:lnTo>
                <a:lnTo>
                  <a:pt x="2555" y="391"/>
                </a:lnTo>
                <a:lnTo>
                  <a:pt x="2555" y="391"/>
                </a:lnTo>
                <a:lnTo>
                  <a:pt x="2566" y="387"/>
                </a:lnTo>
                <a:lnTo>
                  <a:pt x="2572" y="384"/>
                </a:lnTo>
                <a:lnTo>
                  <a:pt x="2576" y="381"/>
                </a:lnTo>
                <a:lnTo>
                  <a:pt x="2576" y="381"/>
                </a:lnTo>
                <a:lnTo>
                  <a:pt x="2578" y="378"/>
                </a:lnTo>
                <a:lnTo>
                  <a:pt x="2578" y="375"/>
                </a:lnTo>
                <a:lnTo>
                  <a:pt x="2578" y="374"/>
                </a:lnTo>
                <a:lnTo>
                  <a:pt x="2581" y="372"/>
                </a:lnTo>
                <a:lnTo>
                  <a:pt x="2581" y="372"/>
                </a:lnTo>
                <a:lnTo>
                  <a:pt x="2583" y="370"/>
                </a:lnTo>
                <a:lnTo>
                  <a:pt x="2582" y="367"/>
                </a:lnTo>
                <a:lnTo>
                  <a:pt x="2581" y="365"/>
                </a:lnTo>
                <a:lnTo>
                  <a:pt x="2578" y="363"/>
                </a:lnTo>
                <a:lnTo>
                  <a:pt x="2578" y="363"/>
                </a:lnTo>
                <a:lnTo>
                  <a:pt x="2576" y="361"/>
                </a:lnTo>
                <a:lnTo>
                  <a:pt x="2575" y="358"/>
                </a:lnTo>
                <a:lnTo>
                  <a:pt x="2576" y="355"/>
                </a:lnTo>
                <a:lnTo>
                  <a:pt x="2579" y="355"/>
                </a:lnTo>
                <a:lnTo>
                  <a:pt x="2579" y="355"/>
                </a:lnTo>
                <a:lnTo>
                  <a:pt x="2581" y="354"/>
                </a:lnTo>
                <a:lnTo>
                  <a:pt x="2582" y="353"/>
                </a:lnTo>
                <a:lnTo>
                  <a:pt x="2583" y="351"/>
                </a:lnTo>
                <a:lnTo>
                  <a:pt x="2585" y="350"/>
                </a:lnTo>
                <a:lnTo>
                  <a:pt x="2585" y="350"/>
                </a:lnTo>
                <a:lnTo>
                  <a:pt x="2588" y="350"/>
                </a:lnTo>
                <a:lnTo>
                  <a:pt x="2590" y="350"/>
                </a:lnTo>
                <a:lnTo>
                  <a:pt x="2593" y="350"/>
                </a:lnTo>
                <a:lnTo>
                  <a:pt x="2593" y="350"/>
                </a:lnTo>
                <a:lnTo>
                  <a:pt x="2596" y="348"/>
                </a:lnTo>
                <a:lnTo>
                  <a:pt x="2595" y="351"/>
                </a:lnTo>
                <a:lnTo>
                  <a:pt x="2592" y="358"/>
                </a:lnTo>
                <a:lnTo>
                  <a:pt x="2592" y="358"/>
                </a:lnTo>
                <a:lnTo>
                  <a:pt x="2590" y="361"/>
                </a:lnTo>
                <a:lnTo>
                  <a:pt x="2593" y="364"/>
                </a:lnTo>
                <a:lnTo>
                  <a:pt x="2595" y="367"/>
                </a:lnTo>
                <a:lnTo>
                  <a:pt x="2598" y="368"/>
                </a:lnTo>
                <a:lnTo>
                  <a:pt x="2598" y="368"/>
                </a:lnTo>
                <a:lnTo>
                  <a:pt x="2599" y="370"/>
                </a:lnTo>
                <a:lnTo>
                  <a:pt x="2603" y="371"/>
                </a:lnTo>
                <a:lnTo>
                  <a:pt x="2609" y="371"/>
                </a:lnTo>
                <a:lnTo>
                  <a:pt x="2613" y="370"/>
                </a:lnTo>
                <a:lnTo>
                  <a:pt x="2613" y="370"/>
                </a:lnTo>
                <a:lnTo>
                  <a:pt x="2616" y="368"/>
                </a:lnTo>
                <a:lnTo>
                  <a:pt x="2620" y="368"/>
                </a:lnTo>
                <a:lnTo>
                  <a:pt x="2627" y="371"/>
                </a:lnTo>
                <a:lnTo>
                  <a:pt x="2635" y="374"/>
                </a:lnTo>
                <a:lnTo>
                  <a:pt x="2637" y="375"/>
                </a:lnTo>
                <a:lnTo>
                  <a:pt x="2639" y="377"/>
                </a:lnTo>
                <a:lnTo>
                  <a:pt x="2639" y="377"/>
                </a:lnTo>
                <a:lnTo>
                  <a:pt x="2640" y="381"/>
                </a:lnTo>
                <a:lnTo>
                  <a:pt x="2642" y="384"/>
                </a:lnTo>
                <a:lnTo>
                  <a:pt x="2645" y="388"/>
                </a:lnTo>
                <a:lnTo>
                  <a:pt x="2650" y="391"/>
                </a:lnTo>
                <a:lnTo>
                  <a:pt x="2650" y="391"/>
                </a:lnTo>
                <a:lnTo>
                  <a:pt x="2656" y="392"/>
                </a:lnTo>
                <a:lnTo>
                  <a:pt x="2660" y="394"/>
                </a:lnTo>
                <a:lnTo>
                  <a:pt x="2664" y="395"/>
                </a:lnTo>
                <a:lnTo>
                  <a:pt x="2666" y="397"/>
                </a:lnTo>
                <a:lnTo>
                  <a:pt x="2666" y="397"/>
                </a:lnTo>
                <a:lnTo>
                  <a:pt x="2667" y="400"/>
                </a:lnTo>
                <a:lnTo>
                  <a:pt x="2669" y="401"/>
                </a:lnTo>
                <a:lnTo>
                  <a:pt x="2672" y="401"/>
                </a:lnTo>
                <a:lnTo>
                  <a:pt x="2674" y="401"/>
                </a:lnTo>
                <a:lnTo>
                  <a:pt x="2674" y="401"/>
                </a:lnTo>
                <a:lnTo>
                  <a:pt x="2677" y="401"/>
                </a:lnTo>
                <a:lnTo>
                  <a:pt x="2680" y="402"/>
                </a:lnTo>
                <a:lnTo>
                  <a:pt x="2682" y="404"/>
                </a:lnTo>
                <a:lnTo>
                  <a:pt x="2684" y="402"/>
                </a:lnTo>
                <a:lnTo>
                  <a:pt x="2684" y="402"/>
                </a:lnTo>
                <a:lnTo>
                  <a:pt x="2686" y="401"/>
                </a:lnTo>
                <a:lnTo>
                  <a:pt x="2689" y="401"/>
                </a:lnTo>
                <a:lnTo>
                  <a:pt x="2690" y="402"/>
                </a:lnTo>
                <a:lnTo>
                  <a:pt x="2693" y="401"/>
                </a:lnTo>
                <a:lnTo>
                  <a:pt x="2693" y="401"/>
                </a:lnTo>
                <a:lnTo>
                  <a:pt x="2694" y="400"/>
                </a:lnTo>
                <a:lnTo>
                  <a:pt x="2693" y="398"/>
                </a:lnTo>
                <a:lnTo>
                  <a:pt x="2690" y="395"/>
                </a:lnTo>
                <a:lnTo>
                  <a:pt x="2687" y="394"/>
                </a:lnTo>
                <a:lnTo>
                  <a:pt x="2686" y="392"/>
                </a:lnTo>
                <a:lnTo>
                  <a:pt x="2686" y="391"/>
                </a:lnTo>
                <a:lnTo>
                  <a:pt x="2686" y="391"/>
                </a:lnTo>
                <a:lnTo>
                  <a:pt x="2687" y="391"/>
                </a:lnTo>
                <a:lnTo>
                  <a:pt x="2689" y="391"/>
                </a:lnTo>
                <a:lnTo>
                  <a:pt x="2691" y="392"/>
                </a:lnTo>
                <a:lnTo>
                  <a:pt x="2694" y="394"/>
                </a:lnTo>
                <a:lnTo>
                  <a:pt x="2694" y="394"/>
                </a:lnTo>
                <a:lnTo>
                  <a:pt x="2694" y="392"/>
                </a:lnTo>
                <a:lnTo>
                  <a:pt x="2694" y="390"/>
                </a:lnTo>
                <a:lnTo>
                  <a:pt x="2694" y="387"/>
                </a:lnTo>
                <a:lnTo>
                  <a:pt x="2696" y="385"/>
                </a:lnTo>
                <a:lnTo>
                  <a:pt x="2696" y="385"/>
                </a:lnTo>
                <a:lnTo>
                  <a:pt x="2696" y="382"/>
                </a:lnTo>
                <a:lnTo>
                  <a:pt x="2696" y="378"/>
                </a:lnTo>
                <a:lnTo>
                  <a:pt x="2694" y="372"/>
                </a:lnTo>
                <a:lnTo>
                  <a:pt x="2693" y="370"/>
                </a:lnTo>
                <a:lnTo>
                  <a:pt x="2693" y="370"/>
                </a:lnTo>
                <a:lnTo>
                  <a:pt x="2691" y="368"/>
                </a:lnTo>
                <a:lnTo>
                  <a:pt x="2693" y="367"/>
                </a:lnTo>
                <a:lnTo>
                  <a:pt x="2694" y="367"/>
                </a:lnTo>
                <a:lnTo>
                  <a:pt x="2699" y="368"/>
                </a:lnTo>
                <a:lnTo>
                  <a:pt x="2699" y="368"/>
                </a:lnTo>
                <a:lnTo>
                  <a:pt x="2703" y="370"/>
                </a:lnTo>
                <a:lnTo>
                  <a:pt x="2707" y="371"/>
                </a:lnTo>
                <a:lnTo>
                  <a:pt x="2716" y="371"/>
                </a:lnTo>
                <a:lnTo>
                  <a:pt x="2716" y="371"/>
                </a:lnTo>
                <a:lnTo>
                  <a:pt x="2717" y="371"/>
                </a:lnTo>
                <a:lnTo>
                  <a:pt x="2717" y="370"/>
                </a:lnTo>
                <a:lnTo>
                  <a:pt x="2716" y="368"/>
                </a:lnTo>
                <a:lnTo>
                  <a:pt x="2713" y="367"/>
                </a:lnTo>
                <a:lnTo>
                  <a:pt x="2713" y="367"/>
                </a:lnTo>
                <a:lnTo>
                  <a:pt x="2710" y="367"/>
                </a:lnTo>
                <a:lnTo>
                  <a:pt x="2711" y="365"/>
                </a:lnTo>
                <a:lnTo>
                  <a:pt x="2713" y="365"/>
                </a:lnTo>
                <a:lnTo>
                  <a:pt x="2716" y="365"/>
                </a:lnTo>
                <a:lnTo>
                  <a:pt x="2716" y="365"/>
                </a:lnTo>
                <a:lnTo>
                  <a:pt x="2721" y="368"/>
                </a:lnTo>
                <a:lnTo>
                  <a:pt x="2723" y="368"/>
                </a:lnTo>
                <a:lnTo>
                  <a:pt x="2724" y="367"/>
                </a:lnTo>
                <a:lnTo>
                  <a:pt x="2724" y="367"/>
                </a:lnTo>
                <a:lnTo>
                  <a:pt x="2727" y="361"/>
                </a:lnTo>
                <a:lnTo>
                  <a:pt x="2730" y="358"/>
                </a:lnTo>
                <a:lnTo>
                  <a:pt x="2733" y="358"/>
                </a:lnTo>
                <a:lnTo>
                  <a:pt x="2733" y="358"/>
                </a:lnTo>
                <a:lnTo>
                  <a:pt x="2736" y="358"/>
                </a:lnTo>
                <a:lnTo>
                  <a:pt x="2737" y="357"/>
                </a:lnTo>
                <a:lnTo>
                  <a:pt x="2737" y="355"/>
                </a:lnTo>
                <a:lnTo>
                  <a:pt x="2734" y="354"/>
                </a:lnTo>
                <a:lnTo>
                  <a:pt x="2734" y="354"/>
                </a:lnTo>
                <a:close/>
                <a:moveTo>
                  <a:pt x="1413" y="664"/>
                </a:moveTo>
                <a:lnTo>
                  <a:pt x="1413" y="664"/>
                </a:lnTo>
                <a:lnTo>
                  <a:pt x="1407" y="668"/>
                </a:lnTo>
                <a:lnTo>
                  <a:pt x="1400" y="673"/>
                </a:lnTo>
                <a:lnTo>
                  <a:pt x="1387" y="678"/>
                </a:lnTo>
                <a:lnTo>
                  <a:pt x="1376" y="683"/>
                </a:lnTo>
                <a:lnTo>
                  <a:pt x="1373" y="687"/>
                </a:lnTo>
                <a:lnTo>
                  <a:pt x="1371" y="690"/>
                </a:lnTo>
                <a:lnTo>
                  <a:pt x="1371" y="690"/>
                </a:lnTo>
                <a:lnTo>
                  <a:pt x="1370" y="693"/>
                </a:lnTo>
                <a:lnTo>
                  <a:pt x="1367" y="695"/>
                </a:lnTo>
                <a:lnTo>
                  <a:pt x="1361" y="698"/>
                </a:lnTo>
                <a:lnTo>
                  <a:pt x="1356" y="700"/>
                </a:lnTo>
                <a:lnTo>
                  <a:pt x="1343" y="701"/>
                </a:lnTo>
                <a:lnTo>
                  <a:pt x="1339" y="701"/>
                </a:lnTo>
                <a:lnTo>
                  <a:pt x="1336" y="700"/>
                </a:lnTo>
                <a:lnTo>
                  <a:pt x="1336" y="700"/>
                </a:lnTo>
                <a:lnTo>
                  <a:pt x="1337" y="698"/>
                </a:lnTo>
                <a:lnTo>
                  <a:pt x="1339" y="698"/>
                </a:lnTo>
                <a:lnTo>
                  <a:pt x="1349" y="694"/>
                </a:lnTo>
                <a:lnTo>
                  <a:pt x="1359" y="690"/>
                </a:lnTo>
                <a:lnTo>
                  <a:pt x="1364" y="685"/>
                </a:lnTo>
                <a:lnTo>
                  <a:pt x="1367" y="681"/>
                </a:lnTo>
                <a:lnTo>
                  <a:pt x="1367" y="681"/>
                </a:lnTo>
                <a:lnTo>
                  <a:pt x="1370" y="675"/>
                </a:lnTo>
                <a:lnTo>
                  <a:pt x="1374" y="671"/>
                </a:lnTo>
                <a:lnTo>
                  <a:pt x="1386" y="663"/>
                </a:lnTo>
                <a:lnTo>
                  <a:pt x="1398" y="653"/>
                </a:lnTo>
                <a:lnTo>
                  <a:pt x="1404" y="647"/>
                </a:lnTo>
                <a:lnTo>
                  <a:pt x="1410" y="640"/>
                </a:lnTo>
                <a:lnTo>
                  <a:pt x="1410" y="640"/>
                </a:lnTo>
                <a:lnTo>
                  <a:pt x="1415" y="630"/>
                </a:lnTo>
                <a:lnTo>
                  <a:pt x="1421" y="619"/>
                </a:lnTo>
                <a:lnTo>
                  <a:pt x="1425" y="610"/>
                </a:lnTo>
                <a:lnTo>
                  <a:pt x="1428" y="609"/>
                </a:lnTo>
                <a:lnTo>
                  <a:pt x="1430" y="607"/>
                </a:lnTo>
                <a:lnTo>
                  <a:pt x="1430" y="607"/>
                </a:lnTo>
                <a:lnTo>
                  <a:pt x="1431" y="610"/>
                </a:lnTo>
                <a:lnTo>
                  <a:pt x="1431" y="616"/>
                </a:lnTo>
                <a:lnTo>
                  <a:pt x="1428" y="633"/>
                </a:lnTo>
                <a:lnTo>
                  <a:pt x="1425" y="641"/>
                </a:lnTo>
                <a:lnTo>
                  <a:pt x="1421" y="651"/>
                </a:lnTo>
                <a:lnTo>
                  <a:pt x="1417" y="658"/>
                </a:lnTo>
                <a:lnTo>
                  <a:pt x="1413" y="664"/>
                </a:lnTo>
                <a:lnTo>
                  <a:pt x="1413" y="664"/>
                </a:lnTo>
                <a:close/>
                <a:moveTo>
                  <a:pt x="1472" y="108"/>
                </a:moveTo>
                <a:lnTo>
                  <a:pt x="1472" y="108"/>
                </a:lnTo>
                <a:lnTo>
                  <a:pt x="1469" y="111"/>
                </a:lnTo>
                <a:lnTo>
                  <a:pt x="1467" y="112"/>
                </a:lnTo>
                <a:lnTo>
                  <a:pt x="1464" y="114"/>
                </a:lnTo>
                <a:lnTo>
                  <a:pt x="1462" y="114"/>
                </a:lnTo>
                <a:lnTo>
                  <a:pt x="1464" y="115"/>
                </a:lnTo>
                <a:lnTo>
                  <a:pt x="1464" y="115"/>
                </a:lnTo>
                <a:lnTo>
                  <a:pt x="1465" y="118"/>
                </a:lnTo>
                <a:lnTo>
                  <a:pt x="1469" y="118"/>
                </a:lnTo>
                <a:lnTo>
                  <a:pt x="1479" y="118"/>
                </a:lnTo>
                <a:lnTo>
                  <a:pt x="1488" y="115"/>
                </a:lnTo>
                <a:lnTo>
                  <a:pt x="1491" y="114"/>
                </a:lnTo>
                <a:lnTo>
                  <a:pt x="1492" y="111"/>
                </a:lnTo>
                <a:lnTo>
                  <a:pt x="1492" y="111"/>
                </a:lnTo>
                <a:lnTo>
                  <a:pt x="1491" y="108"/>
                </a:lnTo>
                <a:lnTo>
                  <a:pt x="1489" y="106"/>
                </a:lnTo>
                <a:lnTo>
                  <a:pt x="1484" y="105"/>
                </a:lnTo>
                <a:lnTo>
                  <a:pt x="1477" y="105"/>
                </a:lnTo>
                <a:lnTo>
                  <a:pt x="1474" y="106"/>
                </a:lnTo>
                <a:lnTo>
                  <a:pt x="1472" y="108"/>
                </a:lnTo>
                <a:lnTo>
                  <a:pt x="1472" y="108"/>
                </a:lnTo>
                <a:close/>
                <a:moveTo>
                  <a:pt x="546" y="146"/>
                </a:moveTo>
                <a:lnTo>
                  <a:pt x="546" y="146"/>
                </a:lnTo>
                <a:lnTo>
                  <a:pt x="546" y="149"/>
                </a:lnTo>
                <a:lnTo>
                  <a:pt x="545" y="152"/>
                </a:lnTo>
                <a:lnTo>
                  <a:pt x="541" y="153"/>
                </a:lnTo>
                <a:lnTo>
                  <a:pt x="535" y="153"/>
                </a:lnTo>
                <a:lnTo>
                  <a:pt x="535" y="153"/>
                </a:lnTo>
                <a:lnTo>
                  <a:pt x="532" y="153"/>
                </a:lnTo>
                <a:lnTo>
                  <a:pt x="532" y="155"/>
                </a:lnTo>
                <a:lnTo>
                  <a:pt x="533" y="158"/>
                </a:lnTo>
                <a:lnTo>
                  <a:pt x="538" y="161"/>
                </a:lnTo>
                <a:lnTo>
                  <a:pt x="541" y="165"/>
                </a:lnTo>
                <a:lnTo>
                  <a:pt x="541" y="165"/>
                </a:lnTo>
                <a:lnTo>
                  <a:pt x="541" y="166"/>
                </a:lnTo>
                <a:lnTo>
                  <a:pt x="539" y="168"/>
                </a:lnTo>
                <a:lnTo>
                  <a:pt x="536" y="168"/>
                </a:lnTo>
                <a:lnTo>
                  <a:pt x="532" y="170"/>
                </a:lnTo>
                <a:lnTo>
                  <a:pt x="532" y="172"/>
                </a:lnTo>
                <a:lnTo>
                  <a:pt x="531" y="175"/>
                </a:lnTo>
                <a:lnTo>
                  <a:pt x="531" y="175"/>
                </a:lnTo>
                <a:lnTo>
                  <a:pt x="531" y="176"/>
                </a:lnTo>
                <a:lnTo>
                  <a:pt x="528" y="178"/>
                </a:lnTo>
                <a:lnTo>
                  <a:pt x="522" y="179"/>
                </a:lnTo>
                <a:lnTo>
                  <a:pt x="515" y="179"/>
                </a:lnTo>
                <a:lnTo>
                  <a:pt x="512" y="182"/>
                </a:lnTo>
                <a:lnTo>
                  <a:pt x="511" y="185"/>
                </a:lnTo>
                <a:lnTo>
                  <a:pt x="511" y="185"/>
                </a:lnTo>
                <a:lnTo>
                  <a:pt x="511" y="188"/>
                </a:lnTo>
                <a:lnTo>
                  <a:pt x="511" y="190"/>
                </a:lnTo>
                <a:lnTo>
                  <a:pt x="514" y="192"/>
                </a:lnTo>
                <a:lnTo>
                  <a:pt x="515" y="193"/>
                </a:lnTo>
                <a:lnTo>
                  <a:pt x="521" y="193"/>
                </a:lnTo>
                <a:lnTo>
                  <a:pt x="528" y="195"/>
                </a:lnTo>
                <a:lnTo>
                  <a:pt x="528" y="195"/>
                </a:lnTo>
                <a:lnTo>
                  <a:pt x="529" y="195"/>
                </a:lnTo>
                <a:lnTo>
                  <a:pt x="531" y="196"/>
                </a:lnTo>
                <a:lnTo>
                  <a:pt x="529" y="199"/>
                </a:lnTo>
                <a:lnTo>
                  <a:pt x="528" y="202"/>
                </a:lnTo>
                <a:lnTo>
                  <a:pt x="528" y="205"/>
                </a:lnTo>
                <a:lnTo>
                  <a:pt x="531" y="206"/>
                </a:lnTo>
                <a:lnTo>
                  <a:pt x="531" y="206"/>
                </a:lnTo>
                <a:lnTo>
                  <a:pt x="533" y="207"/>
                </a:lnTo>
                <a:lnTo>
                  <a:pt x="536" y="207"/>
                </a:lnTo>
                <a:lnTo>
                  <a:pt x="538" y="206"/>
                </a:lnTo>
                <a:lnTo>
                  <a:pt x="536" y="200"/>
                </a:lnTo>
                <a:lnTo>
                  <a:pt x="536" y="200"/>
                </a:lnTo>
                <a:lnTo>
                  <a:pt x="536" y="199"/>
                </a:lnTo>
                <a:lnTo>
                  <a:pt x="538" y="198"/>
                </a:lnTo>
                <a:lnTo>
                  <a:pt x="543" y="200"/>
                </a:lnTo>
                <a:lnTo>
                  <a:pt x="546" y="202"/>
                </a:lnTo>
                <a:lnTo>
                  <a:pt x="549" y="205"/>
                </a:lnTo>
                <a:lnTo>
                  <a:pt x="551" y="207"/>
                </a:lnTo>
                <a:lnTo>
                  <a:pt x="549" y="210"/>
                </a:lnTo>
                <a:lnTo>
                  <a:pt x="549" y="210"/>
                </a:lnTo>
                <a:lnTo>
                  <a:pt x="548" y="212"/>
                </a:lnTo>
                <a:lnTo>
                  <a:pt x="548" y="215"/>
                </a:lnTo>
                <a:lnTo>
                  <a:pt x="551" y="216"/>
                </a:lnTo>
                <a:lnTo>
                  <a:pt x="553" y="217"/>
                </a:lnTo>
                <a:lnTo>
                  <a:pt x="562" y="220"/>
                </a:lnTo>
                <a:lnTo>
                  <a:pt x="569" y="222"/>
                </a:lnTo>
                <a:lnTo>
                  <a:pt x="569" y="222"/>
                </a:lnTo>
                <a:lnTo>
                  <a:pt x="593" y="225"/>
                </a:lnTo>
                <a:lnTo>
                  <a:pt x="606" y="225"/>
                </a:lnTo>
                <a:lnTo>
                  <a:pt x="609" y="223"/>
                </a:lnTo>
                <a:lnTo>
                  <a:pt x="612" y="222"/>
                </a:lnTo>
                <a:lnTo>
                  <a:pt x="612" y="222"/>
                </a:lnTo>
                <a:lnTo>
                  <a:pt x="610" y="219"/>
                </a:lnTo>
                <a:lnTo>
                  <a:pt x="609" y="217"/>
                </a:lnTo>
                <a:lnTo>
                  <a:pt x="605" y="213"/>
                </a:lnTo>
                <a:lnTo>
                  <a:pt x="597" y="209"/>
                </a:lnTo>
                <a:lnTo>
                  <a:pt x="589" y="202"/>
                </a:lnTo>
                <a:lnTo>
                  <a:pt x="589" y="202"/>
                </a:lnTo>
                <a:lnTo>
                  <a:pt x="582" y="193"/>
                </a:lnTo>
                <a:lnTo>
                  <a:pt x="579" y="183"/>
                </a:lnTo>
                <a:lnTo>
                  <a:pt x="578" y="179"/>
                </a:lnTo>
                <a:lnTo>
                  <a:pt x="578" y="173"/>
                </a:lnTo>
                <a:lnTo>
                  <a:pt x="580" y="170"/>
                </a:lnTo>
                <a:lnTo>
                  <a:pt x="583" y="168"/>
                </a:lnTo>
                <a:lnTo>
                  <a:pt x="583" y="168"/>
                </a:lnTo>
                <a:lnTo>
                  <a:pt x="587" y="165"/>
                </a:lnTo>
                <a:lnTo>
                  <a:pt x="589" y="162"/>
                </a:lnTo>
                <a:lnTo>
                  <a:pt x="590" y="158"/>
                </a:lnTo>
                <a:lnTo>
                  <a:pt x="592" y="153"/>
                </a:lnTo>
                <a:lnTo>
                  <a:pt x="593" y="152"/>
                </a:lnTo>
                <a:lnTo>
                  <a:pt x="596" y="149"/>
                </a:lnTo>
                <a:lnTo>
                  <a:pt x="596" y="149"/>
                </a:lnTo>
                <a:lnTo>
                  <a:pt x="600" y="145"/>
                </a:lnTo>
                <a:lnTo>
                  <a:pt x="602" y="142"/>
                </a:lnTo>
                <a:lnTo>
                  <a:pt x="605" y="138"/>
                </a:lnTo>
                <a:lnTo>
                  <a:pt x="606" y="133"/>
                </a:lnTo>
                <a:lnTo>
                  <a:pt x="607" y="132"/>
                </a:lnTo>
                <a:lnTo>
                  <a:pt x="610" y="132"/>
                </a:lnTo>
                <a:lnTo>
                  <a:pt x="610" y="132"/>
                </a:lnTo>
                <a:lnTo>
                  <a:pt x="613" y="131"/>
                </a:lnTo>
                <a:lnTo>
                  <a:pt x="615" y="131"/>
                </a:lnTo>
                <a:lnTo>
                  <a:pt x="615" y="126"/>
                </a:lnTo>
                <a:lnTo>
                  <a:pt x="615" y="124"/>
                </a:lnTo>
                <a:lnTo>
                  <a:pt x="616" y="122"/>
                </a:lnTo>
                <a:lnTo>
                  <a:pt x="619" y="121"/>
                </a:lnTo>
                <a:lnTo>
                  <a:pt x="619" y="121"/>
                </a:lnTo>
                <a:lnTo>
                  <a:pt x="622" y="121"/>
                </a:lnTo>
                <a:lnTo>
                  <a:pt x="624" y="118"/>
                </a:lnTo>
                <a:lnTo>
                  <a:pt x="629" y="114"/>
                </a:lnTo>
                <a:lnTo>
                  <a:pt x="629" y="109"/>
                </a:lnTo>
                <a:lnTo>
                  <a:pt x="629" y="105"/>
                </a:lnTo>
                <a:lnTo>
                  <a:pt x="629" y="105"/>
                </a:lnTo>
                <a:lnTo>
                  <a:pt x="629" y="104"/>
                </a:lnTo>
                <a:lnTo>
                  <a:pt x="630" y="104"/>
                </a:lnTo>
                <a:lnTo>
                  <a:pt x="634" y="104"/>
                </a:lnTo>
                <a:lnTo>
                  <a:pt x="639" y="102"/>
                </a:lnTo>
                <a:lnTo>
                  <a:pt x="642" y="102"/>
                </a:lnTo>
                <a:lnTo>
                  <a:pt x="644" y="101"/>
                </a:lnTo>
                <a:lnTo>
                  <a:pt x="644" y="101"/>
                </a:lnTo>
                <a:lnTo>
                  <a:pt x="646" y="98"/>
                </a:lnTo>
                <a:lnTo>
                  <a:pt x="649" y="98"/>
                </a:lnTo>
                <a:lnTo>
                  <a:pt x="656" y="97"/>
                </a:lnTo>
                <a:lnTo>
                  <a:pt x="661" y="95"/>
                </a:lnTo>
                <a:lnTo>
                  <a:pt x="664" y="92"/>
                </a:lnTo>
                <a:lnTo>
                  <a:pt x="666" y="91"/>
                </a:lnTo>
                <a:lnTo>
                  <a:pt x="666" y="91"/>
                </a:lnTo>
                <a:lnTo>
                  <a:pt x="669" y="87"/>
                </a:lnTo>
                <a:lnTo>
                  <a:pt x="677" y="82"/>
                </a:lnTo>
                <a:lnTo>
                  <a:pt x="700" y="72"/>
                </a:lnTo>
                <a:lnTo>
                  <a:pt x="728" y="64"/>
                </a:lnTo>
                <a:lnTo>
                  <a:pt x="755" y="57"/>
                </a:lnTo>
                <a:lnTo>
                  <a:pt x="755" y="57"/>
                </a:lnTo>
                <a:lnTo>
                  <a:pt x="775" y="51"/>
                </a:lnTo>
                <a:lnTo>
                  <a:pt x="784" y="47"/>
                </a:lnTo>
                <a:lnTo>
                  <a:pt x="791" y="42"/>
                </a:lnTo>
                <a:lnTo>
                  <a:pt x="795" y="40"/>
                </a:lnTo>
                <a:lnTo>
                  <a:pt x="798" y="35"/>
                </a:lnTo>
                <a:lnTo>
                  <a:pt x="798" y="31"/>
                </a:lnTo>
                <a:lnTo>
                  <a:pt x="797" y="28"/>
                </a:lnTo>
                <a:lnTo>
                  <a:pt x="797" y="28"/>
                </a:lnTo>
                <a:lnTo>
                  <a:pt x="791" y="25"/>
                </a:lnTo>
                <a:lnTo>
                  <a:pt x="785" y="25"/>
                </a:lnTo>
                <a:lnTo>
                  <a:pt x="778" y="25"/>
                </a:lnTo>
                <a:lnTo>
                  <a:pt x="770" y="27"/>
                </a:lnTo>
                <a:lnTo>
                  <a:pt x="755" y="32"/>
                </a:lnTo>
                <a:lnTo>
                  <a:pt x="747" y="38"/>
                </a:lnTo>
                <a:lnTo>
                  <a:pt x="747" y="38"/>
                </a:lnTo>
                <a:lnTo>
                  <a:pt x="744" y="40"/>
                </a:lnTo>
                <a:lnTo>
                  <a:pt x="740" y="41"/>
                </a:lnTo>
                <a:lnTo>
                  <a:pt x="734" y="41"/>
                </a:lnTo>
                <a:lnTo>
                  <a:pt x="727" y="42"/>
                </a:lnTo>
                <a:lnTo>
                  <a:pt x="721" y="44"/>
                </a:lnTo>
                <a:lnTo>
                  <a:pt x="721" y="44"/>
                </a:lnTo>
                <a:lnTo>
                  <a:pt x="714" y="47"/>
                </a:lnTo>
                <a:lnTo>
                  <a:pt x="704" y="48"/>
                </a:lnTo>
                <a:lnTo>
                  <a:pt x="696" y="50"/>
                </a:lnTo>
                <a:lnTo>
                  <a:pt x="693" y="48"/>
                </a:lnTo>
                <a:lnTo>
                  <a:pt x="688" y="47"/>
                </a:lnTo>
                <a:lnTo>
                  <a:pt x="688" y="47"/>
                </a:lnTo>
                <a:lnTo>
                  <a:pt x="686" y="45"/>
                </a:lnTo>
                <a:lnTo>
                  <a:pt x="683" y="45"/>
                </a:lnTo>
                <a:lnTo>
                  <a:pt x="676" y="48"/>
                </a:lnTo>
                <a:lnTo>
                  <a:pt x="670" y="51"/>
                </a:lnTo>
                <a:lnTo>
                  <a:pt x="666" y="52"/>
                </a:lnTo>
                <a:lnTo>
                  <a:pt x="666" y="52"/>
                </a:lnTo>
                <a:lnTo>
                  <a:pt x="660" y="52"/>
                </a:lnTo>
                <a:lnTo>
                  <a:pt x="656" y="55"/>
                </a:lnTo>
                <a:lnTo>
                  <a:pt x="650" y="57"/>
                </a:lnTo>
                <a:lnTo>
                  <a:pt x="646" y="58"/>
                </a:lnTo>
                <a:lnTo>
                  <a:pt x="646" y="58"/>
                </a:lnTo>
                <a:lnTo>
                  <a:pt x="639" y="58"/>
                </a:lnTo>
                <a:lnTo>
                  <a:pt x="633" y="61"/>
                </a:lnTo>
                <a:lnTo>
                  <a:pt x="627" y="64"/>
                </a:lnTo>
                <a:lnTo>
                  <a:pt x="624" y="67"/>
                </a:lnTo>
                <a:lnTo>
                  <a:pt x="624" y="67"/>
                </a:lnTo>
                <a:lnTo>
                  <a:pt x="622" y="69"/>
                </a:lnTo>
                <a:lnTo>
                  <a:pt x="617" y="71"/>
                </a:lnTo>
                <a:lnTo>
                  <a:pt x="613" y="72"/>
                </a:lnTo>
                <a:lnTo>
                  <a:pt x="613" y="74"/>
                </a:lnTo>
                <a:lnTo>
                  <a:pt x="612" y="75"/>
                </a:lnTo>
                <a:lnTo>
                  <a:pt x="612" y="75"/>
                </a:lnTo>
                <a:lnTo>
                  <a:pt x="610" y="78"/>
                </a:lnTo>
                <a:lnTo>
                  <a:pt x="607" y="81"/>
                </a:lnTo>
                <a:lnTo>
                  <a:pt x="602" y="81"/>
                </a:lnTo>
                <a:lnTo>
                  <a:pt x="599" y="79"/>
                </a:lnTo>
                <a:lnTo>
                  <a:pt x="599" y="79"/>
                </a:lnTo>
                <a:lnTo>
                  <a:pt x="596" y="78"/>
                </a:lnTo>
                <a:lnTo>
                  <a:pt x="595" y="78"/>
                </a:lnTo>
                <a:lnTo>
                  <a:pt x="592" y="81"/>
                </a:lnTo>
                <a:lnTo>
                  <a:pt x="592" y="85"/>
                </a:lnTo>
                <a:lnTo>
                  <a:pt x="592" y="88"/>
                </a:lnTo>
                <a:lnTo>
                  <a:pt x="595" y="91"/>
                </a:lnTo>
                <a:lnTo>
                  <a:pt x="595" y="91"/>
                </a:lnTo>
                <a:lnTo>
                  <a:pt x="596" y="92"/>
                </a:lnTo>
                <a:lnTo>
                  <a:pt x="595" y="94"/>
                </a:lnTo>
                <a:lnTo>
                  <a:pt x="592" y="97"/>
                </a:lnTo>
                <a:lnTo>
                  <a:pt x="586" y="98"/>
                </a:lnTo>
                <a:lnTo>
                  <a:pt x="585" y="99"/>
                </a:lnTo>
                <a:lnTo>
                  <a:pt x="586" y="101"/>
                </a:lnTo>
                <a:lnTo>
                  <a:pt x="586" y="101"/>
                </a:lnTo>
                <a:lnTo>
                  <a:pt x="586" y="102"/>
                </a:lnTo>
                <a:lnTo>
                  <a:pt x="586" y="104"/>
                </a:lnTo>
                <a:lnTo>
                  <a:pt x="583" y="105"/>
                </a:lnTo>
                <a:lnTo>
                  <a:pt x="580" y="108"/>
                </a:lnTo>
                <a:lnTo>
                  <a:pt x="580" y="109"/>
                </a:lnTo>
                <a:lnTo>
                  <a:pt x="580" y="111"/>
                </a:lnTo>
                <a:lnTo>
                  <a:pt x="580" y="111"/>
                </a:lnTo>
                <a:lnTo>
                  <a:pt x="580" y="112"/>
                </a:lnTo>
                <a:lnTo>
                  <a:pt x="580" y="114"/>
                </a:lnTo>
                <a:lnTo>
                  <a:pt x="578" y="115"/>
                </a:lnTo>
                <a:lnTo>
                  <a:pt x="568" y="118"/>
                </a:lnTo>
                <a:lnTo>
                  <a:pt x="568" y="118"/>
                </a:lnTo>
                <a:lnTo>
                  <a:pt x="562" y="121"/>
                </a:lnTo>
                <a:lnTo>
                  <a:pt x="560" y="124"/>
                </a:lnTo>
                <a:lnTo>
                  <a:pt x="559" y="126"/>
                </a:lnTo>
                <a:lnTo>
                  <a:pt x="560" y="128"/>
                </a:lnTo>
                <a:lnTo>
                  <a:pt x="562" y="129"/>
                </a:lnTo>
                <a:lnTo>
                  <a:pt x="565" y="129"/>
                </a:lnTo>
                <a:lnTo>
                  <a:pt x="565" y="129"/>
                </a:lnTo>
                <a:lnTo>
                  <a:pt x="568" y="131"/>
                </a:lnTo>
                <a:lnTo>
                  <a:pt x="566" y="132"/>
                </a:lnTo>
                <a:lnTo>
                  <a:pt x="562" y="135"/>
                </a:lnTo>
                <a:lnTo>
                  <a:pt x="560" y="136"/>
                </a:lnTo>
                <a:lnTo>
                  <a:pt x="560" y="139"/>
                </a:lnTo>
                <a:lnTo>
                  <a:pt x="560" y="139"/>
                </a:lnTo>
                <a:lnTo>
                  <a:pt x="560" y="141"/>
                </a:lnTo>
                <a:lnTo>
                  <a:pt x="559" y="142"/>
                </a:lnTo>
                <a:lnTo>
                  <a:pt x="553" y="143"/>
                </a:lnTo>
                <a:lnTo>
                  <a:pt x="549" y="143"/>
                </a:lnTo>
                <a:lnTo>
                  <a:pt x="548" y="145"/>
                </a:lnTo>
                <a:lnTo>
                  <a:pt x="546" y="146"/>
                </a:lnTo>
                <a:lnTo>
                  <a:pt x="546" y="146"/>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55" name="Freeform 344">
            <a:extLst>
              <a:ext uri="{FF2B5EF4-FFF2-40B4-BE49-F238E27FC236}">
                <a16:creationId xmlns:a16="http://schemas.microsoft.com/office/drawing/2014/main" id="{125E664B-8F84-0CD5-89EE-7B446BF7EF4E}"/>
              </a:ext>
            </a:extLst>
          </p:cNvPr>
          <p:cNvSpPr>
            <a:spLocks/>
          </p:cNvSpPr>
          <p:nvPr userDrawn="1"/>
        </p:nvSpPr>
        <p:spPr bwMode="gray">
          <a:xfrm>
            <a:off x="4605812" y="3232806"/>
            <a:ext cx="383651" cy="396655"/>
          </a:xfrm>
          <a:custGeom>
            <a:avLst/>
            <a:gdLst/>
            <a:ahLst/>
            <a:cxnLst>
              <a:cxn ang="0">
                <a:pos x="261" y="151"/>
              </a:cxn>
              <a:cxn ang="0">
                <a:pos x="263" y="131"/>
              </a:cxn>
              <a:cxn ang="0">
                <a:pos x="259" y="124"/>
              </a:cxn>
              <a:cxn ang="0">
                <a:pos x="266" y="111"/>
              </a:cxn>
              <a:cxn ang="0">
                <a:pos x="271" y="98"/>
              </a:cxn>
              <a:cxn ang="0">
                <a:pos x="278" y="73"/>
              </a:cxn>
              <a:cxn ang="0">
                <a:pos x="283" y="64"/>
              </a:cxn>
              <a:cxn ang="0">
                <a:pos x="295" y="51"/>
              </a:cxn>
              <a:cxn ang="0">
                <a:pos x="289" y="43"/>
              </a:cxn>
              <a:cxn ang="0">
                <a:pos x="272" y="13"/>
              </a:cxn>
              <a:cxn ang="0">
                <a:pos x="259" y="13"/>
              </a:cxn>
              <a:cxn ang="0">
                <a:pos x="245" y="14"/>
              </a:cxn>
              <a:cxn ang="0">
                <a:pos x="235" y="3"/>
              </a:cxn>
              <a:cxn ang="0">
                <a:pos x="207" y="2"/>
              </a:cxn>
              <a:cxn ang="0">
                <a:pos x="192" y="4"/>
              </a:cxn>
              <a:cxn ang="0">
                <a:pos x="168" y="10"/>
              </a:cxn>
              <a:cxn ang="0">
                <a:pos x="158" y="22"/>
              </a:cxn>
              <a:cxn ang="0">
                <a:pos x="114" y="6"/>
              </a:cxn>
              <a:cxn ang="0">
                <a:pos x="97" y="30"/>
              </a:cxn>
              <a:cxn ang="0">
                <a:pos x="90" y="57"/>
              </a:cxn>
              <a:cxn ang="0">
                <a:pos x="77" y="97"/>
              </a:cxn>
              <a:cxn ang="0">
                <a:pos x="64" y="113"/>
              </a:cxn>
              <a:cxn ang="0">
                <a:pos x="59" y="148"/>
              </a:cxn>
              <a:cxn ang="0">
                <a:pos x="50" y="160"/>
              </a:cxn>
              <a:cxn ang="0">
                <a:pos x="39" y="164"/>
              </a:cxn>
              <a:cxn ang="0">
                <a:pos x="23" y="164"/>
              </a:cxn>
              <a:cxn ang="0">
                <a:pos x="0" y="169"/>
              </a:cxn>
              <a:cxn ang="0">
                <a:pos x="12" y="185"/>
              </a:cxn>
              <a:cxn ang="0">
                <a:pos x="70" y="188"/>
              </a:cxn>
              <a:cxn ang="0">
                <a:pos x="74" y="205"/>
              </a:cxn>
              <a:cxn ang="0">
                <a:pos x="90" y="219"/>
              </a:cxn>
              <a:cxn ang="0">
                <a:pos x="110" y="215"/>
              </a:cxn>
              <a:cxn ang="0">
                <a:pos x="123" y="201"/>
              </a:cxn>
              <a:cxn ang="0">
                <a:pos x="135" y="205"/>
              </a:cxn>
              <a:cxn ang="0">
                <a:pos x="148" y="218"/>
              </a:cxn>
              <a:cxn ang="0">
                <a:pos x="147" y="242"/>
              </a:cxn>
              <a:cxn ang="0">
                <a:pos x="155" y="256"/>
              </a:cxn>
              <a:cxn ang="0">
                <a:pos x="158" y="268"/>
              </a:cxn>
              <a:cxn ang="0">
                <a:pos x="178" y="263"/>
              </a:cxn>
              <a:cxn ang="0">
                <a:pos x="187" y="268"/>
              </a:cxn>
              <a:cxn ang="0">
                <a:pos x="199" y="269"/>
              </a:cxn>
              <a:cxn ang="0">
                <a:pos x="205" y="278"/>
              </a:cxn>
              <a:cxn ang="0">
                <a:pos x="219" y="282"/>
              </a:cxn>
              <a:cxn ang="0">
                <a:pos x="228" y="278"/>
              </a:cxn>
              <a:cxn ang="0">
                <a:pos x="241" y="286"/>
              </a:cxn>
              <a:cxn ang="0">
                <a:pos x="255" y="296"/>
              </a:cxn>
              <a:cxn ang="0">
                <a:pos x="271" y="303"/>
              </a:cxn>
              <a:cxn ang="0">
                <a:pos x="273" y="289"/>
              </a:cxn>
              <a:cxn ang="0">
                <a:pos x="261" y="288"/>
              </a:cxn>
              <a:cxn ang="0">
                <a:pos x="249" y="273"/>
              </a:cxn>
              <a:cxn ang="0">
                <a:pos x="255" y="245"/>
              </a:cxn>
              <a:cxn ang="0">
                <a:pos x="256" y="233"/>
              </a:cxn>
              <a:cxn ang="0">
                <a:pos x="261" y="224"/>
              </a:cxn>
              <a:cxn ang="0">
                <a:pos x="281" y="219"/>
              </a:cxn>
              <a:cxn ang="0">
                <a:pos x="269" y="201"/>
              </a:cxn>
            </a:cxnLst>
            <a:rect l="0" t="0" r="r" b="b"/>
            <a:pathLst>
              <a:path w="295" h="305">
                <a:moveTo>
                  <a:pt x="269" y="201"/>
                </a:moveTo>
                <a:lnTo>
                  <a:pt x="269" y="201"/>
                </a:lnTo>
                <a:lnTo>
                  <a:pt x="266" y="198"/>
                </a:lnTo>
                <a:lnTo>
                  <a:pt x="265" y="191"/>
                </a:lnTo>
                <a:lnTo>
                  <a:pt x="262" y="171"/>
                </a:lnTo>
                <a:lnTo>
                  <a:pt x="261" y="151"/>
                </a:lnTo>
                <a:lnTo>
                  <a:pt x="262" y="144"/>
                </a:lnTo>
                <a:lnTo>
                  <a:pt x="262" y="141"/>
                </a:lnTo>
                <a:lnTo>
                  <a:pt x="262" y="141"/>
                </a:lnTo>
                <a:lnTo>
                  <a:pt x="263" y="142"/>
                </a:lnTo>
                <a:lnTo>
                  <a:pt x="263" y="131"/>
                </a:lnTo>
                <a:lnTo>
                  <a:pt x="263" y="131"/>
                </a:lnTo>
                <a:lnTo>
                  <a:pt x="262" y="131"/>
                </a:lnTo>
                <a:lnTo>
                  <a:pt x="262" y="131"/>
                </a:lnTo>
                <a:lnTo>
                  <a:pt x="261" y="130"/>
                </a:lnTo>
                <a:lnTo>
                  <a:pt x="259" y="125"/>
                </a:lnTo>
                <a:lnTo>
                  <a:pt x="259" y="125"/>
                </a:lnTo>
                <a:lnTo>
                  <a:pt x="259" y="124"/>
                </a:lnTo>
                <a:lnTo>
                  <a:pt x="261" y="123"/>
                </a:lnTo>
                <a:lnTo>
                  <a:pt x="262" y="121"/>
                </a:lnTo>
                <a:lnTo>
                  <a:pt x="262" y="121"/>
                </a:lnTo>
                <a:lnTo>
                  <a:pt x="262" y="117"/>
                </a:lnTo>
                <a:lnTo>
                  <a:pt x="263" y="113"/>
                </a:lnTo>
                <a:lnTo>
                  <a:pt x="266" y="111"/>
                </a:lnTo>
                <a:lnTo>
                  <a:pt x="266" y="111"/>
                </a:lnTo>
                <a:lnTo>
                  <a:pt x="268" y="110"/>
                </a:lnTo>
                <a:lnTo>
                  <a:pt x="268" y="110"/>
                </a:lnTo>
                <a:lnTo>
                  <a:pt x="269" y="104"/>
                </a:lnTo>
                <a:lnTo>
                  <a:pt x="271" y="98"/>
                </a:lnTo>
                <a:lnTo>
                  <a:pt x="271" y="98"/>
                </a:lnTo>
                <a:lnTo>
                  <a:pt x="271" y="91"/>
                </a:lnTo>
                <a:lnTo>
                  <a:pt x="273" y="84"/>
                </a:lnTo>
                <a:lnTo>
                  <a:pt x="273" y="84"/>
                </a:lnTo>
                <a:lnTo>
                  <a:pt x="275" y="77"/>
                </a:lnTo>
                <a:lnTo>
                  <a:pt x="275" y="74"/>
                </a:lnTo>
                <a:lnTo>
                  <a:pt x="278" y="73"/>
                </a:lnTo>
                <a:lnTo>
                  <a:pt x="278" y="73"/>
                </a:lnTo>
                <a:lnTo>
                  <a:pt x="279" y="70"/>
                </a:lnTo>
                <a:lnTo>
                  <a:pt x="281" y="68"/>
                </a:lnTo>
                <a:lnTo>
                  <a:pt x="281" y="66"/>
                </a:lnTo>
                <a:lnTo>
                  <a:pt x="283" y="64"/>
                </a:lnTo>
                <a:lnTo>
                  <a:pt x="283" y="64"/>
                </a:lnTo>
                <a:lnTo>
                  <a:pt x="288" y="61"/>
                </a:lnTo>
                <a:lnTo>
                  <a:pt x="291" y="59"/>
                </a:lnTo>
                <a:lnTo>
                  <a:pt x="291" y="59"/>
                </a:lnTo>
                <a:lnTo>
                  <a:pt x="292" y="56"/>
                </a:lnTo>
                <a:lnTo>
                  <a:pt x="293" y="53"/>
                </a:lnTo>
                <a:lnTo>
                  <a:pt x="295" y="51"/>
                </a:lnTo>
                <a:lnTo>
                  <a:pt x="295" y="51"/>
                </a:lnTo>
                <a:lnTo>
                  <a:pt x="293" y="49"/>
                </a:lnTo>
                <a:lnTo>
                  <a:pt x="292" y="47"/>
                </a:lnTo>
                <a:lnTo>
                  <a:pt x="291" y="46"/>
                </a:lnTo>
                <a:lnTo>
                  <a:pt x="289" y="43"/>
                </a:lnTo>
                <a:lnTo>
                  <a:pt x="289" y="43"/>
                </a:lnTo>
                <a:lnTo>
                  <a:pt x="291" y="29"/>
                </a:lnTo>
                <a:lnTo>
                  <a:pt x="291" y="29"/>
                </a:lnTo>
                <a:lnTo>
                  <a:pt x="291" y="29"/>
                </a:lnTo>
                <a:lnTo>
                  <a:pt x="291" y="29"/>
                </a:lnTo>
                <a:lnTo>
                  <a:pt x="272" y="13"/>
                </a:lnTo>
                <a:lnTo>
                  <a:pt x="272" y="13"/>
                </a:lnTo>
                <a:lnTo>
                  <a:pt x="269" y="13"/>
                </a:lnTo>
                <a:lnTo>
                  <a:pt x="268" y="14"/>
                </a:lnTo>
                <a:lnTo>
                  <a:pt x="265" y="16"/>
                </a:lnTo>
                <a:lnTo>
                  <a:pt x="265" y="16"/>
                </a:lnTo>
                <a:lnTo>
                  <a:pt x="262" y="13"/>
                </a:lnTo>
                <a:lnTo>
                  <a:pt x="259" y="13"/>
                </a:lnTo>
                <a:lnTo>
                  <a:pt x="255" y="14"/>
                </a:lnTo>
                <a:lnTo>
                  <a:pt x="255" y="14"/>
                </a:lnTo>
                <a:lnTo>
                  <a:pt x="252" y="16"/>
                </a:lnTo>
                <a:lnTo>
                  <a:pt x="249" y="16"/>
                </a:lnTo>
                <a:lnTo>
                  <a:pt x="245" y="14"/>
                </a:lnTo>
                <a:lnTo>
                  <a:pt x="245" y="14"/>
                </a:lnTo>
                <a:lnTo>
                  <a:pt x="244" y="13"/>
                </a:lnTo>
                <a:lnTo>
                  <a:pt x="241" y="10"/>
                </a:lnTo>
                <a:lnTo>
                  <a:pt x="239" y="6"/>
                </a:lnTo>
                <a:lnTo>
                  <a:pt x="239" y="6"/>
                </a:lnTo>
                <a:lnTo>
                  <a:pt x="236" y="4"/>
                </a:lnTo>
                <a:lnTo>
                  <a:pt x="235" y="3"/>
                </a:lnTo>
                <a:lnTo>
                  <a:pt x="235" y="3"/>
                </a:lnTo>
                <a:lnTo>
                  <a:pt x="222" y="4"/>
                </a:lnTo>
                <a:lnTo>
                  <a:pt x="222" y="4"/>
                </a:lnTo>
                <a:lnTo>
                  <a:pt x="215" y="2"/>
                </a:lnTo>
                <a:lnTo>
                  <a:pt x="209" y="0"/>
                </a:lnTo>
                <a:lnTo>
                  <a:pt x="207" y="2"/>
                </a:lnTo>
                <a:lnTo>
                  <a:pt x="205" y="3"/>
                </a:lnTo>
                <a:lnTo>
                  <a:pt x="205" y="3"/>
                </a:lnTo>
                <a:lnTo>
                  <a:pt x="202" y="6"/>
                </a:lnTo>
                <a:lnTo>
                  <a:pt x="199" y="6"/>
                </a:lnTo>
                <a:lnTo>
                  <a:pt x="192" y="4"/>
                </a:lnTo>
                <a:lnTo>
                  <a:pt x="192" y="4"/>
                </a:lnTo>
                <a:lnTo>
                  <a:pt x="187" y="6"/>
                </a:lnTo>
                <a:lnTo>
                  <a:pt x="182" y="7"/>
                </a:lnTo>
                <a:lnTo>
                  <a:pt x="175" y="10"/>
                </a:lnTo>
                <a:lnTo>
                  <a:pt x="175" y="10"/>
                </a:lnTo>
                <a:lnTo>
                  <a:pt x="172" y="10"/>
                </a:lnTo>
                <a:lnTo>
                  <a:pt x="168" y="10"/>
                </a:lnTo>
                <a:lnTo>
                  <a:pt x="165" y="9"/>
                </a:lnTo>
                <a:lnTo>
                  <a:pt x="162" y="10"/>
                </a:lnTo>
                <a:lnTo>
                  <a:pt x="162" y="10"/>
                </a:lnTo>
                <a:lnTo>
                  <a:pt x="161" y="13"/>
                </a:lnTo>
                <a:lnTo>
                  <a:pt x="160" y="16"/>
                </a:lnTo>
                <a:lnTo>
                  <a:pt x="158" y="22"/>
                </a:lnTo>
                <a:lnTo>
                  <a:pt x="127" y="14"/>
                </a:lnTo>
                <a:lnTo>
                  <a:pt x="127" y="14"/>
                </a:lnTo>
                <a:lnTo>
                  <a:pt x="123" y="10"/>
                </a:lnTo>
                <a:lnTo>
                  <a:pt x="118" y="7"/>
                </a:lnTo>
                <a:lnTo>
                  <a:pt x="114" y="6"/>
                </a:lnTo>
                <a:lnTo>
                  <a:pt x="114" y="6"/>
                </a:lnTo>
                <a:lnTo>
                  <a:pt x="111" y="6"/>
                </a:lnTo>
                <a:lnTo>
                  <a:pt x="108" y="7"/>
                </a:lnTo>
                <a:lnTo>
                  <a:pt x="103" y="13"/>
                </a:lnTo>
                <a:lnTo>
                  <a:pt x="97" y="19"/>
                </a:lnTo>
                <a:lnTo>
                  <a:pt x="97" y="30"/>
                </a:lnTo>
                <a:lnTo>
                  <a:pt x="97" y="30"/>
                </a:lnTo>
                <a:lnTo>
                  <a:pt x="97" y="34"/>
                </a:lnTo>
                <a:lnTo>
                  <a:pt x="97" y="39"/>
                </a:lnTo>
                <a:lnTo>
                  <a:pt x="94" y="46"/>
                </a:lnTo>
                <a:lnTo>
                  <a:pt x="94" y="46"/>
                </a:lnTo>
                <a:lnTo>
                  <a:pt x="91" y="53"/>
                </a:lnTo>
                <a:lnTo>
                  <a:pt x="90" y="57"/>
                </a:lnTo>
                <a:lnTo>
                  <a:pt x="89" y="63"/>
                </a:lnTo>
                <a:lnTo>
                  <a:pt x="89" y="63"/>
                </a:lnTo>
                <a:lnTo>
                  <a:pt x="87" y="71"/>
                </a:lnTo>
                <a:lnTo>
                  <a:pt x="83" y="81"/>
                </a:lnTo>
                <a:lnTo>
                  <a:pt x="79" y="90"/>
                </a:lnTo>
                <a:lnTo>
                  <a:pt x="77" y="97"/>
                </a:lnTo>
                <a:lnTo>
                  <a:pt x="77" y="97"/>
                </a:lnTo>
                <a:lnTo>
                  <a:pt x="77" y="100"/>
                </a:lnTo>
                <a:lnTo>
                  <a:pt x="74" y="103"/>
                </a:lnTo>
                <a:lnTo>
                  <a:pt x="70" y="107"/>
                </a:lnTo>
                <a:lnTo>
                  <a:pt x="66" y="111"/>
                </a:lnTo>
                <a:lnTo>
                  <a:pt x="64" y="113"/>
                </a:lnTo>
                <a:lnTo>
                  <a:pt x="63" y="114"/>
                </a:lnTo>
                <a:lnTo>
                  <a:pt x="63" y="114"/>
                </a:lnTo>
                <a:lnTo>
                  <a:pt x="61" y="141"/>
                </a:lnTo>
                <a:lnTo>
                  <a:pt x="61" y="141"/>
                </a:lnTo>
                <a:lnTo>
                  <a:pt x="61" y="147"/>
                </a:lnTo>
                <a:lnTo>
                  <a:pt x="59" y="148"/>
                </a:lnTo>
                <a:lnTo>
                  <a:pt x="57" y="148"/>
                </a:lnTo>
                <a:lnTo>
                  <a:pt x="56" y="154"/>
                </a:lnTo>
                <a:lnTo>
                  <a:pt x="56" y="154"/>
                </a:lnTo>
                <a:lnTo>
                  <a:pt x="56" y="158"/>
                </a:lnTo>
                <a:lnTo>
                  <a:pt x="53" y="160"/>
                </a:lnTo>
                <a:lnTo>
                  <a:pt x="50" y="160"/>
                </a:lnTo>
                <a:lnTo>
                  <a:pt x="46" y="162"/>
                </a:lnTo>
                <a:lnTo>
                  <a:pt x="46" y="162"/>
                </a:lnTo>
                <a:lnTo>
                  <a:pt x="42" y="167"/>
                </a:lnTo>
                <a:lnTo>
                  <a:pt x="40" y="165"/>
                </a:lnTo>
                <a:lnTo>
                  <a:pt x="39" y="164"/>
                </a:lnTo>
                <a:lnTo>
                  <a:pt x="39" y="164"/>
                </a:lnTo>
                <a:lnTo>
                  <a:pt x="39" y="161"/>
                </a:lnTo>
                <a:lnTo>
                  <a:pt x="36" y="160"/>
                </a:lnTo>
                <a:lnTo>
                  <a:pt x="32" y="160"/>
                </a:lnTo>
                <a:lnTo>
                  <a:pt x="26" y="162"/>
                </a:lnTo>
                <a:lnTo>
                  <a:pt x="26" y="162"/>
                </a:lnTo>
                <a:lnTo>
                  <a:pt x="23" y="164"/>
                </a:lnTo>
                <a:lnTo>
                  <a:pt x="20" y="164"/>
                </a:lnTo>
                <a:lnTo>
                  <a:pt x="16" y="161"/>
                </a:lnTo>
                <a:lnTo>
                  <a:pt x="16" y="161"/>
                </a:lnTo>
                <a:lnTo>
                  <a:pt x="10" y="164"/>
                </a:lnTo>
                <a:lnTo>
                  <a:pt x="0" y="169"/>
                </a:lnTo>
                <a:lnTo>
                  <a:pt x="0" y="169"/>
                </a:lnTo>
                <a:lnTo>
                  <a:pt x="5" y="178"/>
                </a:lnTo>
                <a:lnTo>
                  <a:pt x="6" y="187"/>
                </a:lnTo>
                <a:lnTo>
                  <a:pt x="6" y="187"/>
                </a:lnTo>
                <a:lnTo>
                  <a:pt x="6" y="188"/>
                </a:lnTo>
                <a:lnTo>
                  <a:pt x="6" y="188"/>
                </a:lnTo>
                <a:lnTo>
                  <a:pt x="12" y="185"/>
                </a:lnTo>
                <a:lnTo>
                  <a:pt x="16" y="184"/>
                </a:lnTo>
                <a:lnTo>
                  <a:pt x="16" y="184"/>
                </a:lnTo>
                <a:lnTo>
                  <a:pt x="43" y="184"/>
                </a:lnTo>
                <a:lnTo>
                  <a:pt x="67" y="184"/>
                </a:lnTo>
                <a:lnTo>
                  <a:pt x="67" y="184"/>
                </a:lnTo>
                <a:lnTo>
                  <a:pt x="70" y="188"/>
                </a:lnTo>
                <a:lnTo>
                  <a:pt x="70" y="192"/>
                </a:lnTo>
                <a:lnTo>
                  <a:pt x="70" y="197"/>
                </a:lnTo>
                <a:lnTo>
                  <a:pt x="70" y="197"/>
                </a:lnTo>
                <a:lnTo>
                  <a:pt x="70" y="201"/>
                </a:lnTo>
                <a:lnTo>
                  <a:pt x="71" y="202"/>
                </a:lnTo>
                <a:lnTo>
                  <a:pt x="74" y="205"/>
                </a:lnTo>
                <a:lnTo>
                  <a:pt x="77" y="209"/>
                </a:lnTo>
                <a:lnTo>
                  <a:pt x="77" y="209"/>
                </a:lnTo>
                <a:lnTo>
                  <a:pt x="80" y="215"/>
                </a:lnTo>
                <a:lnTo>
                  <a:pt x="83" y="218"/>
                </a:lnTo>
                <a:lnTo>
                  <a:pt x="86" y="219"/>
                </a:lnTo>
                <a:lnTo>
                  <a:pt x="90" y="219"/>
                </a:lnTo>
                <a:lnTo>
                  <a:pt x="90" y="219"/>
                </a:lnTo>
                <a:lnTo>
                  <a:pt x="101" y="216"/>
                </a:lnTo>
                <a:lnTo>
                  <a:pt x="108" y="216"/>
                </a:lnTo>
                <a:lnTo>
                  <a:pt x="108" y="216"/>
                </a:lnTo>
                <a:lnTo>
                  <a:pt x="110" y="216"/>
                </a:lnTo>
                <a:lnTo>
                  <a:pt x="110" y="215"/>
                </a:lnTo>
                <a:lnTo>
                  <a:pt x="111" y="211"/>
                </a:lnTo>
                <a:lnTo>
                  <a:pt x="113" y="205"/>
                </a:lnTo>
                <a:lnTo>
                  <a:pt x="116" y="202"/>
                </a:lnTo>
                <a:lnTo>
                  <a:pt x="116" y="202"/>
                </a:lnTo>
                <a:lnTo>
                  <a:pt x="120" y="201"/>
                </a:lnTo>
                <a:lnTo>
                  <a:pt x="123" y="201"/>
                </a:lnTo>
                <a:lnTo>
                  <a:pt x="128" y="202"/>
                </a:lnTo>
                <a:lnTo>
                  <a:pt x="128" y="202"/>
                </a:lnTo>
                <a:lnTo>
                  <a:pt x="130" y="204"/>
                </a:lnTo>
                <a:lnTo>
                  <a:pt x="131" y="205"/>
                </a:lnTo>
                <a:lnTo>
                  <a:pt x="135" y="205"/>
                </a:lnTo>
                <a:lnTo>
                  <a:pt x="135" y="205"/>
                </a:lnTo>
                <a:lnTo>
                  <a:pt x="144" y="205"/>
                </a:lnTo>
                <a:lnTo>
                  <a:pt x="145" y="205"/>
                </a:lnTo>
                <a:lnTo>
                  <a:pt x="147" y="208"/>
                </a:lnTo>
                <a:lnTo>
                  <a:pt x="147" y="208"/>
                </a:lnTo>
                <a:lnTo>
                  <a:pt x="147" y="215"/>
                </a:lnTo>
                <a:lnTo>
                  <a:pt x="148" y="218"/>
                </a:lnTo>
                <a:lnTo>
                  <a:pt x="150" y="221"/>
                </a:lnTo>
                <a:lnTo>
                  <a:pt x="150" y="221"/>
                </a:lnTo>
                <a:lnTo>
                  <a:pt x="150" y="225"/>
                </a:lnTo>
                <a:lnTo>
                  <a:pt x="148" y="232"/>
                </a:lnTo>
                <a:lnTo>
                  <a:pt x="147" y="239"/>
                </a:lnTo>
                <a:lnTo>
                  <a:pt x="147" y="242"/>
                </a:lnTo>
                <a:lnTo>
                  <a:pt x="147" y="243"/>
                </a:lnTo>
                <a:lnTo>
                  <a:pt x="147" y="243"/>
                </a:lnTo>
                <a:lnTo>
                  <a:pt x="153" y="249"/>
                </a:lnTo>
                <a:lnTo>
                  <a:pt x="155" y="253"/>
                </a:lnTo>
                <a:lnTo>
                  <a:pt x="155" y="256"/>
                </a:lnTo>
                <a:lnTo>
                  <a:pt x="155" y="256"/>
                </a:lnTo>
                <a:lnTo>
                  <a:pt x="154" y="263"/>
                </a:lnTo>
                <a:lnTo>
                  <a:pt x="154" y="268"/>
                </a:lnTo>
                <a:lnTo>
                  <a:pt x="155" y="269"/>
                </a:lnTo>
                <a:lnTo>
                  <a:pt x="155" y="269"/>
                </a:lnTo>
                <a:lnTo>
                  <a:pt x="157" y="269"/>
                </a:lnTo>
                <a:lnTo>
                  <a:pt x="158" y="268"/>
                </a:lnTo>
                <a:lnTo>
                  <a:pt x="161" y="265"/>
                </a:lnTo>
                <a:lnTo>
                  <a:pt x="164" y="265"/>
                </a:lnTo>
                <a:lnTo>
                  <a:pt x="164" y="265"/>
                </a:lnTo>
                <a:lnTo>
                  <a:pt x="171" y="265"/>
                </a:lnTo>
                <a:lnTo>
                  <a:pt x="178" y="263"/>
                </a:lnTo>
                <a:lnTo>
                  <a:pt x="178" y="263"/>
                </a:lnTo>
                <a:lnTo>
                  <a:pt x="180" y="263"/>
                </a:lnTo>
                <a:lnTo>
                  <a:pt x="182" y="263"/>
                </a:lnTo>
                <a:lnTo>
                  <a:pt x="182" y="263"/>
                </a:lnTo>
                <a:lnTo>
                  <a:pt x="185" y="266"/>
                </a:lnTo>
                <a:lnTo>
                  <a:pt x="187" y="268"/>
                </a:lnTo>
                <a:lnTo>
                  <a:pt x="187" y="268"/>
                </a:lnTo>
                <a:lnTo>
                  <a:pt x="188" y="270"/>
                </a:lnTo>
                <a:lnTo>
                  <a:pt x="190" y="270"/>
                </a:lnTo>
                <a:lnTo>
                  <a:pt x="191" y="270"/>
                </a:lnTo>
                <a:lnTo>
                  <a:pt x="191" y="270"/>
                </a:lnTo>
                <a:lnTo>
                  <a:pt x="197" y="269"/>
                </a:lnTo>
                <a:lnTo>
                  <a:pt x="199" y="269"/>
                </a:lnTo>
                <a:lnTo>
                  <a:pt x="201" y="270"/>
                </a:lnTo>
                <a:lnTo>
                  <a:pt x="201" y="270"/>
                </a:lnTo>
                <a:lnTo>
                  <a:pt x="201" y="273"/>
                </a:lnTo>
                <a:lnTo>
                  <a:pt x="202" y="276"/>
                </a:lnTo>
                <a:lnTo>
                  <a:pt x="204" y="278"/>
                </a:lnTo>
                <a:lnTo>
                  <a:pt x="205" y="278"/>
                </a:lnTo>
                <a:lnTo>
                  <a:pt x="205" y="278"/>
                </a:lnTo>
                <a:lnTo>
                  <a:pt x="208" y="278"/>
                </a:lnTo>
                <a:lnTo>
                  <a:pt x="212" y="280"/>
                </a:lnTo>
                <a:lnTo>
                  <a:pt x="217" y="282"/>
                </a:lnTo>
                <a:lnTo>
                  <a:pt x="219" y="282"/>
                </a:lnTo>
                <a:lnTo>
                  <a:pt x="219" y="282"/>
                </a:lnTo>
                <a:lnTo>
                  <a:pt x="224" y="282"/>
                </a:lnTo>
                <a:lnTo>
                  <a:pt x="225" y="282"/>
                </a:lnTo>
                <a:lnTo>
                  <a:pt x="227" y="280"/>
                </a:lnTo>
                <a:lnTo>
                  <a:pt x="227" y="280"/>
                </a:lnTo>
                <a:lnTo>
                  <a:pt x="227" y="279"/>
                </a:lnTo>
                <a:lnTo>
                  <a:pt x="228" y="278"/>
                </a:lnTo>
                <a:lnTo>
                  <a:pt x="231" y="276"/>
                </a:lnTo>
                <a:lnTo>
                  <a:pt x="232" y="278"/>
                </a:lnTo>
                <a:lnTo>
                  <a:pt x="232" y="278"/>
                </a:lnTo>
                <a:lnTo>
                  <a:pt x="235" y="283"/>
                </a:lnTo>
                <a:lnTo>
                  <a:pt x="238" y="286"/>
                </a:lnTo>
                <a:lnTo>
                  <a:pt x="241" y="286"/>
                </a:lnTo>
                <a:lnTo>
                  <a:pt x="241" y="286"/>
                </a:lnTo>
                <a:lnTo>
                  <a:pt x="248" y="288"/>
                </a:lnTo>
                <a:lnTo>
                  <a:pt x="251" y="288"/>
                </a:lnTo>
                <a:lnTo>
                  <a:pt x="252" y="289"/>
                </a:lnTo>
                <a:lnTo>
                  <a:pt x="252" y="289"/>
                </a:lnTo>
                <a:lnTo>
                  <a:pt x="255" y="296"/>
                </a:lnTo>
                <a:lnTo>
                  <a:pt x="256" y="300"/>
                </a:lnTo>
                <a:lnTo>
                  <a:pt x="259" y="303"/>
                </a:lnTo>
                <a:lnTo>
                  <a:pt x="259" y="303"/>
                </a:lnTo>
                <a:lnTo>
                  <a:pt x="262" y="305"/>
                </a:lnTo>
                <a:lnTo>
                  <a:pt x="266" y="305"/>
                </a:lnTo>
                <a:lnTo>
                  <a:pt x="271" y="303"/>
                </a:lnTo>
                <a:lnTo>
                  <a:pt x="271" y="303"/>
                </a:lnTo>
                <a:lnTo>
                  <a:pt x="272" y="302"/>
                </a:lnTo>
                <a:lnTo>
                  <a:pt x="273" y="299"/>
                </a:lnTo>
                <a:lnTo>
                  <a:pt x="273" y="296"/>
                </a:lnTo>
                <a:lnTo>
                  <a:pt x="273" y="296"/>
                </a:lnTo>
                <a:lnTo>
                  <a:pt x="273" y="289"/>
                </a:lnTo>
                <a:lnTo>
                  <a:pt x="272" y="286"/>
                </a:lnTo>
                <a:lnTo>
                  <a:pt x="271" y="285"/>
                </a:lnTo>
                <a:lnTo>
                  <a:pt x="271" y="285"/>
                </a:lnTo>
                <a:lnTo>
                  <a:pt x="266" y="288"/>
                </a:lnTo>
                <a:lnTo>
                  <a:pt x="263" y="288"/>
                </a:lnTo>
                <a:lnTo>
                  <a:pt x="261" y="288"/>
                </a:lnTo>
                <a:lnTo>
                  <a:pt x="261" y="288"/>
                </a:lnTo>
                <a:lnTo>
                  <a:pt x="256" y="286"/>
                </a:lnTo>
                <a:lnTo>
                  <a:pt x="254" y="282"/>
                </a:lnTo>
                <a:lnTo>
                  <a:pt x="249" y="275"/>
                </a:lnTo>
                <a:lnTo>
                  <a:pt x="249" y="275"/>
                </a:lnTo>
                <a:lnTo>
                  <a:pt x="249" y="273"/>
                </a:lnTo>
                <a:lnTo>
                  <a:pt x="251" y="269"/>
                </a:lnTo>
                <a:lnTo>
                  <a:pt x="252" y="265"/>
                </a:lnTo>
                <a:lnTo>
                  <a:pt x="254" y="261"/>
                </a:lnTo>
                <a:lnTo>
                  <a:pt x="254" y="261"/>
                </a:lnTo>
                <a:lnTo>
                  <a:pt x="255" y="251"/>
                </a:lnTo>
                <a:lnTo>
                  <a:pt x="255" y="245"/>
                </a:lnTo>
                <a:lnTo>
                  <a:pt x="254" y="242"/>
                </a:lnTo>
                <a:lnTo>
                  <a:pt x="254" y="242"/>
                </a:lnTo>
                <a:lnTo>
                  <a:pt x="252" y="241"/>
                </a:lnTo>
                <a:lnTo>
                  <a:pt x="252" y="239"/>
                </a:lnTo>
                <a:lnTo>
                  <a:pt x="254" y="236"/>
                </a:lnTo>
                <a:lnTo>
                  <a:pt x="256" y="233"/>
                </a:lnTo>
                <a:lnTo>
                  <a:pt x="256" y="233"/>
                </a:lnTo>
                <a:lnTo>
                  <a:pt x="258" y="231"/>
                </a:lnTo>
                <a:lnTo>
                  <a:pt x="258" y="228"/>
                </a:lnTo>
                <a:lnTo>
                  <a:pt x="258" y="225"/>
                </a:lnTo>
                <a:lnTo>
                  <a:pt x="259" y="224"/>
                </a:lnTo>
                <a:lnTo>
                  <a:pt x="261" y="224"/>
                </a:lnTo>
                <a:lnTo>
                  <a:pt x="261" y="224"/>
                </a:lnTo>
                <a:lnTo>
                  <a:pt x="271" y="224"/>
                </a:lnTo>
                <a:lnTo>
                  <a:pt x="276" y="222"/>
                </a:lnTo>
                <a:lnTo>
                  <a:pt x="279" y="221"/>
                </a:lnTo>
                <a:lnTo>
                  <a:pt x="279" y="221"/>
                </a:lnTo>
                <a:lnTo>
                  <a:pt x="281" y="219"/>
                </a:lnTo>
                <a:lnTo>
                  <a:pt x="281" y="219"/>
                </a:lnTo>
                <a:lnTo>
                  <a:pt x="282" y="218"/>
                </a:lnTo>
                <a:lnTo>
                  <a:pt x="282" y="218"/>
                </a:lnTo>
                <a:lnTo>
                  <a:pt x="276" y="208"/>
                </a:lnTo>
                <a:lnTo>
                  <a:pt x="273" y="204"/>
                </a:lnTo>
                <a:lnTo>
                  <a:pt x="269" y="201"/>
                </a:lnTo>
                <a:lnTo>
                  <a:pt x="269" y="201"/>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56" name="Freeform 345">
            <a:extLst>
              <a:ext uri="{FF2B5EF4-FFF2-40B4-BE49-F238E27FC236}">
                <a16:creationId xmlns:a16="http://schemas.microsoft.com/office/drawing/2014/main" id="{CA2A980A-BA2A-ED0C-53DD-ED9C7BB860FD}"/>
              </a:ext>
            </a:extLst>
          </p:cNvPr>
          <p:cNvSpPr>
            <a:spLocks/>
          </p:cNvSpPr>
          <p:nvPr userDrawn="1"/>
        </p:nvSpPr>
        <p:spPr bwMode="gray">
          <a:xfrm>
            <a:off x="4946545" y="3395369"/>
            <a:ext cx="33813" cy="45518"/>
          </a:xfrm>
          <a:custGeom>
            <a:avLst/>
            <a:gdLst/>
            <a:ahLst/>
            <a:cxnLst>
              <a:cxn ang="0">
                <a:pos x="1" y="17"/>
              </a:cxn>
              <a:cxn ang="0">
                <a:pos x="1" y="17"/>
              </a:cxn>
              <a:cxn ang="0">
                <a:pos x="6" y="35"/>
              </a:cxn>
              <a:cxn ang="0">
                <a:pos x="6" y="35"/>
              </a:cxn>
              <a:cxn ang="0">
                <a:pos x="13" y="30"/>
              </a:cxn>
              <a:cxn ang="0">
                <a:pos x="13" y="30"/>
              </a:cxn>
              <a:cxn ang="0">
                <a:pos x="17" y="27"/>
              </a:cxn>
              <a:cxn ang="0">
                <a:pos x="21" y="20"/>
              </a:cxn>
              <a:cxn ang="0">
                <a:pos x="26" y="12"/>
              </a:cxn>
              <a:cxn ang="0">
                <a:pos x="21" y="9"/>
              </a:cxn>
              <a:cxn ang="0">
                <a:pos x="21" y="9"/>
              </a:cxn>
              <a:cxn ang="0">
                <a:pos x="21" y="7"/>
              </a:cxn>
              <a:cxn ang="0">
                <a:pos x="21" y="0"/>
              </a:cxn>
              <a:cxn ang="0">
                <a:pos x="21" y="0"/>
              </a:cxn>
              <a:cxn ang="0">
                <a:pos x="14" y="2"/>
              </a:cxn>
              <a:cxn ang="0">
                <a:pos x="14" y="2"/>
              </a:cxn>
              <a:cxn ang="0">
                <a:pos x="14" y="2"/>
              </a:cxn>
              <a:cxn ang="0">
                <a:pos x="13" y="5"/>
              </a:cxn>
              <a:cxn ang="0">
                <a:pos x="10" y="6"/>
              </a:cxn>
              <a:cxn ang="0">
                <a:pos x="6" y="6"/>
              </a:cxn>
              <a:cxn ang="0">
                <a:pos x="6" y="6"/>
              </a:cxn>
              <a:cxn ang="0">
                <a:pos x="0" y="6"/>
              </a:cxn>
              <a:cxn ang="0">
                <a:pos x="0" y="6"/>
              </a:cxn>
              <a:cxn ang="0">
                <a:pos x="1" y="6"/>
              </a:cxn>
              <a:cxn ang="0">
                <a:pos x="1" y="17"/>
              </a:cxn>
            </a:cxnLst>
            <a:rect l="0" t="0" r="r" b="b"/>
            <a:pathLst>
              <a:path w="26" h="35">
                <a:moveTo>
                  <a:pt x="1" y="17"/>
                </a:moveTo>
                <a:lnTo>
                  <a:pt x="1" y="17"/>
                </a:lnTo>
                <a:lnTo>
                  <a:pt x="6" y="35"/>
                </a:lnTo>
                <a:lnTo>
                  <a:pt x="6" y="35"/>
                </a:lnTo>
                <a:lnTo>
                  <a:pt x="13" y="30"/>
                </a:lnTo>
                <a:lnTo>
                  <a:pt x="13" y="30"/>
                </a:lnTo>
                <a:lnTo>
                  <a:pt x="17" y="27"/>
                </a:lnTo>
                <a:lnTo>
                  <a:pt x="21" y="20"/>
                </a:lnTo>
                <a:lnTo>
                  <a:pt x="26" y="12"/>
                </a:lnTo>
                <a:lnTo>
                  <a:pt x="21" y="9"/>
                </a:lnTo>
                <a:lnTo>
                  <a:pt x="21" y="9"/>
                </a:lnTo>
                <a:lnTo>
                  <a:pt x="21" y="7"/>
                </a:lnTo>
                <a:lnTo>
                  <a:pt x="21" y="0"/>
                </a:lnTo>
                <a:lnTo>
                  <a:pt x="21" y="0"/>
                </a:lnTo>
                <a:lnTo>
                  <a:pt x="14" y="2"/>
                </a:lnTo>
                <a:lnTo>
                  <a:pt x="14" y="2"/>
                </a:lnTo>
                <a:lnTo>
                  <a:pt x="14" y="2"/>
                </a:lnTo>
                <a:lnTo>
                  <a:pt x="13" y="5"/>
                </a:lnTo>
                <a:lnTo>
                  <a:pt x="10" y="6"/>
                </a:lnTo>
                <a:lnTo>
                  <a:pt x="6" y="6"/>
                </a:lnTo>
                <a:lnTo>
                  <a:pt x="6" y="6"/>
                </a:lnTo>
                <a:lnTo>
                  <a:pt x="0" y="6"/>
                </a:lnTo>
                <a:lnTo>
                  <a:pt x="0" y="6"/>
                </a:lnTo>
                <a:lnTo>
                  <a:pt x="1" y="6"/>
                </a:lnTo>
                <a:lnTo>
                  <a:pt x="1" y="17"/>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57" name="Freeform 346">
            <a:extLst>
              <a:ext uri="{FF2B5EF4-FFF2-40B4-BE49-F238E27FC236}">
                <a16:creationId xmlns:a16="http://schemas.microsoft.com/office/drawing/2014/main" id="{7342752F-BADB-4191-825F-87467DB987D6}"/>
              </a:ext>
            </a:extLst>
          </p:cNvPr>
          <p:cNvSpPr>
            <a:spLocks/>
          </p:cNvSpPr>
          <p:nvPr userDrawn="1"/>
        </p:nvSpPr>
        <p:spPr bwMode="gray">
          <a:xfrm>
            <a:off x="4968654" y="3568337"/>
            <a:ext cx="219787" cy="358941"/>
          </a:xfrm>
          <a:custGeom>
            <a:avLst/>
            <a:gdLst/>
            <a:ahLst/>
            <a:cxnLst>
              <a:cxn ang="0">
                <a:pos x="165" y="47"/>
              </a:cxn>
              <a:cxn ang="0">
                <a:pos x="164" y="1"/>
              </a:cxn>
              <a:cxn ang="0">
                <a:pos x="152" y="5"/>
              </a:cxn>
              <a:cxn ang="0">
                <a:pos x="141" y="11"/>
              </a:cxn>
              <a:cxn ang="0">
                <a:pos x="132" y="14"/>
              </a:cxn>
              <a:cxn ang="0">
                <a:pos x="124" y="12"/>
              </a:cxn>
              <a:cxn ang="0">
                <a:pos x="120" y="20"/>
              </a:cxn>
              <a:cxn ang="0">
                <a:pos x="104" y="20"/>
              </a:cxn>
              <a:cxn ang="0">
                <a:pos x="94" y="20"/>
              </a:cxn>
              <a:cxn ang="0">
                <a:pos x="88" y="15"/>
              </a:cxn>
              <a:cxn ang="0">
                <a:pos x="73" y="17"/>
              </a:cxn>
              <a:cxn ang="0">
                <a:pos x="71" y="27"/>
              </a:cxn>
              <a:cxn ang="0">
                <a:pos x="80" y="57"/>
              </a:cxn>
              <a:cxn ang="0">
                <a:pos x="91" y="69"/>
              </a:cxn>
              <a:cxn ang="0">
                <a:pos x="90" y="82"/>
              </a:cxn>
              <a:cxn ang="0">
                <a:pos x="81" y="92"/>
              </a:cxn>
              <a:cxn ang="0">
                <a:pos x="80" y="108"/>
              </a:cxn>
              <a:cxn ang="0">
                <a:pos x="71" y="99"/>
              </a:cxn>
              <a:cxn ang="0">
                <a:pos x="66" y="79"/>
              </a:cxn>
              <a:cxn ang="0">
                <a:pos x="67" y="65"/>
              </a:cxn>
              <a:cxn ang="0">
                <a:pos x="56" y="65"/>
              </a:cxn>
              <a:cxn ang="0">
                <a:pos x="44" y="58"/>
              </a:cxn>
              <a:cxn ang="0">
                <a:pos x="4" y="91"/>
              </a:cxn>
              <a:cxn ang="0">
                <a:pos x="24" y="95"/>
              </a:cxn>
              <a:cxn ang="0">
                <a:pos x="43" y="102"/>
              </a:cxn>
              <a:cxn ang="0">
                <a:pos x="44" y="126"/>
              </a:cxn>
              <a:cxn ang="0">
                <a:pos x="39" y="138"/>
              </a:cxn>
              <a:cxn ang="0">
                <a:pos x="41" y="145"/>
              </a:cxn>
              <a:cxn ang="0">
                <a:pos x="44" y="153"/>
              </a:cxn>
              <a:cxn ang="0">
                <a:pos x="36" y="165"/>
              </a:cxn>
              <a:cxn ang="0">
                <a:pos x="34" y="176"/>
              </a:cxn>
              <a:cxn ang="0">
                <a:pos x="16" y="197"/>
              </a:cxn>
              <a:cxn ang="0">
                <a:pos x="20" y="213"/>
              </a:cxn>
              <a:cxn ang="0">
                <a:pos x="26" y="227"/>
              </a:cxn>
              <a:cxn ang="0">
                <a:pos x="27" y="257"/>
              </a:cxn>
              <a:cxn ang="0">
                <a:pos x="41" y="274"/>
              </a:cxn>
              <a:cxn ang="0">
                <a:pos x="41" y="263"/>
              </a:cxn>
              <a:cxn ang="0">
                <a:pos x="36" y="260"/>
              </a:cxn>
              <a:cxn ang="0">
                <a:pos x="51" y="246"/>
              </a:cxn>
              <a:cxn ang="0">
                <a:pos x="80" y="233"/>
              </a:cxn>
              <a:cxn ang="0">
                <a:pos x="81" y="217"/>
              </a:cxn>
              <a:cxn ang="0">
                <a:pos x="83" y="202"/>
              </a:cxn>
              <a:cxn ang="0">
                <a:pos x="78" y="179"/>
              </a:cxn>
              <a:cxn ang="0">
                <a:pos x="73" y="165"/>
              </a:cxn>
              <a:cxn ang="0">
                <a:pos x="74" y="153"/>
              </a:cxn>
              <a:cxn ang="0">
                <a:pos x="83" y="145"/>
              </a:cxn>
              <a:cxn ang="0">
                <a:pos x="91" y="139"/>
              </a:cxn>
              <a:cxn ang="0">
                <a:pos x="103" y="128"/>
              </a:cxn>
              <a:cxn ang="0">
                <a:pos x="120" y="113"/>
              </a:cxn>
              <a:cxn ang="0">
                <a:pos x="144" y="104"/>
              </a:cxn>
              <a:cxn ang="0">
                <a:pos x="169" y="74"/>
              </a:cxn>
            </a:cxnLst>
            <a:rect l="0" t="0" r="r" b="b"/>
            <a:pathLst>
              <a:path w="169" h="276">
                <a:moveTo>
                  <a:pt x="169" y="71"/>
                </a:moveTo>
                <a:lnTo>
                  <a:pt x="169" y="71"/>
                </a:lnTo>
                <a:lnTo>
                  <a:pt x="167" y="57"/>
                </a:lnTo>
                <a:lnTo>
                  <a:pt x="165" y="47"/>
                </a:lnTo>
                <a:lnTo>
                  <a:pt x="165" y="40"/>
                </a:lnTo>
                <a:lnTo>
                  <a:pt x="165" y="40"/>
                </a:lnTo>
                <a:lnTo>
                  <a:pt x="165" y="21"/>
                </a:lnTo>
                <a:lnTo>
                  <a:pt x="164" y="1"/>
                </a:lnTo>
                <a:lnTo>
                  <a:pt x="164" y="1"/>
                </a:lnTo>
                <a:lnTo>
                  <a:pt x="164" y="0"/>
                </a:lnTo>
                <a:lnTo>
                  <a:pt x="164" y="0"/>
                </a:lnTo>
                <a:lnTo>
                  <a:pt x="152" y="5"/>
                </a:lnTo>
                <a:lnTo>
                  <a:pt x="147" y="10"/>
                </a:lnTo>
                <a:lnTo>
                  <a:pt x="147" y="10"/>
                </a:lnTo>
                <a:lnTo>
                  <a:pt x="145" y="11"/>
                </a:lnTo>
                <a:lnTo>
                  <a:pt x="141" y="11"/>
                </a:lnTo>
                <a:lnTo>
                  <a:pt x="138" y="11"/>
                </a:lnTo>
                <a:lnTo>
                  <a:pt x="135" y="12"/>
                </a:lnTo>
                <a:lnTo>
                  <a:pt x="135" y="12"/>
                </a:lnTo>
                <a:lnTo>
                  <a:pt x="132" y="14"/>
                </a:lnTo>
                <a:lnTo>
                  <a:pt x="130" y="14"/>
                </a:lnTo>
                <a:lnTo>
                  <a:pt x="125" y="12"/>
                </a:lnTo>
                <a:lnTo>
                  <a:pt x="125" y="12"/>
                </a:lnTo>
                <a:lnTo>
                  <a:pt x="124" y="12"/>
                </a:lnTo>
                <a:lnTo>
                  <a:pt x="122" y="14"/>
                </a:lnTo>
                <a:lnTo>
                  <a:pt x="121" y="18"/>
                </a:lnTo>
                <a:lnTo>
                  <a:pt x="121" y="18"/>
                </a:lnTo>
                <a:lnTo>
                  <a:pt x="120" y="20"/>
                </a:lnTo>
                <a:lnTo>
                  <a:pt x="117" y="20"/>
                </a:lnTo>
                <a:lnTo>
                  <a:pt x="111" y="20"/>
                </a:lnTo>
                <a:lnTo>
                  <a:pt x="111" y="20"/>
                </a:lnTo>
                <a:lnTo>
                  <a:pt x="104" y="20"/>
                </a:lnTo>
                <a:lnTo>
                  <a:pt x="97" y="21"/>
                </a:lnTo>
                <a:lnTo>
                  <a:pt x="97" y="21"/>
                </a:lnTo>
                <a:lnTo>
                  <a:pt x="95" y="21"/>
                </a:lnTo>
                <a:lnTo>
                  <a:pt x="94" y="20"/>
                </a:lnTo>
                <a:lnTo>
                  <a:pt x="94" y="18"/>
                </a:lnTo>
                <a:lnTo>
                  <a:pt x="93" y="17"/>
                </a:lnTo>
                <a:lnTo>
                  <a:pt x="93" y="17"/>
                </a:lnTo>
                <a:lnTo>
                  <a:pt x="88" y="15"/>
                </a:lnTo>
                <a:lnTo>
                  <a:pt x="87" y="17"/>
                </a:lnTo>
                <a:lnTo>
                  <a:pt x="83" y="18"/>
                </a:lnTo>
                <a:lnTo>
                  <a:pt x="83" y="18"/>
                </a:lnTo>
                <a:lnTo>
                  <a:pt x="73" y="17"/>
                </a:lnTo>
                <a:lnTo>
                  <a:pt x="73" y="17"/>
                </a:lnTo>
                <a:lnTo>
                  <a:pt x="73" y="22"/>
                </a:lnTo>
                <a:lnTo>
                  <a:pt x="73" y="22"/>
                </a:lnTo>
                <a:lnTo>
                  <a:pt x="71" y="27"/>
                </a:lnTo>
                <a:lnTo>
                  <a:pt x="73" y="31"/>
                </a:lnTo>
                <a:lnTo>
                  <a:pt x="74" y="40"/>
                </a:lnTo>
                <a:lnTo>
                  <a:pt x="77" y="49"/>
                </a:lnTo>
                <a:lnTo>
                  <a:pt x="80" y="57"/>
                </a:lnTo>
                <a:lnTo>
                  <a:pt x="80" y="57"/>
                </a:lnTo>
                <a:lnTo>
                  <a:pt x="90" y="67"/>
                </a:lnTo>
                <a:lnTo>
                  <a:pt x="90" y="67"/>
                </a:lnTo>
                <a:lnTo>
                  <a:pt x="91" y="69"/>
                </a:lnTo>
                <a:lnTo>
                  <a:pt x="91" y="72"/>
                </a:lnTo>
                <a:lnTo>
                  <a:pt x="90" y="75"/>
                </a:lnTo>
                <a:lnTo>
                  <a:pt x="90" y="82"/>
                </a:lnTo>
                <a:lnTo>
                  <a:pt x="90" y="82"/>
                </a:lnTo>
                <a:lnTo>
                  <a:pt x="88" y="88"/>
                </a:lnTo>
                <a:lnTo>
                  <a:pt x="87" y="91"/>
                </a:lnTo>
                <a:lnTo>
                  <a:pt x="84" y="91"/>
                </a:lnTo>
                <a:lnTo>
                  <a:pt x="81" y="92"/>
                </a:lnTo>
                <a:lnTo>
                  <a:pt x="81" y="92"/>
                </a:lnTo>
                <a:lnTo>
                  <a:pt x="78" y="96"/>
                </a:lnTo>
                <a:lnTo>
                  <a:pt x="78" y="101"/>
                </a:lnTo>
                <a:lnTo>
                  <a:pt x="80" y="108"/>
                </a:lnTo>
                <a:lnTo>
                  <a:pt x="80" y="108"/>
                </a:lnTo>
                <a:lnTo>
                  <a:pt x="78" y="108"/>
                </a:lnTo>
                <a:lnTo>
                  <a:pt x="77" y="105"/>
                </a:lnTo>
                <a:lnTo>
                  <a:pt x="71" y="99"/>
                </a:lnTo>
                <a:lnTo>
                  <a:pt x="64" y="88"/>
                </a:lnTo>
                <a:lnTo>
                  <a:pt x="64" y="88"/>
                </a:lnTo>
                <a:lnTo>
                  <a:pt x="64" y="84"/>
                </a:lnTo>
                <a:lnTo>
                  <a:pt x="66" y="79"/>
                </a:lnTo>
                <a:lnTo>
                  <a:pt x="67" y="72"/>
                </a:lnTo>
                <a:lnTo>
                  <a:pt x="68" y="67"/>
                </a:lnTo>
                <a:lnTo>
                  <a:pt x="68" y="67"/>
                </a:lnTo>
                <a:lnTo>
                  <a:pt x="67" y="65"/>
                </a:lnTo>
                <a:lnTo>
                  <a:pt x="66" y="64"/>
                </a:lnTo>
                <a:lnTo>
                  <a:pt x="61" y="64"/>
                </a:lnTo>
                <a:lnTo>
                  <a:pt x="56" y="65"/>
                </a:lnTo>
                <a:lnTo>
                  <a:pt x="56" y="65"/>
                </a:lnTo>
                <a:lnTo>
                  <a:pt x="53" y="64"/>
                </a:lnTo>
                <a:lnTo>
                  <a:pt x="49" y="61"/>
                </a:lnTo>
                <a:lnTo>
                  <a:pt x="44" y="58"/>
                </a:lnTo>
                <a:lnTo>
                  <a:pt x="44" y="58"/>
                </a:lnTo>
                <a:lnTo>
                  <a:pt x="0" y="74"/>
                </a:lnTo>
                <a:lnTo>
                  <a:pt x="3" y="85"/>
                </a:lnTo>
                <a:lnTo>
                  <a:pt x="2" y="85"/>
                </a:lnTo>
                <a:lnTo>
                  <a:pt x="4" y="91"/>
                </a:lnTo>
                <a:lnTo>
                  <a:pt x="4" y="91"/>
                </a:lnTo>
                <a:lnTo>
                  <a:pt x="12" y="92"/>
                </a:lnTo>
                <a:lnTo>
                  <a:pt x="19" y="94"/>
                </a:lnTo>
                <a:lnTo>
                  <a:pt x="24" y="95"/>
                </a:lnTo>
                <a:lnTo>
                  <a:pt x="24" y="95"/>
                </a:lnTo>
                <a:lnTo>
                  <a:pt x="30" y="98"/>
                </a:lnTo>
                <a:lnTo>
                  <a:pt x="36" y="99"/>
                </a:lnTo>
                <a:lnTo>
                  <a:pt x="43" y="102"/>
                </a:lnTo>
                <a:lnTo>
                  <a:pt x="43" y="102"/>
                </a:lnTo>
                <a:lnTo>
                  <a:pt x="44" y="105"/>
                </a:lnTo>
                <a:lnTo>
                  <a:pt x="44" y="112"/>
                </a:lnTo>
                <a:lnTo>
                  <a:pt x="44" y="126"/>
                </a:lnTo>
                <a:lnTo>
                  <a:pt x="44" y="126"/>
                </a:lnTo>
                <a:lnTo>
                  <a:pt x="43" y="132"/>
                </a:lnTo>
                <a:lnTo>
                  <a:pt x="40" y="135"/>
                </a:lnTo>
                <a:lnTo>
                  <a:pt x="39" y="138"/>
                </a:lnTo>
                <a:lnTo>
                  <a:pt x="39" y="139"/>
                </a:lnTo>
                <a:lnTo>
                  <a:pt x="40" y="141"/>
                </a:lnTo>
                <a:lnTo>
                  <a:pt x="40" y="141"/>
                </a:lnTo>
                <a:lnTo>
                  <a:pt x="41" y="145"/>
                </a:lnTo>
                <a:lnTo>
                  <a:pt x="43" y="149"/>
                </a:lnTo>
                <a:lnTo>
                  <a:pt x="43" y="152"/>
                </a:lnTo>
                <a:lnTo>
                  <a:pt x="44" y="153"/>
                </a:lnTo>
                <a:lnTo>
                  <a:pt x="44" y="153"/>
                </a:lnTo>
                <a:lnTo>
                  <a:pt x="46" y="153"/>
                </a:lnTo>
                <a:lnTo>
                  <a:pt x="46" y="155"/>
                </a:lnTo>
                <a:lnTo>
                  <a:pt x="43" y="159"/>
                </a:lnTo>
                <a:lnTo>
                  <a:pt x="36" y="165"/>
                </a:lnTo>
                <a:lnTo>
                  <a:pt x="36" y="165"/>
                </a:lnTo>
                <a:lnTo>
                  <a:pt x="34" y="168"/>
                </a:lnTo>
                <a:lnTo>
                  <a:pt x="34" y="172"/>
                </a:lnTo>
                <a:lnTo>
                  <a:pt x="34" y="176"/>
                </a:lnTo>
                <a:lnTo>
                  <a:pt x="31" y="180"/>
                </a:lnTo>
                <a:lnTo>
                  <a:pt x="31" y="180"/>
                </a:lnTo>
                <a:lnTo>
                  <a:pt x="24" y="189"/>
                </a:lnTo>
                <a:lnTo>
                  <a:pt x="16" y="197"/>
                </a:lnTo>
                <a:lnTo>
                  <a:pt x="16" y="197"/>
                </a:lnTo>
                <a:lnTo>
                  <a:pt x="16" y="197"/>
                </a:lnTo>
                <a:lnTo>
                  <a:pt x="16" y="197"/>
                </a:lnTo>
                <a:lnTo>
                  <a:pt x="20" y="213"/>
                </a:lnTo>
                <a:lnTo>
                  <a:pt x="23" y="222"/>
                </a:lnTo>
                <a:lnTo>
                  <a:pt x="24" y="226"/>
                </a:lnTo>
                <a:lnTo>
                  <a:pt x="26" y="227"/>
                </a:lnTo>
                <a:lnTo>
                  <a:pt x="26" y="227"/>
                </a:lnTo>
                <a:lnTo>
                  <a:pt x="27" y="229"/>
                </a:lnTo>
                <a:lnTo>
                  <a:pt x="29" y="233"/>
                </a:lnTo>
                <a:lnTo>
                  <a:pt x="29" y="243"/>
                </a:lnTo>
                <a:lnTo>
                  <a:pt x="27" y="257"/>
                </a:lnTo>
                <a:lnTo>
                  <a:pt x="27" y="257"/>
                </a:lnTo>
                <a:lnTo>
                  <a:pt x="30" y="276"/>
                </a:lnTo>
                <a:lnTo>
                  <a:pt x="30" y="276"/>
                </a:lnTo>
                <a:lnTo>
                  <a:pt x="41" y="274"/>
                </a:lnTo>
                <a:lnTo>
                  <a:pt x="41" y="274"/>
                </a:lnTo>
                <a:lnTo>
                  <a:pt x="43" y="266"/>
                </a:lnTo>
                <a:lnTo>
                  <a:pt x="43" y="266"/>
                </a:lnTo>
                <a:lnTo>
                  <a:pt x="41" y="263"/>
                </a:lnTo>
                <a:lnTo>
                  <a:pt x="40" y="261"/>
                </a:lnTo>
                <a:lnTo>
                  <a:pt x="37" y="261"/>
                </a:lnTo>
                <a:lnTo>
                  <a:pt x="36" y="260"/>
                </a:lnTo>
                <a:lnTo>
                  <a:pt x="36" y="260"/>
                </a:lnTo>
                <a:lnTo>
                  <a:pt x="36" y="259"/>
                </a:lnTo>
                <a:lnTo>
                  <a:pt x="37" y="256"/>
                </a:lnTo>
                <a:lnTo>
                  <a:pt x="43" y="251"/>
                </a:lnTo>
                <a:lnTo>
                  <a:pt x="51" y="246"/>
                </a:lnTo>
                <a:lnTo>
                  <a:pt x="61" y="242"/>
                </a:lnTo>
                <a:lnTo>
                  <a:pt x="61" y="242"/>
                </a:lnTo>
                <a:lnTo>
                  <a:pt x="76" y="236"/>
                </a:lnTo>
                <a:lnTo>
                  <a:pt x="80" y="233"/>
                </a:lnTo>
                <a:lnTo>
                  <a:pt x="81" y="229"/>
                </a:lnTo>
                <a:lnTo>
                  <a:pt x="81" y="229"/>
                </a:lnTo>
                <a:lnTo>
                  <a:pt x="81" y="224"/>
                </a:lnTo>
                <a:lnTo>
                  <a:pt x="81" y="217"/>
                </a:lnTo>
                <a:lnTo>
                  <a:pt x="81" y="212"/>
                </a:lnTo>
                <a:lnTo>
                  <a:pt x="83" y="206"/>
                </a:lnTo>
                <a:lnTo>
                  <a:pt x="83" y="206"/>
                </a:lnTo>
                <a:lnTo>
                  <a:pt x="83" y="202"/>
                </a:lnTo>
                <a:lnTo>
                  <a:pt x="83" y="199"/>
                </a:lnTo>
                <a:lnTo>
                  <a:pt x="80" y="186"/>
                </a:lnTo>
                <a:lnTo>
                  <a:pt x="80" y="186"/>
                </a:lnTo>
                <a:lnTo>
                  <a:pt x="78" y="179"/>
                </a:lnTo>
                <a:lnTo>
                  <a:pt x="76" y="173"/>
                </a:lnTo>
                <a:lnTo>
                  <a:pt x="74" y="169"/>
                </a:lnTo>
                <a:lnTo>
                  <a:pt x="73" y="165"/>
                </a:lnTo>
                <a:lnTo>
                  <a:pt x="73" y="165"/>
                </a:lnTo>
                <a:lnTo>
                  <a:pt x="71" y="160"/>
                </a:lnTo>
                <a:lnTo>
                  <a:pt x="71" y="156"/>
                </a:lnTo>
                <a:lnTo>
                  <a:pt x="73" y="155"/>
                </a:lnTo>
                <a:lnTo>
                  <a:pt x="74" y="153"/>
                </a:lnTo>
                <a:lnTo>
                  <a:pt x="74" y="153"/>
                </a:lnTo>
                <a:lnTo>
                  <a:pt x="77" y="153"/>
                </a:lnTo>
                <a:lnTo>
                  <a:pt x="78" y="152"/>
                </a:lnTo>
                <a:lnTo>
                  <a:pt x="83" y="145"/>
                </a:lnTo>
                <a:lnTo>
                  <a:pt x="83" y="145"/>
                </a:lnTo>
                <a:lnTo>
                  <a:pt x="84" y="142"/>
                </a:lnTo>
                <a:lnTo>
                  <a:pt x="87" y="139"/>
                </a:lnTo>
                <a:lnTo>
                  <a:pt x="91" y="139"/>
                </a:lnTo>
                <a:lnTo>
                  <a:pt x="95" y="136"/>
                </a:lnTo>
                <a:lnTo>
                  <a:pt x="95" y="136"/>
                </a:lnTo>
                <a:lnTo>
                  <a:pt x="100" y="132"/>
                </a:lnTo>
                <a:lnTo>
                  <a:pt x="103" y="128"/>
                </a:lnTo>
                <a:lnTo>
                  <a:pt x="107" y="123"/>
                </a:lnTo>
                <a:lnTo>
                  <a:pt x="113" y="118"/>
                </a:lnTo>
                <a:lnTo>
                  <a:pt x="113" y="118"/>
                </a:lnTo>
                <a:lnTo>
                  <a:pt x="120" y="113"/>
                </a:lnTo>
                <a:lnTo>
                  <a:pt x="128" y="111"/>
                </a:lnTo>
                <a:lnTo>
                  <a:pt x="135" y="108"/>
                </a:lnTo>
                <a:lnTo>
                  <a:pt x="144" y="104"/>
                </a:lnTo>
                <a:lnTo>
                  <a:pt x="144" y="104"/>
                </a:lnTo>
                <a:lnTo>
                  <a:pt x="152" y="96"/>
                </a:lnTo>
                <a:lnTo>
                  <a:pt x="161" y="86"/>
                </a:lnTo>
                <a:lnTo>
                  <a:pt x="167" y="76"/>
                </a:lnTo>
                <a:lnTo>
                  <a:pt x="169" y="74"/>
                </a:lnTo>
                <a:lnTo>
                  <a:pt x="169" y="71"/>
                </a:lnTo>
                <a:lnTo>
                  <a:pt x="169" y="71"/>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58" name="Freeform 347">
            <a:extLst>
              <a:ext uri="{FF2B5EF4-FFF2-40B4-BE49-F238E27FC236}">
                <a16:creationId xmlns:a16="http://schemas.microsoft.com/office/drawing/2014/main" id="{3CD23AE7-744A-E364-616D-18CF084ED881}"/>
              </a:ext>
            </a:extLst>
          </p:cNvPr>
          <p:cNvSpPr>
            <a:spLocks/>
          </p:cNvSpPr>
          <p:nvPr userDrawn="1"/>
        </p:nvSpPr>
        <p:spPr bwMode="gray">
          <a:xfrm>
            <a:off x="4954349" y="3366757"/>
            <a:ext cx="227589" cy="228890"/>
          </a:xfrm>
          <a:custGeom>
            <a:avLst/>
            <a:gdLst/>
            <a:ahLst/>
            <a:cxnLst>
              <a:cxn ang="0">
                <a:pos x="162" y="135"/>
              </a:cxn>
              <a:cxn ang="0">
                <a:pos x="158" y="125"/>
              </a:cxn>
              <a:cxn ang="0">
                <a:pos x="156" y="112"/>
              </a:cxn>
              <a:cxn ang="0">
                <a:pos x="155" y="109"/>
              </a:cxn>
              <a:cxn ang="0">
                <a:pos x="159" y="99"/>
              </a:cxn>
              <a:cxn ang="0">
                <a:pos x="156" y="94"/>
              </a:cxn>
              <a:cxn ang="0">
                <a:pos x="151" y="85"/>
              </a:cxn>
              <a:cxn ang="0">
                <a:pos x="156" y="61"/>
              </a:cxn>
              <a:cxn ang="0">
                <a:pos x="131" y="32"/>
              </a:cxn>
              <a:cxn ang="0">
                <a:pos x="69" y="5"/>
              </a:cxn>
              <a:cxn ang="0">
                <a:pos x="62" y="15"/>
              </a:cxn>
              <a:cxn ang="0">
                <a:pos x="61" y="18"/>
              </a:cxn>
              <a:cxn ang="0">
                <a:pos x="65" y="24"/>
              </a:cxn>
              <a:cxn ang="0">
                <a:pos x="58" y="25"/>
              </a:cxn>
              <a:cxn ang="0">
                <a:pos x="38" y="24"/>
              </a:cxn>
              <a:cxn ang="0">
                <a:pos x="34" y="22"/>
              </a:cxn>
              <a:cxn ang="0">
                <a:pos x="38" y="0"/>
              </a:cxn>
              <a:cxn ang="0">
                <a:pos x="17" y="2"/>
              </a:cxn>
              <a:cxn ang="0">
                <a:pos x="21" y="12"/>
              </a:cxn>
              <a:cxn ang="0">
                <a:pos x="21" y="20"/>
              </a:cxn>
              <a:cxn ang="0">
                <a:pos x="15" y="22"/>
              </a:cxn>
              <a:cxn ang="0">
                <a:pos x="20" y="34"/>
              </a:cxn>
              <a:cxn ang="0">
                <a:pos x="11" y="49"/>
              </a:cxn>
              <a:cxn ang="0">
                <a:pos x="0" y="57"/>
              </a:cxn>
              <a:cxn ang="0">
                <a:pos x="7" y="82"/>
              </a:cxn>
              <a:cxn ang="0">
                <a:pos x="14" y="94"/>
              </a:cxn>
              <a:cxn ang="0">
                <a:pos x="18" y="108"/>
              </a:cxn>
              <a:cxn ang="0">
                <a:pos x="24" y="121"/>
              </a:cxn>
              <a:cxn ang="0">
                <a:pos x="20" y="122"/>
              </a:cxn>
              <a:cxn ang="0">
                <a:pos x="14" y="115"/>
              </a:cxn>
              <a:cxn ang="0">
                <a:pos x="11" y="118"/>
              </a:cxn>
              <a:cxn ang="0">
                <a:pos x="24" y="125"/>
              </a:cxn>
              <a:cxn ang="0">
                <a:pos x="31" y="126"/>
              </a:cxn>
              <a:cxn ang="0">
                <a:pos x="50" y="133"/>
              </a:cxn>
              <a:cxn ang="0">
                <a:pos x="58" y="139"/>
              </a:cxn>
              <a:cxn ang="0">
                <a:pos x="71" y="140"/>
              </a:cxn>
              <a:cxn ang="0">
                <a:pos x="72" y="139"/>
              </a:cxn>
              <a:cxn ang="0">
                <a:pos x="81" y="152"/>
              </a:cxn>
              <a:cxn ang="0">
                <a:pos x="84" y="172"/>
              </a:cxn>
              <a:cxn ang="0">
                <a:pos x="98" y="172"/>
              </a:cxn>
              <a:cxn ang="0">
                <a:pos x="104" y="172"/>
              </a:cxn>
              <a:cxn ang="0">
                <a:pos x="106" y="176"/>
              </a:cxn>
              <a:cxn ang="0">
                <a:pos x="115" y="175"/>
              </a:cxn>
              <a:cxn ang="0">
                <a:pos x="128" y="175"/>
              </a:cxn>
              <a:cxn ang="0">
                <a:pos x="132" y="173"/>
              </a:cxn>
              <a:cxn ang="0">
                <a:pos x="136" y="167"/>
              </a:cxn>
              <a:cxn ang="0">
                <a:pos x="143" y="169"/>
              </a:cxn>
              <a:cxn ang="0">
                <a:pos x="149" y="166"/>
              </a:cxn>
              <a:cxn ang="0">
                <a:pos x="158" y="165"/>
              </a:cxn>
              <a:cxn ang="0">
                <a:pos x="175" y="155"/>
              </a:cxn>
              <a:cxn ang="0">
                <a:pos x="172" y="150"/>
              </a:cxn>
              <a:cxn ang="0">
                <a:pos x="163" y="143"/>
              </a:cxn>
            </a:cxnLst>
            <a:rect l="0" t="0" r="r" b="b"/>
            <a:pathLst>
              <a:path w="175" h="176">
                <a:moveTo>
                  <a:pt x="163" y="140"/>
                </a:moveTo>
                <a:lnTo>
                  <a:pt x="163" y="140"/>
                </a:lnTo>
                <a:lnTo>
                  <a:pt x="162" y="135"/>
                </a:lnTo>
                <a:lnTo>
                  <a:pt x="161" y="132"/>
                </a:lnTo>
                <a:lnTo>
                  <a:pt x="158" y="129"/>
                </a:lnTo>
                <a:lnTo>
                  <a:pt x="158" y="125"/>
                </a:lnTo>
                <a:lnTo>
                  <a:pt x="158" y="125"/>
                </a:lnTo>
                <a:lnTo>
                  <a:pt x="158" y="116"/>
                </a:lnTo>
                <a:lnTo>
                  <a:pt x="156" y="112"/>
                </a:lnTo>
                <a:lnTo>
                  <a:pt x="156" y="111"/>
                </a:lnTo>
                <a:lnTo>
                  <a:pt x="156" y="111"/>
                </a:lnTo>
                <a:lnTo>
                  <a:pt x="155" y="109"/>
                </a:lnTo>
                <a:lnTo>
                  <a:pt x="155" y="106"/>
                </a:lnTo>
                <a:lnTo>
                  <a:pt x="159" y="99"/>
                </a:lnTo>
                <a:lnTo>
                  <a:pt x="159" y="99"/>
                </a:lnTo>
                <a:lnTo>
                  <a:pt x="159" y="98"/>
                </a:lnTo>
                <a:lnTo>
                  <a:pt x="159" y="95"/>
                </a:lnTo>
                <a:lnTo>
                  <a:pt x="156" y="94"/>
                </a:lnTo>
                <a:lnTo>
                  <a:pt x="152" y="89"/>
                </a:lnTo>
                <a:lnTo>
                  <a:pt x="151" y="85"/>
                </a:lnTo>
                <a:lnTo>
                  <a:pt x="151" y="85"/>
                </a:lnTo>
                <a:lnTo>
                  <a:pt x="151" y="82"/>
                </a:lnTo>
                <a:lnTo>
                  <a:pt x="152" y="76"/>
                </a:lnTo>
                <a:lnTo>
                  <a:pt x="156" y="61"/>
                </a:lnTo>
                <a:lnTo>
                  <a:pt x="156" y="61"/>
                </a:lnTo>
                <a:lnTo>
                  <a:pt x="131" y="42"/>
                </a:lnTo>
                <a:lnTo>
                  <a:pt x="131" y="32"/>
                </a:lnTo>
                <a:lnTo>
                  <a:pt x="71" y="0"/>
                </a:lnTo>
                <a:lnTo>
                  <a:pt x="71" y="0"/>
                </a:lnTo>
                <a:lnTo>
                  <a:pt x="69" y="5"/>
                </a:lnTo>
                <a:lnTo>
                  <a:pt x="68" y="10"/>
                </a:lnTo>
                <a:lnTo>
                  <a:pt x="65" y="12"/>
                </a:lnTo>
                <a:lnTo>
                  <a:pt x="62" y="15"/>
                </a:lnTo>
                <a:lnTo>
                  <a:pt x="62" y="15"/>
                </a:lnTo>
                <a:lnTo>
                  <a:pt x="61" y="17"/>
                </a:lnTo>
                <a:lnTo>
                  <a:pt x="61" y="18"/>
                </a:lnTo>
                <a:lnTo>
                  <a:pt x="64" y="21"/>
                </a:lnTo>
                <a:lnTo>
                  <a:pt x="65" y="24"/>
                </a:lnTo>
                <a:lnTo>
                  <a:pt x="65" y="24"/>
                </a:lnTo>
                <a:lnTo>
                  <a:pt x="64" y="25"/>
                </a:lnTo>
                <a:lnTo>
                  <a:pt x="64" y="25"/>
                </a:lnTo>
                <a:lnTo>
                  <a:pt x="58" y="25"/>
                </a:lnTo>
                <a:lnTo>
                  <a:pt x="52" y="24"/>
                </a:lnTo>
                <a:lnTo>
                  <a:pt x="44" y="22"/>
                </a:lnTo>
                <a:lnTo>
                  <a:pt x="38" y="24"/>
                </a:lnTo>
                <a:lnTo>
                  <a:pt x="38" y="24"/>
                </a:lnTo>
                <a:lnTo>
                  <a:pt x="35" y="24"/>
                </a:lnTo>
                <a:lnTo>
                  <a:pt x="34" y="22"/>
                </a:lnTo>
                <a:lnTo>
                  <a:pt x="34" y="17"/>
                </a:lnTo>
                <a:lnTo>
                  <a:pt x="35" y="8"/>
                </a:lnTo>
                <a:lnTo>
                  <a:pt x="38" y="0"/>
                </a:lnTo>
                <a:lnTo>
                  <a:pt x="24" y="0"/>
                </a:lnTo>
                <a:lnTo>
                  <a:pt x="24" y="0"/>
                </a:lnTo>
                <a:lnTo>
                  <a:pt x="17" y="2"/>
                </a:lnTo>
                <a:lnTo>
                  <a:pt x="20" y="10"/>
                </a:lnTo>
                <a:lnTo>
                  <a:pt x="20" y="10"/>
                </a:lnTo>
                <a:lnTo>
                  <a:pt x="21" y="12"/>
                </a:lnTo>
                <a:lnTo>
                  <a:pt x="21" y="17"/>
                </a:lnTo>
                <a:lnTo>
                  <a:pt x="21" y="20"/>
                </a:lnTo>
                <a:lnTo>
                  <a:pt x="21" y="20"/>
                </a:lnTo>
                <a:lnTo>
                  <a:pt x="20" y="22"/>
                </a:lnTo>
                <a:lnTo>
                  <a:pt x="15" y="22"/>
                </a:lnTo>
                <a:lnTo>
                  <a:pt x="15" y="22"/>
                </a:lnTo>
                <a:lnTo>
                  <a:pt x="15" y="29"/>
                </a:lnTo>
                <a:lnTo>
                  <a:pt x="15" y="31"/>
                </a:lnTo>
                <a:lnTo>
                  <a:pt x="20" y="34"/>
                </a:lnTo>
                <a:lnTo>
                  <a:pt x="20" y="34"/>
                </a:lnTo>
                <a:lnTo>
                  <a:pt x="15" y="42"/>
                </a:lnTo>
                <a:lnTo>
                  <a:pt x="11" y="49"/>
                </a:lnTo>
                <a:lnTo>
                  <a:pt x="7" y="52"/>
                </a:lnTo>
                <a:lnTo>
                  <a:pt x="7" y="52"/>
                </a:lnTo>
                <a:lnTo>
                  <a:pt x="0" y="57"/>
                </a:lnTo>
                <a:lnTo>
                  <a:pt x="0" y="57"/>
                </a:lnTo>
                <a:lnTo>
                  <a:pt x="4" y="75"/>
                </a:lnTo>
                <a:lnTo>
                  <a:pt x="7" y="82"/>
                </a:lnTo>
                <a:lnTo>
                  <a:pt x="10" y="88"/>
                </a:lnTo>
                <a:lnTo>
                  <a:pt x="10" y="88"/>
                </a:lnTo>
                <a:lnTo>
                  <a:pt x="14" y="94"/>
                </a:lnTo>
                <a:lnTo>
                  <a:pt x="17" y="99"/>
                </a:lnTo>
                <a:lnTo>
                  <a:pt x="18" y="108"/>
                </a:lnTo>
                <a:lnTo>
                  <a:pt x="18" y="108"/>
                </a:lnTo>
                <a:lnTo>
                  <a:pt x="23" y="116"/>
                </a:lnTo>
                <a:lnTo>
                  <a:pt x="24" y="119"/>
                </a:lnTo>
                <a:lnTo>
                  <a:pt x="24" y="121"/>
                </a:lnTo>
                <a:lnTo>
                  <a:pt x="23" y="121"/>
                </a:lnTo>
                <a:lnTo>
                  <a:pt x="23" y="121"/>
                </a:lnTo>
                <a:lnTo>
                  <a:pt x="20" y="122"/>
                </a:lnTo>
                <a:lnTo>
                  <a:pt x="18" y="121"/>
                </a:lnTo>
                <a:lnTo>
                  <a:pt x="14" y="115"/>
                </a:lnTo>
                <a:lnTo>
                  <a:pt x="14" y="115"/>
                </a:lnTo>
                <a:lnTo>
                  <a:pt x="13" y="116"/>
                </a:lnTo>
                <a:lnTo>
                  <a:pt x="13" y="116"/>
                </a:lnTo>
                <a:lnTo>
                  <a:pt x="11" y="118"/>
                </a:lnTo>
                <a:lnTo>
                  <a:pt x="11" y="118"/>
                </a:lnTo>
                <a:lnTo>
                  <a:pt x="18" y="122"/>
                </a:lnTo>
                <a:lnTo>
                  <a:pt x="24" y="125"/>
                </a:lnTo>
                <a:lnTo>
                  <a:pt x="24" y="125"/>
                </a:lnTo>
                <a:lnTo>
                  <a:pt x="27" y="125"/>
                </a:lnTo>
                <a:lnTo>
                  <a:pt x="31" y="126"/>
                </a:lnTo>
                <a:lnTo>
                  <a:pt x="38" y="130"/>
                </a:lnTo>
                <a:lnTo>
                  <a:pt x="38" y="130"/>
                </a:lnTo>
                <a:lnTo>
                  <a:pt x="50" y="133"/>
                </a:lnTo>
                <a:lnTo>
                  <a:pt x="55" y="136"/>
                </a:lnTo>
                <a:lnTo>
                  <a:pt x="58" y="139"/>
                </a:lnTo>
                <a:lnTo>
                  <a:pt x="58" y="139"/>
                </a:lnTo>
                <a:lnTo>
                  <a:pt x="60" y="140"/>
                </a:lnTo>
                <a:lnTo>
                  <a:pt x="60" y="140"/>
                </a:lnTo>
                <a:lnTo>
                  <a:pt x="71" y="140"/>
                </a:lnTo>
                <a:lnTo>
                  <a:pt x="71" y="140"/>
                </a:lnTo>
                <a:lnTo>
                  <a:pt x="72" y="139"/>
                </a:lnTo>
                <a:lnTo>
                  <a:pt x="72" y="139"/>
                </a:lnTo>
                <a:lnTo>
                  <a:pt x="75" y="140"/>
                </a:lnTo>
                <a:lnTo>
                  <a:pt x="77" y="143"/>
                </a:lnTo>
                <a:lnTo>
                  <a:pt x="81" y="152"/>
                </a:lnTo>
                <a:lnTo>
                  <a:pt x="84" y="162"/>
                </a:lnTo>
                <a:lnTo>
                  <a:pt x="84" y="172"/>
                </a:lnTo>
                <a:lnTo>
                  <a:pt x="84" y="172"/>
                </a:lnTo>
                <a:lnTo>
                  <a:pt x="94" y="173"/>
                </a:lnTo>
                <a:lnTo>
                  <a:pt x="94" y="173"/>
                </a:lnTo>
                <a:lnTo>
                  <a:pt x="98" y="172"/>
                </a:lnTo>
                <a:lnTo>
                  <a:pt x="99" y="170"/>
                </a:lnTo>
                <a:lnTo>
                  <a:pt x="104" y="172"/>
                </a:lnTo>
                <a:lnTo>
                  <a:pt x="104" y="172"/>
                </a:lnTo>
                <a:lnTo>
                  <a:pt x="105" y="173"/>
                </a:lnTo>
                <a:lnTo>
                  <a:pt x="105" y="175"/>
                </a:lnTo>
                <a:lnTo>
                  <a:pt x="106" y="176"/>
                </a:lnTo>
                <a:lnTo>
                  <a:pt x="108" y="176"/>
                </a:lnTo>
                <a:lnTo>
                  <a:pt x="108" y="176"/>
                </a:lnTo>
                <a:lnTo>
                  <a:pt x="115" y="175"/>
                </a:lnTo>
                <a:lnTo>
                  <a:pt x="122" y="175"/>
                </a:lnTo>
                <a:lnTo>
                  <a:pt x="122" y="175"/>
                </a:lnTo>
                <a:lnTo>
                  <a:pt x="128" y="175"/>
                </a:lnTo>
                <a:lnTo>
                  <a:pt x="131" y="175"/>
                </a:lnTo>
                <a:lnTo>
                  <a:pt x="132" y="173"/>
                </a:lnTo>
                <a:lnTo>
                  <a:pt x="132" y="173"/>
                </a:lnTo>
                <a:lnTo>
                  <a:pt x="133" y="169"/>
                </a:lnTo>
                <a:lnTo>
                  <a:pt x="135" y="167"/>
                </a:lnTo>
                <a:lnTo>
                  <a:pt x="136" y="167"/>
                </a:lnTo>
                <a:lnTo>
                  <a:pt x="136" y="167"/>
                </a:lnTo>
                <a:lnTo>
                  <a:pt x="141" y="169"/>
                </a:lnTo>
                <a:lnTo>
                  <a:pt x="143" y="169"/>
                </a:lnTo>
                <a:lnTo>
                  <a:pt x="146" y="167"/>
                </a:lnTo>
                <a:lnTo>
                  <a:pt x="146" y="167"/>
                </a:lnTo>
                <a:lnTo>
                  <a:pt x="149" y="166"/>
                </a:lnTo>
                <a:lnTo>
                  <a:pt x="152" y="166"/>
                </a:lnTo>
                <a:lnTo>
                  <a:pt x="156" y="166"/>
                </a:lnTo>
                <a:lnTo>
                  <a:pt x="158" y="165"/>
                </a:lnTo>
                <a:lnTo>
                  <a:pt x="158" y="165"/>
                </a:lnTo>
                <a:lnTo>
                  <a:pt x="163" y="160"/>
                </a:lnTo>
                <a:lnTo>
                  <a:pt x="175" y="155"/>
                </a:lnTo>
                <a:lnTo>
                  <a:pt x="175" y="155"/>
                </a:lnTo>
                <a:lnTo>
                  <a:pt x="173" y="152"/>
                </a:lnTo>
                <a:lnTo>
                  <a:pt x="172" y="150"/>
                </a:lnTo>
                <a:lnTo>
                  <a:pt x="169" y="148"/>
                </a:lnTo>
                <a:lnTo>
                  <a:pt x="165" y="146"/>
                </a:lnTo>
                <a:lnTo>
                  <a:pt x="163" y="143"/>
                </a:lnTo>
                <a:lnTo>
                  <a:pt x="163" y="140"/>
                </a:lnTo>
                <a:lnTo>
                  <a:pt x="163" y="14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59" name="Freeform 348">
            <a:extLst>
              <a:ext uri="{FF2B5EF4-FFF2-40B4-BE49-F238E27FC236}">
                <a16:creationId xmlns:a16="http://schemas.microsoft.com/office/drawing/2014/main" id="{04BCF990-25BF-3A72-7222-1A11FB8F91D3}"/>
              </a:ext>
            </a:extLst>
          </p:cNvPr>
          <p:cNvSpPr>
            <a:spLocks/>
          </p:cNvSpPr>
          <p:nvPr userDrawn="1"/>
        </p:nvSpPr>
        <p:spPr bwMode="gray">
          <a:xfrm>
            <a:off x="5021975" y="3548829"/>
            <a:ext cx="65025" cy="159963"/>
          </a:xfrm>
          <a:custGeom>
            <a:avLst/>
            <a:gdLst/>
            <a:ahLst/>
            <a:cxnLst>
              <a:cxn ang="0">
                <a:pos x="49" y="82"/>
              </a:cxn>
              <a:cxn ang="0">
                <a:pos x="39" y="72"/>
              </a:cxn>
              <a:cxn ang="0">
                <a:pos x="37" y="74"/>
              </a:cxn>
              <a:cxn ang="0">
                <a:pos x="33" y="74"/>
              </a:cxn>
              <a:cxn ang="0">
                <a:pos x="23" y="59"/>
              </a:cxn>
              <a:cxn ang="0">
                <a:pos x="20" y="50"/>
              </a:cxn>
              <a:cxn ang="0">
                <a:pos x="23" y="35"/>
              </a:cxn>
              <a:cxn ang="0">
                <a:pos x="23" y="25"/>
              </a:cxn>
              <a:cxn ang="0">
                <a:pos x="22" y="22"/>
              </a:cxn>
              <a:cxn ang="0">
                <a:pos x="17" y="3"/>
              </a:cxn>
              <a:cxn ang="0">
                <a:pos x="19" y="0"/>
              </a:cxn>
              <a:cxn ang="0">
                <a:pos x="8" y="0"/>
              </a:cxn>
              <a:cxn ang="0">
                <a:pos x="15" y="16"/>
              </a:cxn>
              <a:cxn ang="0">
                <a:pos x="13" y="18"/>
              </a:cxn>
              <a:cxn ang="0">
                <a:pos x="10" y="18"/>
              </a:cxn>
              <a:cxn ang="0">
                <a:pos x="9" y="19"/>
              </a:cxn>
              <a:cxn ang="0">
                <a:pos x="8" y="33"/>
              </a:cxn>
              <a:cxn ang="0">
                <a:pos x="9" y="46"/>
              </a:cxn>
              <a:cxn ang="0">
                <a:pos x="10" y="46"/>
              </a:cxn>
              <a:cxn ang="0">
                <a:pos x="8" y="47"/>
              </a:cxn>
              <a:cxn ang="0">
                <a:pos x="2" y="50"/>
              </a:cxn>
              <a:cxn ang="0">
                <a:pos x="2" y="59"/>
              </a:cxn>
              <a:cxn ang="0">
                <a:pos x="0" y="66"/>
              </a:cxn>
              <a:cxn ang="0">
                <a:pos x="0" y="67"/>
              </a:cxn>
              <a:cxn ang="0">
                <a:pos x="3" y="73"/>
              </a:cxn>
              <a:cxn ang="0">
                <a:pos x="3" y="73"/>
              </a:cxn>
              <a:cxn ang="0">
                <a:pos x="12" y="79"/>
              </a:cxn>
              <a:cxn ang="0">
                <a:pos x="15" y="80"/>
              </a:cxn>
              <a:cxn ang="0">
                <a:pos x="25" y="79"/>
              </a:cxn>
              <a:cxn ang="0">
                <a:pos x="27" y="82"/>
              </a:cxn>
              <a:cxn ang="0">
                <a:pos x="26" y="87"/>
              </a:cxn>
              <a:cxn ang="0">
                <a:pos x="23" y="99"/>
              </a:cxn>
              <a:cxn ang="0">
                <a:pos x="23" y="103"/>
              </a:cxn>
              <a:cxn ang="0">
                <a:pos x="36" y="120"/>
              </a:cxn>
              <a:cxn ang="0">
                <a:pos x="39" y="123"/>
              </a:cxn>
              <a:cxn ang="0">
                <a:pos x="37" y="116"/>
              </a:cxn>
              <a:cxn ang="0">
                <a:pos x="40" y="107"/>
              </a:cxn>
              <a:cxn ang="0">
                <a:pos x="43" y="106"/>
              </a:cxn>
              <a:cxn ang="0">
                <a:pos x="47" y="103"/>
              </a:cxn>
              <a:cxn ang="0">
                <a:pos x="49" y="97"/>
              </a:cxn>
              <a:cxn ang="0">
                <a:pos x="50" y="87"/>
              </a:cxn>
              <a:cxn ang="0">
                <a:pos x="49" y="82"/>
              </a:cxn>
            </a:cxnLst>
            <a:rect l="0" t="0" r="r" b="b"/>
            <a:pathLst>
              <a:path w="50" h="123">
                <a:moveTo>
                  <a:pt x="49" y="82"/>
                </a:moveTo>
                <a:lnTo>
                  <a:pt x="49" y="82"/>
                </a:lnTo>
                <a:lnTo>
                  <a:pt x="39" y="72"/>
                </a:lnTo>
                <a:lnTo>
                  <a:pt x="39" y="72"/>
                </a:lnTo>
                <a:lnTo>
                  <a:pt x="37" y="74"/>
                </a:lnTo>
                <a:lnTo>
                  <a:pt x="37" y="74"/>
                </a:lnTo>
                <a:lnTo>
                  <a:pt x="36" y="76"/>
                </a:lnTo>
                <a:lnTo>
                  <a:pt x="33" y="74"/>
                </a:lnTo>
                <a:lnTo>
                  <a:pt x="27" y="69"/>
                </a:lnTo>
                <a:lnTo>
                  <a:pt x="23" y="59"/>
                </a:lnTo>
                <a:lnTo>
                  <a:pt x="20" y="50"/>
                </a:lnTo>
                <a:lnTo>
                  <a:pt x="20" y="50"/>
                </a:lnTo>
                <a:lnTo>
                  <a:pt x="20" y="42"/>
                </a:lnTo>
                <a:lnTo>
                  <a:pt x="23" y="35"/>
                </a:lnTo>
                <a:lnTo>
                  <a:pt x="23" y="29"/>
                </a:lnTo>
                <a:lnTo>
                  <a:pt x="23" y="25"/>
                </a:lnTo>
                <a:lnTo>
                  <a:pt x="22" y="22"/>
                </a:lnTo>
                <a:lnTo>
                  <a:pt x="22" y="22"/>
                </a:lnTo>
                <a:lnTo>
                  <a:pt x="17" y="9"/>
                </a:lnTo>
                <a:lnTo>
                  <a:pt x="17" y="3"/>
                </a:lnTo>
                <a:lnTo>
                  <a:pt x="19" y="0"/>
                </a:lnTo>
                <a:lnTo>
                  <a:pt x="19" y="0"/>
                </a:lnTo>
                <a:lnTo>
                  <a:pt x="8" y="0"/>
                </a:lnTo>
                <a:lnTo>
                  <a:pt x="8" y="0"/>
                </a:lnTo>
                <a:lnTo>
                  <a:pt x="12" y="9"/>
                </a:lnTo>
                <a:lnTo>
                  <a:pt x="15" y="16"/>
                </a:lnTo>
                <a:lnTo>
                  <a:pt x="15" y="16"/>
                </a:lnTo>
                <a:lnTo>
                  <a:pt x="13" y="18"/>
                </a:lnTo>
                <a:lnTo>
                  <a:pt x="12" y="18"/>
                </a:lnTo>
                <a:lnTo>
                  <a:pt x="10" y="18"/>
                </a:lnTo>
                <a:lnTo>
                  <a:pt x="9" y="19"/>
                </a:lnTo>
                <a:lnTo>
                  <a:pt x="9" y="19"/>
                </a:lnTo>
                <a:lnTo>
                  <a:pt x="8" y="25"/>
                </a:lnTo>
                <a:lnTo>
                  <a:pt x="8" y="33"/>
                </a:lnTo>
                <a:lnTo>
                  <a:pt x="8" y="40"/>
                </a:lnTo>
                <a:lnTo>
                  <a:pt x="9" y="46"/>
                </a:lnTo>
                <a:lnTo>
                  <a:pt x="9" y="46"/>
                </a:lnTo>
                <a:lnTo>
                  <a:pt x="10" y="46"/>
                </a:lnTo>
                <a:lnTo>
                  <a:pt x="9" y="47"/>
                </a:lnTo>
                <a:lnTo>
                  <a:pt x="8" y="47"/>
                </a:lnTo>
                <a:lnTo>
                  <a:pt x="5" y="49"/>
                </a:lnTo>
                <a:lnTo>
                  <a:pt x="2" y="50"/>
                </a:lnTo>
                <a:lnTo>
                  <a:pt x="2" y="50"/>
                </a:lnTo>
                <a:lnTo>
                  <a:pt x="2" y="59"/>
                </a:lnTo>
                <a:lnTo>
                  <a:pt x="2" y="63"/>
                </a:lnTo>
                <a:lnTo>
                  <a:pt x="0" y="66"/>
                </a:lnTo>
                <a:lnTo>
                  <a:pt x="0" y="66"/>
                </a:lnTo>
                <a:lnTo>
                  <a:pt x="0" y="67"/>
                </a:lnTo>
                <a:lnTo>
                  <a:pt x="3" y="73"/>
                </a:lnTo>
                <a:lnTo>
                  <a:pt x="3" y="73"/>
                </a:lnTo>
                <a:lnTo>
                  <a:pt x="3" y="73"/>
                </a:lnTo>
                <a:lnTo>
                  <a:pt x="3" y="73"/>
                </a:lnTo>
                <a:lnTo>
                  <a:pt x="8" y="76"/>
                </a:lnTo>
                <a:lnTo>
                  <a:pt x="12" y="79"/>
                </a:lnTo>
                <a:lnTo>
                  <a:pt x="15" y="80"/>
                </a:lnTo>
                <a:lnTo>
                  <a:pt x="15" y="80"/>
                </a:lnTo>
                <a:lnTo>
                  <a:pt x="20" y="79"/>
                </a:lnTo>
                <a:lnTo>
                  <a:pt x="25" y="79"/>
                </a:lnTo>
                <a:lnTo>
                  <a:pt x="26" y="80"/>
                </a:lnTo>
                <a:lnTo>
                  <a:pt x="27" y="82"/>
                </a:lnTo>
                <a:lnTo>
                  <a:pt x="27" y="82"/>
                </a:lnTo>
                <a:lnTo>
                  <a:pt x="26" y="87"/>
                </a:lnTo>
                <a:lnTo>
                  <a:pt x="25" y="94"/>
                </a:lnTo>
                <a:lnTo>
                  <a:pt x="23" y="99"/>
                </a:lnTo>
                <a:lnTo>
                  <a:pt x="23" y="103"/>
                </a:lnTo>
                <a:lnTo>
                  <a:pt x="23" y="103"/>
                </a:lnTo>
                <a:lnTo>
                  <a:pt x="30" y="114"/>
                </a:lnTo>
                <a:lnTo>
                  <a:pt x="36" y="120"/>
                </a:lnTo>
                <a:lnTo>
                  <a:pt x="37" y="123"/>
                </a:lnTo>
                <a:lnTo>
                  <a:pt x="39" y="123"/>
                </a:lnTo>
                <a:lnTo>
                  <a:pt x="39" y="123"/>
                </a:lnTo>
                <a:lnTo>
                  <a:pt x="37" y="116"/>
                </a:lnTo>
                <a:lnTo>
                  <a:pt x="37" y="111"/>
                </a:lnTo>
                <a:lnTo>
                  <a:pt x="40" y="107"/>
                </a:lnTo>
                <a:lnTo>
                  <a:pt x="40" y="107"/>
                </a:lnTo>
                <a:lnTo>
                  <a:pt x="43" y="106"/>
                </a:lnTo>
                <a:lnTo>
                  <a:pt x="46" y="106"/>
                </a:lnTo>
                <a:lnTo>
                  <a:pt x="47" y="103"/>
                </a:lnTo>
                <a:lnTo>
                  <a:pt x="49" y="97"/>
                </a:lnTo>
                <a:lnTo>
                  <a:pt x="49" y="97"/>
                </a:lnTo>
                <a:lnTo>
                  <a:pt x="49" y="90"/>
                </a:lnTo>
                <a:lnTo>
                  <a:pt x="50" y="87"/>
                </a:lnTo>
                <a:lnTo>
                  <a:pt x="50" y="84"/>
                </a:lnTo>
                <a:lnTo>
                  <a:pt x="49" y="82"/>
                </a:lnTo>
                <a:lnTo>
                  <a:pt x="49" y="82"/>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60" name="Freeform 349">
            <a:extLst>
              <a:ext uri="{FF2B5EF4-FFF2-40B4-BE49-F238E27FC236}">
                <a16:creationId xmlns:a16="http://schemas.microsoft.com/office/drawing/2014/main" id="{2B1F0CB2-002B-2E9E-C909-2BF134FE9922}"/>
              </a:ext>
            </a:extLst>
          </p:cNvPr>
          <p:cNvSpPr>
            <a:spLocks/>
          </p:cNvSpPr>
          <p:nvPr userDrawn="1"/>
        </p:nvSpPr>
        <p:spPr bwMode="gray">
          <a:xfrm>
            <a:off x="5761965" y="2439495"/>
            <a:ext cx="159963" cy="105341"/>
          </a:xfrm>
          <a:custGeom>
            <a:avLst/>
            <a:gdLst/>
            <a:ahLst/>
            <a:cxnLst>
              <a:cxn ang="0">
                <a:pos x="103" y="68"/>
              </a:cxn>
              <a:cxn ang="0">
                <a:pos x="107" y="70"/>
              </a:cxn>
              <a:cxn ang="0">
                <a:pos x="117" y="72"/>
              </a:cxn>
              <a:cxn ang="0">
                <a:pos x="120" y="51"/>
              </a:cxn>
              <a:cxn ang="0">
                <a:pos x="117" y="47"/>
              </a:cxn>
              <a:cxn ang="0">
                <a:pos x="101" y="27"/>
              </a:cxn>
              <a:cxn ang="0">
                <a:pos x="86" y="28"/>
              </a:cxn>
              <a:cxn ang="0">
                <a:pos x="77" y="27"/>
              </a:cxn>
              <a:cxn ang="0">
                <a:pos x="67" y="26"/>
              </a:cxn>
              <a:cxn ang="0">
                <a:pos x="64" y="24"/>
              </a:cxn>
              <a:cxn ang="0">
                <a:pos x="54" y="26"/>
              </a:cxn>
              <a:cxn ang="0">
                <a:pos x="50" y="24"/>
              </a:cxn>
              <a:cxn ang="0">
                <a:pos x="33" y="24"/>
              </a:cxn>
              <a:cxn ang="0">
                <a:pos x="30" y="23"/>
              </a:cxn>
              <a:cxn ang="0">
                <a:pos x="37" y="14"/>
              </a:cxn>
              <a:cxn ang="0">
                <a:pos x="46" y="13"/>
              </a:cxn>
              <a:cxn ang="0">
                <a:pos x="52" y="3"/>
              </a:cxn>
              <a:cxn ang="0">
                <a:pos x="50" y="0"/>
              </a:cxn>
              <a:cxn ang="0">
                <a:pos x="42" y="3"/>
              </a:cxn>
              <a:cxn ang="0">
                <a:pos x="30" y="4"/>
              </a:cxn>
              <a:cxn ang="0">
                <a:pos x="26" y="11"/>
              </a:cxn>
              <a:cxn ang="0">
                <a:pos x="22" y="14"/>
              </a:cxn>
              <a:cxn ang="0">
                <a:pos x="17" y="21"/>
              </a:cxn>
              <a:cxn ang="0">
                <a:pos x="8" y="26"/>
              </a:cxn>
              <a:cxn ang="0">
                <a:pos x="0" y="28"/>
              </a:cxn>
              <a:cxn ang="0">
                <a:pos x="6" y="34"/>
              </a:cxn>
              <a:cxn ang="0">
                <a:pos x="10" y="41"/>
              </a:cxn>
              <a:cxn ang="0">
                <a:pos x="13" y="48"/>
              </a:cxn>
              <a:cxn ang="0">
                <a:pos x="13" y="55"/>
              </a:cxn>
              <a:cxn ang="0">
                <a:pos x="8" y="61"/>
              </a:cxn>
              <a:cxn ang="0">
                <a:pos x="6" y="72"/>
              </a:cxn>
              <a:cxn ang="0">
                <a:pos x="13" y="72"/>
              </a:cxn>
              <a:cxn ang="0">
                <a:pos x="17" y="71"/>
              </a:cxn>
              <a:cxn ang="0">
                <a:pos x="29" y="70"/>
              </a:cxn>
              <a:cxn ang="0">
                <a:pos x="30" y="67"/>
              </a:cxn>
              <a:cxn ang="0">
                <a:pos x="43" y="63"/>
              </a:cxn>
              <a:cxn ang="0">
                <a:pos x="45" y="61"/>
              </a:cxn>
              <a:cxn ang="0">
                <a:pos x="54" y="48"/>
              </a:cxn>
              <a:cxn ang="0">
                <a:pos x="62" y="47"/>
              </a:cxn>
              <a:cxn ang="0">
                <a:pos x="63" y="57"/>
              </a:cxn>
              <a:cxn ang="0">
                <a:pos x="66" y="60"/>
              </a:cxn>
              <a:cxn ang="0">
                <a:pos x="67" y="70"/>
              </a:cxn>
              <a:cxn ang="0">
                <a:pos x="67" y="80"/>
              </a:cxn>
              <a:cxn ang="0">
                <a:pos x="74" y="80"/>
              </a:cxn>
              <a:cxn ang="0">
                <a:pos x="83" y="77"/>
              </a:cxn>
              <a:cxn ang="0">
                <a:pos x="100" y="65"/>
              </a:cxn>
            </a:cxnLst>
            <a:rect l="0" t="0" r="r" b="b"/>
            <a:pathLst>
              <a:path w="123" h="81">
                <a:moveTo>
                  <a:pt x="100" y="65"/>
                </a:moveTo>
                <a:lnTo>
                  <a:pt x="100" y="65"/>
                </a:lnTo>
                <a:lnTo>
                  <a:pt x="103" y="68"/>
                </a:lnTo>
                <a:lnTo>
                  <a:pt x="104" y="70"/>
                </a:lnTo>
                <a:lnTo>
                  <a:pt x="107" y="70"/>
                </a:lnTo>
                <a:lnTo>
                  <a:pt x="107" y="70"/>
                </a:lnTo>
                <a:lnTo>
                  <a:pt x="111" y="70"/>
                </a:lnTo>
                <a:lnTo>
                  <a:pt x="117" y="72"/>
                </a:lnTo>
                <a:lnTo>
                  <a:pt x="117" y="72"/>
                </a:lnTo>
                <a:lnTo>
                  <a:pt x="123" y="72"/>
                </a:lnTo>
                <a:lnTo>
                  <a:pt x="123" y="72"/>
                </a:lnTo>
                <a:lnTo>
                  <a:pt x="120" y="51"/>
                </a:lnTo>
                <a:lnTo>
                  <a:pt x="120" y="51"/>
                </a:lnTo>
                <a:lnTo>
                  <a:pt x="118" y="48"/>
                </a:lnTo>
                <a:lnTo>
                  <a:pt x="117" y="47"/>
                </a:lnTo>
                <a:lnTo>
                  <a:pt x="111" y="44"/>
                </a:lnTo>
                <a:lnTo>
                  <a:pt x="104" y="41"/>
                </a:lnTo>
                <a:lnTo>
                  <a:pt x="101" y="27"/>
                </a:lnTo>
                <a:lnTo>
                  <a:pt x="101" y="27"/>
                </a:lnTo>
                <a:lnTo>
                  <a:pt x="91" y="28"/>
                </a:lnTo>
                <a:lnTo>
                  <a:pt x="86" y="28"/>
                </a:lnTo>
                <a:lnTo>
                  <a:pt x="80" y="28"/>
                </a:lnTo>
                <a:lnTo>
                  <a:pt x="80" y="28"/>
                </a:lnTo>
                <a:lnTo>
                  <a:pt x="77" y="27"/>
                </a:lnTo>
                <a:lnTo>
                  <a:pt x="74" y="28"/>
                </a:lnTo>
                <a:lnTo>
                  <a:pt x="70" y="27"/>
                </a:lnTo>
                <a:lnTo>
                  <a:pt x="67" y="26"/>
                </a:lnTo>
                <a:lnTo>
                  <a:pt x="67" y="26"/>
                </a:lnTo>
                <a:lnTo>
                  <a:pt x="66" y="24"/>
                </a:lnTo>
                <a:lnTo>
                  <a:pt x="64" y="24"/>
                </a:lnTo>
                <a:lnTo>
                  <a:pt x="62" y="24"/>
                </a:lnTo>
                <a:lnTo>
                  <a:pt x="57" y="26"/>
                </a:lnTo>
                <a:lnTo>
                  <a:pt x="54" y="26"/>
                </a:lnTo>
                <a:lnTo>
                  <a:pt x="53" y="24"/>
                </a:lnTo>
                <a:lnTo>
                  <a:pt x="53" y="24"/>
                </a:lnTo>
                <a:lnTo>
                  <a:pt x="50" y="24"/>
                </a:lnTo>
                <a:lnTo>
                  <a:pt x="47" y="23"/>
                </a:lnTo>
                <a:lnTo>
                  <a:pt x="39" y="24"/>
                </a:lnTo>
                <a:lnTo>
                  <a:pt x="33" y="24"/>
                </a:lnTo>
                <a:lnTo>
                  <a:pt x="30" y="24"/>
                </a:lnTo>
                <a:lnTo>
                  <a:pt x="30" y="23"/>
                </a:lnTo>
                <a:lnTo>
                  <a:pt x="30" y="23"/>
                </a:lnTo>
                <a:lnTo>
                  <a:pt x="30" y="20"/>
                </a:lnTo>
                <a:lnTo>
                  <a:pt x="33" y="17"/>
                </a:lnTo>
                <a:lnTo>
                  <a:pt x="37" y="14"/>
                </a:lnTo>
                <a:lnTo>
                  <a:pt x="42" y="13"/>
                </a:lnTo>
                <a:lnTo>
                  <a:pt x="42" y="13"/>
                </a:lnTo>
                <a:lnTo>
                  <a:pt x="46" y="13"/>
                </a:lnTo>
                <a:lnTo>
                  <a:pt x="46" y="13"/>
                </a:lnTo>
                <a:lnTo>
                  <a:pt x="50" y="6"/>
                </a:lnTo>
                <a:lnTo>
                  <a:pt x="52" y="3"/>
                </a:lnTo>
                <a:lnTo>
                  <a:pt x="52" y="0"/>
                </a:lnTo>
                <a:lnTo>
                  <a:pt x="52" y="0"/>
                </a:lnTo>
                <a:lnTo>
                  <a:pt x="50" y="0"/>
                </a:lnTo>
                <a:lnTo>
                  <a:pt x="47" y="0"/>
                </a:lnTo>
                <a:lnTo>
                  <a:pt x="42" y="3"/>
                </a:lnTo>
                <a:lnTo>
                  <a:pt x="42" y="3"/>
                </a:lnTo>
                <a:lnTo>
                  <a:pt x="37" y="4"/>
                </a:lnTo>
                <a:lnTo>
                  <a:pt x="35" y="4"/>
                </a:lnTo>
                <a:lnTo>
                  <a:pt x="30" y="4"/>
                </a:lnTo>
                <a:lnTo>
                  <a:pt x="29" y="6"/>
                </a:lnTo>
                <a:lnTo>
                  <a:pt x="29" y="6"/>
                </a:lnTo>
                <a:lnTo>
                  <a:pt x="26" y="11"/>
                </a:lnTo>
                <a:lnTo>
                  <a:pt x="23" y="13"/>
                </a:lnTo>
                <a:lnTo>
                  <a:pt x="22" y="14"/>
                </a:lnTo>
                <a:lnTo>
                  <a:pt x="22" y="14"/>
                </a:lnTo>
                <a:lnTo>
                  <a:pt x="19" y="16"/>
                </a:lnTo>
                <a:lnTo>
                  <a:pt x="19" y="18"/>
                </a:lnTo>
                <a:lnTo>
                  <a:pt x="17" y="21"/>
                </a:lnTo>
                <a:lnTo>
                  <a:pt x="16" y="23"/>
                </a:lnTo>
                <a:lnTo>
                  <a:pt x="16" y="23"/>
                </a:lnTo>
                <a:lnTo>
                  <a:pt x="8" y="26"/>
                </a:lnTo>
                <a:lnTo>
                  <a:pt x="3" y="27"/>
                </a:lnTo>
                <a:lnTo>
                  <a:pt x="0" y="28"/>
                </a:lnTo>
                <a:lnTo>
                  <a:pt x="0" y="28"/>
                </a:lnTo>
                <a:lnTo>
                  <a:pt x="0" y="30"/>
                </a:lnTo>
                <a:lnTo>
                  <a:pt x="2" y="31"/>
                </a:lnTo>
                <a:lnTo>
                  <a:pt x="6" y="34"/>
                </a:lnTo>
                <a:lnTo>
                  <a:pt x="9" y="37"/>
                </a:lnTo>
                <a:lnTo>
                  <a:pt x="10" y="40"/>
                </a:lnTo>
                <a:lnTo>
                  <a:pt x="10" y="41"/>
                </a:lnTo>
                <a:lnTo>
                  <a:pt x="10" y="41"/>
                </a:lnTo>
                <a:lnTo>
                  <a:pt x="12" y="45"/>
                </a:lnTo>
                <a:lnTo>
                  <a:pt x="13" y="48"/>
                </a:lnTo>
                <a:lnTo>
                  <a:pt x="13" y="53"/>
                </a:lnTo>
                <a:lnTo>
                  <a:pt x="13" y="54"/>
                </a:lnTo>
                <a:lnTo>
                  <a:pt x="13" y="55"/>
                </a:lnTo>
                <a:lnTo>
                  <a:pt x="13" y="55"/>
                </a:lnTo>
                <a:lnTo>
                  <a:pt x="10" y="58"/>
                </a:lnTo>
                <a:lnTo>
                  <a:pt x="8" y="61"/>
                </a:lnTo>
                <a:lnTo>
                  <a:pt x="6" y="65"/>
                </a:lnTo>
                <a:lnTo>
                  <a:pt x="6" y="72"/>
                </a:lnTo>
                <a:lnTo>
                  <a:pt x="6" y="72"/>
                </a:lnTo>
                <a:lnTo>
                  <a:pt x="10" y="74"/>
                </a:lnTo>
                <a:lnTo>
                  <a:pt x="12" y="74"/>
                </a:lnTo>
                <a:lnTo>
                  <a:pt x="13" y="72"/>
                </a:lnTo>
                <a:lnTo>
                  <a:pt x="13" y="72"/>
                </a:lnTo>
                <a:lnTo>
                  <a:pt x="15" y="71"/>
                </a:lnTo>
                <a:lnTo>
                  <a:pt x="17" y="71"/>
                </a:lnTo>
                <a:lnTo>
                  <a:pt x="23" y="71"/>
                </a:lnTo>
                <a:lnTo>
                  <a:pt x="27" y="70"/>
                </a:lnTo>
                <a:lnTo>
                  <a:pt x="29" y="70"/>
                </a:lnTo>
                <a:lnTo>
                  <a:pt x="30" y="68"/>
                </a:lnTo>
                <a:lnTo>
                  <a:pt x="30" y="68"/>
                </a:lnTo>
                <a:lnTo>
                  <a:pt x="30" y="67"/>
                </a:lnTo>
                <a:lnTo>
                  <a:pt x="32" y="65"/>
                </a:lnTo>
                <a:lnTo>
                  <a:pt x="37" y="64"/>
                </a:lnTo>
                <a:lnTo>
                  <a:pt x="43" y="63"/>
                </a:lnTo>
                <a:lnTo>
                  <a:pt x="45" y="63"/>
                </a:lnTo>
                <a:lnTo>
                  <a:pt x="45" y="61"/>
                </a:lnTo>
                <a:lnTo>
                  <a:pt x="45" y="61"/>
                </a:lnTo>
                <a:lnTo>
                  <a:pt x="46" y="57"/>
                </a:lnTo>
                <a:lnTo>
                  <a:pt x="50" y="53"/>
                </a:lnTo>
                <a:lnTo>
                  <a:pt x="54" y="48"/>
                </a:lnTo>
                <a:lnTo>
                  <a:pt x="60" y="47"/>
                </a:lnTo>
                <a:lnTo>
                  <a:pt x="60" y="47"/>
                </a:lnTo>
                <a:lnTo>
                  <a:pt x="62" y="47"/>
                </a:lnTo>
                <a:lnTo>
                  <a:pt x="62" y="48"/>
                </a:lnTo>
                <a:lnTo>
                  <a:pt x="63" y="53"/>
                </a:lnTo>
                <a:lnTo>
                  <a:pt x="63" y="57"/>
                </a:lnTo>
                <a:lnTo>
                  <a:pt x="64" y="58"/>
                </a:lnTo>
                <a:lnTo>
                  <a:pt x="66" y="60"/>
                </a:lnTo>
                <a:lnTo>
                  <a:pt x="66" y="60"/>
                </a:lnTo>
                <a:lnTo>
                  <a:pt x="67" y="61"/>
                </a:lnTo>
                <a:lnTo>
                  <a:pt x="69" y="64"/>
                </a:lnTo>
                <a:lnTo>
                  <a:pt x="67" y="70"/>
                </a:lnTo>
                <a:lnTo>
                  <a:pt x="66" y="75"/>
                </a:lnTo>
                <a:lnTo>
                  <a:pt x="66" y="77"/>
                </a:lnTo>
                <a:lnTo>
                  <a:pt x="67" y="80"/>
                </a:lnTo>
                <a:lnTo>
                  <a:pt x="67" y="80"/>
                </a:lnTo>
                <a:lnTo>
                  <a:pt x="70" y="81"/>
                </a:lnTo>
                <a:lnTo>
                  <a:pt x="74" y="80"/>
                </a:lnTo>
                <a:lnTo>
                  <a:pt x="74" y="80"/>
                </a:lnTo>
                <a:lnTo>
                  <a:pt x="83" y="77"/>
                </a:lnTo>
                <a:lnTo>
                  <a:pt x="83" y="77"/>
                </a:lnTo>
                <a:lnTo>
                  <a:pt x="93" y="68"/>
                </a:lnTo>
                <a:lnTo>
                  <a:pt x="97" y="65"/>
                </a:lnTo>
                <a:lnTo>
                  <a:pt x="100" y="65"/>
                </a:lnTo>
                <a:lnTo>
                  <a:pt x="100" y="65"/>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61" name="Freeform 350">
            <a:extLst>
              <a:ext uri="{FF2B5EF4-FFF2-40B4-BE49-F238E27FC236}">
                <a16:creationId xmlns:a16="http://schemas.microsoft.com/office/drawing/2014/main" id="{E463CDFD-D1B5-1876-73B2-8B8F2F4E52E4}"/>
              </a:ext>
            </a:extLst>
          </p:cNvPr>
          <p:cNvSpPr>
            <a:spLocks/>
          </p:cNvSpPr>
          <p:nvPr userDrawn="1"/>
        </p:nvSpPr>
        <p:spPr bwMode="gray">
          <a:xfrm>
            <a:off x="2705769" y="2806238"/>
            <a:ext cx="15607" cy="32513"/>
          </a:xfrm>
          <a:custGeom>
            <a:avLst/>
            <a:gdLst/>
            <a:ahLst/>
            <a:cxnLst>
              <a:cxn ang="0">
                <a:pos x="12" y="25"/>
              </a:cxn>
              <a:cxn ang="0">
                <a:pos x="12" y="25"/>
              </a:cxn>
              <a:cxn ang="0">
                <a:pos x="10" y="25"/>
              </a:cxn>
              <a:cxn ang="0">
                <a:pos x="7" y="24"/>
              </a:cxn>
              <a:cxn ang="0">
                <a:pos x="6" y="21"/>
              </a:cxn>
              <a:cxn ang="0">
                <a:pos x="5" y="18"/>
              </a:cxn>
              <a:cxn ang="0">
                <a:pos x="5" y="18"/>
              </a:cxn>
              <a:cxn ang="0">
                <a:pos x="5" y="15"/>
              </a:cxn>
              <a:cxn ang="0">
                <a:pos x="2" y="14"/>
              </a:cxn>
              <a:cxn ang="0">
                <a:pos x="0" y="11"/>
              </a:cxn>
              <a:cxn ang="0">
                <a:pos x="0" y="7"/>
              </a:cxn>
              <a:cxn ang="0">
                <a:pos x="0" y="7"/>
              </a:cxn>
              <a:cxn ang="0">
                <a:pos x="0" y="2"/>
              </a:cxn>
              <a:cxn ang="0">
                <a:pos x="2" y="1"/>
              </a:cxn>
              <a:cxn ang="0">
                <a:pos x="3" y="0"/>
              </a:cxn>
              <a:cxn ang="0">
                <a:pos x="6" y="2"/>
              </a:cxn>
              <a:cxn ang="0">
                <a:pos x="6" y="2"/>
              </a:cxn>
              <a:cxn ang="0">
                <a:pos x="7" y="7"/>
              </a:cxn>
              <a:cxn ang="0">
                <a:pos x="7" y="10"/>
              </a:cxn>
              <a:cxn ang="0">
                <a:pos x="7" y="15"/>
              </a:cxn>
              <a:cxn ang="0">
                <a:pos x="7" y="15"/>
              </a:cxn>
              <a:cxn ang="0">
                <a:pos x="10" y="19"/>
              </a:cxn>
              <a:cxn ang="0">
                <a:pos x="12" y="22"/>
              </a:cxn>
              <a:cxn ang="0">
                <a:pos x="12" y="25"/>
              </a:cxn>
              <a:cxn ang="0">
                <a:pos x="12" y="25"/>
              </a:cxn>
            </a:cxnLst>
            <a:rect l="0" t="0" r="r" b="b"/>
            <a:pathLst>
              <a:path w="12" h="25">
                <a:moveTo>
                  <a:pt x="12" y="25"/>
                </a:moveTo>
                <a:lnTo>
                  <a:pt x="12" y="25"/>
                </a:lnTo>
                <a:lnTo>
                  <a:pt x="10" y="25"/>
                </a:lnTo>
                <a:lnTo>
                  <a:pt x="7" y="24"/>
                </a:lnTo>
                <a:lnTo>
                  <a:pt x="6" y="21"/>
                </a:lnTo>
                <a:lnTo>
                  <a:pt x="5" y="18"/>
                </a:lnTo>
                <a:lnTo>
                  <a:pt x="5" y="18"/>
                </a:lnTo>
                <a:lnTo>
                  <a:pt x="5" y="15"/>
                </a:lnTo>
                <a:lnTo>
                  <a:pt x="2" y="14"/>
                </a:lnTo>
                <a:lnTo>
                  <a:pt x="0" y="11"/>
                </a:lnTo>
                <a:lnTo>
                  <a:pt x="0" y="7"/>
                </a:lnTo>
                <a:lnTo>
                  <a:pt x="0" y="7"/>
                </a:lnTo>
                <a:lnTo>
                  <a:pt x="0" y="2"/>
                </a:lnTo>
                <a:lnTo>
                  <a:pt x="2" y="1"/>
                </a:lnTo>
                <a:lnTo>
                  <a:pt x="3" y="0"/>
                </a:lnTo>
                <a:lnTo>
                  <a:pt x="6" y="2"/>
                </a:lnTo>
                <a:lnTo>
                  <a:pt x="6" y="2"/>
                </a:lnTo>
                <a:lnTo>
                  <a:pt x="7" y="7"/>
                </a:lnTo>
                <a:lnTo>
                  <a:pt x="7" y="10"/>
                </a:lnTo>
                <a:lnTo>
                  <a:pt x="7" y="15"/>
                </a:lnTo>
                <a:lnTo>
                  <a:pt x="7" y="15"/>
                </a:lnTo>
                <a:lnTo>
                  <a:pt x="10" y="19"/>
                </a:lnTo>
                <a:lnTo>
                  <a:pt x="12" y="22"/>
                </a:lnTo>
                <a:lnTo>
                  <a:pt x="12" y="25"/>
                </a:lnTo>
                <a:lnTo>
                  <a:pt x="12" y="25"/>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62" name="Freeform 351">
            <a:extLst>
              <a:ext uri="{FF2B5EF4-FFF2-40B4-BE49-F238E27FC236}">
                <a16:creationId xmlns:a16="http://schemas.microsoft.com/office/drawing/2014/main" id="{69EB30ED-A601-D1F0-E878-CBA6437A8174}"/>
              </a:ext>
            </a:extLst>
          </p:cNvPr>
          <p:cNvSpPr>
            <a:spLocks/>
          </p:cNvSpPr>
          <p:nvPr userDrawn="1"/>
        </p:nvSpPr>
        <p:spPr bwMode="gray">
          <a:xfrm>
            <a:off x="3051704" y="3122262"/>
            <a:ext cx="20808" cy="14306"/>
          </a:xfrm>
          <a:custGeom>
            <a:avLst/>
            <a:gdLst/>
            <a:ahLst/>
            <a:cxnLst>
              <a:cxn ang="0">
                <a:pos x="2" y="11"/>
              </a:cxn>
              <a:cxn ang="0">
                <a:pos x="2" y="11"/>
              </a:cxn>
              <a:cxn ang="0">
                <a:pos x="2" y="10"/>
              </a:cxn>
              <a:cxn ang="0">
                <a:pos x="2" y="7"/>
              </a:cxn>
              <a:cxn ang="0">
                <a:pos x="3" y="6"/>
              </a:cxn>
              <a:cxn ang="0">
                <a:pos x="2" y="4"/>
              </a:cxn>
              <a:cxn ang="0">
                <a:pos x="2" y="4"/>
              </a:cxn>
              <a:cxn ang="0">
                <a:pos x="0" y="3"/>
              </a:cxn>
              <a:cxn ang="0">
                <a:pos x="2" y="1"/>
              </a:cxn>
              <a:cxn ang="0">
                <a:pos x="5" y="0"/>
              </a:cxn>
              <a:cxn ang="0">
                <a:pos x="9" y="0"/>
              </a:cxn>
              <a:cxn ang="0">
                <a:pos x="13" y="0"/>
              </a:cxn>
              <a:cxn ang="0">
                <a:pos x="13" y="0"/>
              </a:cxn>
              <a:cxn ang="0">
                <a:pos x="16" y="3"/>
              </a:cxn>
              <a:cxn ang="0">
                <a:pos x="16" y="6"/>
              </a:cxn>
              <a:cxn ang="0">
                <a:pos x="16" y="8"/>
              </a:cxn>
              <a:cxn ang="0">
                <a:pos x="15" y="10"/>
              </a:cxn>
              <a:cxn ang="0">
                <a:pos x="15" y="10"/>
              </a:cxn>
              <a:cxn ang="0">
                <a:pos x="7" y="11"/>
              </a:cxn>
              <a:cxn ang="0">
                <a:pos x="5" y="11"/>
              </a:cxn>
              <a:cxn ang="0">
                <a:pos x="2" y="11"/>
              </a:cxn>
              <a:cxn ang="0">
                <a:pos x="2" y="11"/>
              </a:cxn>
            </a:cxnLst>
            <a:rect l="0" t="0" r="r" b="b"/>
            <a:pathLst>
              <a:path w="16" h="11">
                <a:moveTo>
                  <a:pt x="2" y="11"/>
                </a:moveTo>
                <a:lnTo>
                  <a:pt x="2" y="11"/>
                </a:lnTo>
                <a:lnTo>
                  <a:pt x="2" y="10"/>
                </a:lnTo>
                <a:lnTo>
                  <a:pt x="2" y="7"/>
                </a:lnTo>
                <a:lnTo>
                  <a:pt x="3" y="6"/>
                </a:lnTo>
                <a:lnTo>
                  <a:pt x="2" y="4"/>
                </a:lnTo>
                <a:lnTo>
                  <a:pt x="2" y="4"/>
                </a:lnTo>
                <a:lnTo>
                  <a:pt x="0" y="3"/>
                </a:lnTo>
                <a:lnTo>
                  <a:pt x="2" y="1"/>
                </a:lnTo>
                <a:lnTo>
                  <a:pt x="5" y="0"/>
                </a:lnTo>
                <a:lnTo>
                  <a:pt x="9" y="0"/>
                </a:lnTo>
                <a:lnTo>
                  <a:pt x="13" y="0"/>
                </a:lnTo>
                <a:lnTo>
                  <a:pt x="13" y="0"/>
                </a:lnTo>
                <a:lnTo>
                  <a:pt x="16" y="3"/>
                </a:lnTo>
                <a:lnTo>
                  <a:pt x="16" y="6"/>
                </a:lnTo>
                <a:lnTo>
                  <a:pt x="16" y="8"/>
                </a:lnTo>
                <a:lnTo>
                  <a:pt x="15" y="10"/>
                </a:lnTo>
                <a:lnTo>
                  <a:pt x="15" y="10"/>
                </a:lnTo>
                <a:lnTo>
                  <a:pt x="7" y="11"/>
                </a:lnTo>
                <a:lnTo>
                  <a:pt x="5" y="11"/>
                </a:lnTo>
                <a:lnTo>
                  <a:pt x="2" y="11"/>
                </a:lnTo>
                <a:lnTo>
                  <a:pt x="2" y="11"/>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63" name="Freeform 352">
            <a:extLst>
              <a:ext uri="{FF2B5EF4-FFF2-40B4-BE49-F238E27FC236}">
                <a16:creationId xmlns:a16="http://schemas.microsoft.com/office/drawing/2014/main" id="{81779535-5CE1-910B-EEC1-6EDA0AE09EC6}"/>
              </a:ext>
            </a:extLst>
          </p:cNvPr>
          <p:cNvSpPr>
            <a:spLocks/>
          </p:cNvSpPr>
          <p:nvPr userDrawn="1"/>
        </p:nvSpPr>
        <p:spPr bwMode="gray">
          <a:xfrm>
            <a:off x="5248264" y="2426490"/>
            <a:ext cx="70228" cy="58524"/>
          </a:xfrm>
          <a:custGeom>
            <a:avLst/>
            <a:gdLst/>
            <a:ahLst/>
            <a:cxnLst>
              <a:cxn ang="0">
                <a:pos x="51" y="36"/>
              </a:cxn>
              <a:cxn ang="0">
                <a:pos x="51" y="36"/>
              </a:cxn>
              <a:cxn ang="0">
                <a:pos x="48" y="33"/>
              </a:cxn>
              <a:cxn ang="0">
                <a:pos x="45" y="30"/>
              </a:cxn>
              <a:cxn ang="0">
                <a:pos x="43" y="27"/>
              </a:cxn>
              <a:cxn ang="0">
                <a:pos x="41" y="24"/>
              </a:cxn>
              <a:cxn ang="0">
                <a:pos x="41" y="24"/>
              </a:cxn>
              <a:cxn ang="0">
                <a:pos x="40" y="20"/>
              </a:cxn>
              <a:cxn ang="0">
                <a:pos x="37" y="17"/>
              </a:cxn>
              <a:cxn ang="0">
                <a:pos x="36" y="14"/>
              </a:cxn>
              <a:cxn ang="0">
                <a:pos x="36" y="11"/>
              </a:cxn>
              <a:cxn ang="0">
                <a:pos x="36" y="11"/>
              </a:cxn>
              <a:cxn ang="0">
                <a:pos x="34" y="8"/>
              </a:cxn>
              <a:cxn ang="0">
                <a:pos x="34" y="6"/>
              </a:cxn>
              <a:cxn ang="0">
                <a:pos x="30" y="1"/>
              </a:cxn>
              <a:cxn ang="0">
                <a:pos x="30" y="1"/>
              </a:cxn>
              <a:cxn ang="0">
                <a:pos x="23" y="0"/>
              </a:cxn>
              <a:cxn ang="0">
                <a:pos x="16" y="0"/>
              </a:cxn>
              <a:cxn ang="0">
                <a:pos x="16" y="0"/>
              </a:cxn>
              <a:cxn ang="0">
                <a:pos x="0" y="3"/>
              </a:cxn>
              <a:cxn ang="0">
                <a:pos x="0" y="3"/>
              </a:cxn>
              <a:cxn ang="0">
                <a:pos x="1" y="6"/>
              </a:cxn>
              <a:cxn ang="0">
                <a:pos x="1" y="8"/>
              </a:cxn>
              <a:cxn ang="0">
                <a:pos x="4" y="16"/>
              </a:cxn>
              <a:cxn ang="0">
                <a:pos x="4" y="16"/>
              </a:cxn>
              <a:cxn ang="0">
                <a:pos x="6" y="20"/>
              </a:cxn>
              <a:cxn ang="0">
                <a:pos x="10" y="20"/>
              </a:cxn>
              <a:cxn ang="0">
                <a:pos x="13" y="20"/>
              </a:cxn>
              <a:cxn ang="0">
                <a:pos x="16" y="21"/>
              </a:cxn>
              <a:cxn ang="0">
                <a:pos x="16" y="21"/>
              </a:cxn>
              <a:cxn ang="0">
                <a:pos x="18" y="27"/>
              </a:cxn>
              <a:cxn ang="0">
                <a:pos x="18" y="27"/>
              </a:cxn>
              <a:cxn ang="0">
                <a:pos x="20" y="27"/>
              </a:cxn>
              <a:cxn ang="0">
                <a:pos x="20" y="27"/>
              </a:cxn>
              <a:cxn ang="0">
                <a:pos x="23" y="28"/>
              </a:cxn>
              <a:cxn ang="0">
                <a:pos x="24" y="31"/>
              </a:cxn>
              <a:cxn ang="0">
                <a:pos x="24" y="31"/>
              </a:cxn>
              <a:cxn ang="0">
                <a:pos x="28" y="33"/>
              </a:cxn>
              <a:cxn ang="0">
                <a:pos x="33" y="34"/>
              </a:cxn>
              <a:cxn ang="0">
                <a:pos x="33" y="34"/>
              </a:cxn>
              <a:cxn ang="0">
                <a:pos x="36" y="34"/>
              </a:cxn>
              <a:cxn ang="0">
                <a:pos x="37" y="36"/>
              </a:cxn>
              <a:cxn ang="0">
                <a:pos x="40" y="37"/>
              </a:cxn>
              <a:cxn ang="0">
                <a:pos x="40" y="37"/>
              </a:cxn>
              <a:cxn ang="0">
                <a:pos x="43" y="41"/>
              </a:cxn>
              <a:cxn ang="0">
                <a:pos x="43" y="45"/>
              </a:cxn>
              <a:cxn ang="0">
                <a:pos x="43" y="45"/>
              </a:cxn>
              <a:cxn ang="0">
                <a:pos x="48" y="45"/>
              </a:cxn>
              <a:cxn ang="0">
                <a:pos x="54" y="44"/>
              </a:cxn>
              <a:cxn ang="0">
                <a:pos x="54" y="44"/>
              </a:cxn>
              <a:cxn ang="0">
                <a:pos x="51" y="38"/>
              </a:cxn>
              <a:cxn ang="0">
                <a:pos x="51" y="36"/>
              </a:cxn>
              <a:cxn ang="0">
                <a:pos x="51" y="36"/>
              </a:cxn>
            </a:cxnLst>
            <a:rect l="0" t="0" r="r" b="b"/>
            <a:pathLst>
              <a:path w="54" h="45">
                <a:moveTo>
                  <a:pt x="51" y="36"/>
                </a:moveTo>
                <a:lnTo>
                  <a:pt x="51" y="36"/>
                </a:lnTo>
                <a:lnTo>
                  <a:pt x="48" y="33"/>
                </a:lnTo>
                <a:lnTo>
                  <a:pt x="45" y="30"/>
                </a:lnTo>
                <a:lnTo>
                  <a:pt x="43" y="27"/>
                </a:lnTo>
                <a:lnTo>
                  <a:pt x="41" y="24"/>
                </a:lnTo>
                <a:lnTo>
                  <a:pt x="41" y="24"/>
                </a:lnTo>
                <a:lnTo>
                  <a:pt x="40" y="20"/>
                </a:lnTo>
                <a:lnTo>
                  <a:pt x="37" y="17"/>
                </a:lnTo>
                <a:lnTo>
                  <a:pt x="36" y="14"/>
                </a:lnTo>
                <a:lnTo>
                  <a:pt x="36" y="11"/>
                </a:lnTo>
                <a:lnTo>
                  <a:pt x="36" y="11"/>
                </a:lnTo>
                <a:lnTo>
                  <a:pt x="34" y="8"/>
                </a:lnTo>
                <a:lnTo>
                  <a:pt x="34" y="6"/>
                </a:lnTo>
                <a:lnTo>
                  <a:pt x="30" y="1"/>
                </a:lnTo>
                <a:lnTo>
                  <a:pt x="30" y="1"/>
                </a:lnTo>
                <a:lnTo>
                  <a:pt x="23" y="0"/>
                </a:lnTo>
                <a:lnTo>
                  <a:pt x="16" y="0"/>
                </a:lnTo>
                <a:lnTo>
                  <a:pt x="16" y="0"/>
                </a:lnTo>
                <a:lnTo>
                  <a:pt x="0" y="3"/>
                </a:lnTo>
                <a:lnTo>
                  <a:pt x="0" y="3"/>
                </a:lnTo>
                <a:lnTo>
                  <a:pt x="1" y="6"/>
                </a:lnTo>
                <a:lnTo>
                  <a:pt x="1" y="8"/>
                </a:lnTo>
                <a:lnTo>
                  <a:pt x="4" y="16"/>
                </a:lnTo>
                <a:lnTo>
                  <a:pt x="4" y="16"/>
                </a:lnTo>
                <a:lnTo>
                  <a:pt x="6" y="20"/>
                </a:lnTo>
                <a:lnTo>
                  <a:pt x="10" y="20"/>
                </a:lnTo>
                <a:lnTo>
                  <a:pt x="13" y="20"/>
                </a:lnTo>
                <a:lnTo>
                  <a:pt x="16" y="21"/>
                </a:lnTo>
                <a:lnTo>
                  <a:pt x="16" y="21"/>
                </a:lnTo>
                <a:lnTo>
                  <a:pt x="18" y="27"/>
                </a:lnTo>
                <a:lnTo>
                  <a:pt x="18" y="27"/>
                </a:lnTo>
                <a:lnTo>
                  <a:pt x="20" y="27"/>
                </a:lnTo>
                <a:lnTo>
                  <a:pt x="20" y="27"/>
                </a:lnTo>
                <a:lnTo>
                  <a:pt x="23" y="28"/>
                </a:lnTo>
                <a:lnTo>
                  <a:pt x="24" y="31"/>
                </a:lnTo>
                <a:lnTo>
                  <a:pt x="24" y="31"/>
                </a:lnTo>
                <a:lnTo>
                  <a:pt x="28" y="33"/>
                </a:lnTo>
                <a:lnTo>
                  <a:pt x="33" y="34"/>
                </a:lnTo>
                <a:lnTo>
                  <a:pt x="33" y="34"/>
                </a:lnTo>
                <a:lnTo>
                  <a:pt x="36" y="34"/>
                </a:lnTo>
                <a:lnTo>
                  <a:pt x="37" y="36"/>
                </a:lnTo>
                <a:lnTo>
                  <a:pt x="40" y="37"/>
                </a:lnTo>
                <a:lnTo>
                  <a:pt x="40" y="37"/>
                </a:lnTo>
                <a:lnTo>
                  <a:pt x="43" y="41"/>
                </a:lnTo>
                <a:lnTo>
                  <a:pt x="43" y="45"/>
                </a:lnTo>
                <a:lnTo>
                  <a:pt x="43" y="45"/>
                </a:lnTo>
                <a:lnTo>
                  <a:pt x="48" y="45"/>
                </a:lnTo>
                <a:lnTo>
                  <a:pt x="54" y="44"/>
                </a:lnTo>
                <a:lnTo>
                  <a:pt x="54" y="44"/>
                </a:lnTo>
                <a:lnTo>
                  <a:pt x="51" y="38"/>
                </a:lnTo>
                <a:lnTo>
                  <a:pt x="51" y="36"/>
                </a:lnTo>
                <a:lnTo>
                  <a:pt x="51" y="36"/>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64" name="Freeform 353">
            <a:extLst>
              <a:ext uri="{FF2B5EF4-FFF2-40B4-BE49-F238E27FC236}">
                <a16:creationId xmlns:a16="http://schemas.microsoft.com/office/drawing/2014/main" id="{F13B9586-A86C-F7C8-6550-7872328C673F}"/>
              </a:ext>
            </a:extLst>
          </p:cNvPr>
          <p:cNvSpPr>
            <a:spLocks noEditPoints="1"/>
          </p:cNvSpPr>
          <p:nvPr userDrawn="1"/>
        </p:nvSpPr>
        <p:spPr bwMode="gray">
          <a:xfrm>
            <a:off x="5279476" y="2412184"/>
            <a:ext cx="100140" cy="84533"/>
          </a:xfrm>
          <a:custGeom>
            <a:avLst/>
            <a:gdLst/>
            <a:ahLst/>
            <a:cxnLst>
              <a:cxn ang="0">
                <a:pos x="76" y="22"/>
              </a:cxn>
              <a:cxn ang="0">
                <a:pos x="61" y="4"/>
              </a:cxn>
              <a:cxn ang="0">
                <a:pos x="60" y="7"/>
              </a:cxn>
              <a:cxn ang="0">
                <a:pos x="53" y="10"/>
              </a:cxn>
              <a:cxn ang="0">
                <a:pos x="51" y="11"/>
              </a:cxn>
              <a:cxn ang="0">
                <a:pos x="49" y="12"/>
              </a:cxn>
              <a:cxn ang="0">
                <a:pos x="44" y="11"/>
              </a:cxn>
              <a:cxn ang="0">
                <a:pos x="41" y="10"/>
              </a:cxn>
              <a:cxn ang="0">
                <a:pos x="36" y="4"/>
              </a:cxn>
              <a:cxn ang="0">
                <a:pos x="31" y="2"/>
              </a:cxn>
              <a:cxn ang="0">
                <a:pos x="27" y="0"/>
              </a:cxn>
              <a:cxn ang="0">
                <a:pos x="24" y="7"/>
              </a:cxn>
              <a:cxn ang="0">
                <a:pos x="27" y="10"/>
              </a:cxn>
              <a:cxn ang="0">
                <a:pos x="29" y="14"/>
              </a:cxn>
              <a:cxn ang="0">
                <a:pos x="26" y="14"/>
              </a:cxn>
              <a:cxn ang="0">
                <a:pos x="19" y="14"/>
              </a:cxn>
              <a:cxn ang="0">
                <a:pos x="17" y="12"/>
              </a:cxn>
              <a:cxn ang="0">
                <a:pos x="7" y="8"/>
              </a:cxn>
              <a:cxn ang="0">
                <a:pos x="6" y="10"/>
              </a:cxn>
              <a:cxn ang="0">
                <a:pos x="9" y="15"/>
              </a:cxn>
              <a:cxn ang="0">
                <a:pos x="12" y="22"/>
              </a:cxn>
              <a:cxn ang="0">
                <a:pos x="12" y="25"/>
              </a:cxn>
              <a:cxn ang="0">
                <a:pos x="16" y="31"/>
              </a:cxn>
              <a:cxn ang="0">
                <a:pos x="17" y="35"/>
              </a:cxn>
              <a:cxn ang="0">
                <a:pos x="21" y="41"/>
              </a:cxn>
              <a:cxn ang="0">
                <a:pos x="27" y="47"/>
              </a:cxn>
              <a:cxn ang="0">
                <a:pos x="27" y="49"/>
              </a:cxn>
              <a:cxn ang="0">
                <a:pos x="30" y="55"/>
              </a:cxn>
              <a:cxn ang="0">
                <a:pos x="49" y="42"/>
              </a:cxn>
              <a:cxn ang="0">
                <a:pos x="51" y="42"/>
              </a:cxn>
              <a:cxn ang="0">
                <a:pos x="54" y="48"/>
              </a:cxn>
              <a:cxn ang="0">
                <a:pos x="51" y="56"/>
              </a:cxn>
              <a:cxn ang="0">
                <a:pos x="53" y="59"/>
              </a:cxn>
              <a:cxn ang="0">
                <a:pos x="64" y="65"/>
              </a:cxn>
              <a:cxn ang="0">
                <a:pos x="64" y="61"/>
              </a:cxn>
              <a:cxn ang="0">
                <a:pos x="67" y="56"/>
              </a:cxn>
              <a:cxn ang="0">
                <a:pos x="76" y="38"/>
              </a:cxn>
              <a:cxn ang="0">
                <a:pos x="77" y="25"/>
              </a:cxn>
              <a:cxn ang="0">
                <a:pos x="76" y="22"/>
              </a:cxn>
              <a:cxn ang="0">
                <a:pos x="9" y="45"/>
              </a:cxn>
              <a:cxn ang="0">
                <a:pos x="0" y="42"/>
              </a:cxn>
              <a:cxn ang="0">
                <a:pos x="2" y="47"/>
              </a:cxn>
              <a:cxn ang="0">
                <a:pos x="6" y="51"/>
              </a:cxn>
              <a:cxn ang="0">
                <a:pos x="9" y="52"/>
              </a:cxn>
              <a:cxn ang="0">
                <a:pos x="10" y="55"/>
              </a:cxn>
              <a:cxn ang="0">
                <a:pos x="17" y="56"/>
              </a:cxn>
              <a:cxn ang="0">
                <a:pos x="19" y="56"/>
              </a:cxn>
              <a:cxn ang="0">
                <a:pos x="16" y="48"/>
              </a:cxn>
              <a:cxn ang="0">
                <a:pos x="13" y="47"/>
              </a:cxn>
              <a:cxn ang="0">
                <a:pos x="9" y="45"/>
              </a:cxn>
            </a:cxnLst>
            <a:rect l="0" t="0" r="r" b="b"/>
            <a:pathLst>
              <a:path w="77" h="65">
                <a:moveTo>
                  <a:pt x="76" y="22"/>
                </a:moveTo>
                <a:lnTo>
                  <a:pt x="76" y="22"/>
                </a:lnTo>
                <a:lnTo>
                  <a:pt x="70" y="14"/>
                </a:lnTo>
                <a:lnTo>
                  <a:pt x="61" y="4"/>
                </a:lnTo>
                <a:lnTo>
                  <a:pt x="61" y="4"/>
                </a:lnTo>
                <a:lnTo>
                  <a:pt x="60" y="7"/>
                </a:lnTo>
                <a:lnTo>
                  <a:pt x="56" y="8"/>
                </a:lnTo>
                <a:lnTo>
                  <a:pt x="53" y="10"/>
                </a:lnTo>
                <a:lnTo>
                  <a:pt x="51" y="11"/>
                </a:lnTo>
                <a:lnTo>
                  <a:pt x="51" y="11"/>
                </a:lnTo>
                <a:lnTo>
                  <a:pt x="50" y="12"/>
                </a:lnTo>
                <a:lnTo>
                  <a:pt x="49" y="12"/>
                </a:lnTo>
                <a:lnTo>
                  <a:pt x="46" y="11"/>
                </a:lnTo>
                <a:lnTo>
                  <a:pt x="44" y="11"/>
                </a:lnTo>
                <a:lnTo>
                  <a:pt x="44" y="11"/>
                </a:lnTo>
                <a:lnTo>
                  <a:pt x="41" y="10"/>
                </a:lnTo>
                <a:lnTo>
                  <a:pt x="39" y="7"/>
                </a:lnTo>
                <a:lnTo>
                  <a:pt x="36" y="4"/>
                </a:lnTo>
                <a:lnTo>
                  <a:pt x="31" y="2"/>
                </a:lnTo>
                <a:lnTo>
                  <a:pt x="31" y="2"/>
                </a:lnTo>
                <a:lnTo>
                  <a:pt x="27" y="0"/>
                </a:lnTo>
                <a:lnTo>
                  <a:pt x="27" y="0"/>
                </a:lnTo>
                <a:lnTo>
                  <a:pt x="24" y="4"/>
                </a:lnTo>
                <a:lnTo>
                  <a:pt x="24" y="7"/>
                </a:lnTo>
                <a:lnTo>
                  <a:pt x="24" y="7"/>
                </a:lnTo>
                <a:lnTo>
                  <a:pt x="27" y="10"/>
                </a:lnTo>
                <a:lnTo>
                  <a:pt x="29" y="11"/>
                </a:lnTo>
                <a:lnTo>
                  <a:pt x="29" y="14"/>
                </a:lnTo>
                <a:lnTo>
                  <a:pt x="29" y="14"/>
                </a:lnTo>
                <a:lnTo>
                  <a:pt x="26" y="14"/>
                </a:lnTo>
                <a:lnTo>
                  <a:pt x="23" y="15"/>
                </a:lnTo>
                <a:lnTo>
                  <a:pt x="19" y="14"/>
                </a:lnTo>
                <a:lnTo>
                  <a:pt x="17" y="12"/>
                </a:lnTo>
                <a:lnTo>
                  <a:pt x="17" y="12"/>
                </a:lnTo>
                <a:lnTo>
                  <a:pt x="10" y="8"/>
                </a:lnTo>
                <a:lnTo>
                  <a:pt x="7" y="8"/>
                </a:lnTo>
                <a:lnTo>
                  <a:pt x="6" y="10"/>
                </a:lnTo>
                <a:lnTo>
                  <a:pt x="6" y="10"/>
                </a:lnTo>
                <a:lnTo>
                  <a:pt x="6" y="11"/>
                </a:lnTo>
                <a:lnTo>
                  <a:pt x="9" y="15"/>
                </a:lnTo>
                <a:lnTo>
                  <a:pt x="10" y="18"/>
                </a:lnTo>
                <a:lnTo>
                  <a:pt x="12" y="22"/>
                </a:lnTo>
                <a:lnTo>
                  <a:pt x="12" y="22"/>
                </a:lnTo>
                <a:lnTo>
                  <a:pt x="12" y="25"/>
                </a:lnTo>
                <a:lnTo>
                  <a:pt x="13" y="28"/>
                </a:lnTo>
                <a:lnTo>
                  <a:pt x="16" y="31"/>
                </a:lnTo>
                <a:lnTo>
                  <a:pt x="17" y="35"/>
                </a:lnTo>
                <a:lnTo>
                  <a:pt x="17" y="35"/>
                </a:lnTo>
                <a:lnTo>
                  <a:pt x="19" y="38"/>
                </a:lnTo>
                <a:lnTo>
                  <a:pt x="21" y="41"/>
                </a:lnTo>
                <a:lnTo>
                  <a:pt x="24" y="44"/>
                </a:lnTo>
                <a:lnTo>
                  <a:pt x="27" y="47"/>
                </a:lnTo>
                <a:lnTo>
                  <a:pt x="27" y="47"/>
                </a:lnTo>
                <a:lnTo>
                  <a:pt x="27" y="49"/>
                </a:lnTo>
                <a:lnTo>
                  <a:pt x="30" y="55"/>
                </a:lnTo>
                <a:lnTo>
                  <a:pt x="30" y="55"/>
                </a:lnTo>
                <a:lnTo>
                  <a:pt x="40" y="48"/>
                </a:lnTo>
                <a:lnTo>
                  <a:pt x="49" y="42"/>
                </a:lnTo>
                <a:lnTo>
                  <a:pt x="49" y="42"/>
                </a:lnTo>
                <a:lnTo>
                  <a:pt x="51" y="42"/>
                </a:lnTo>
                <a:lnTo>
                  <a:pt x="53" y="42"/>
                </a:lnTo>
                <a:lnTo>
                  <a:pt x="54" y="48"/>
                </a:lnTo>
                <a:lnTo>
                  <a:pt x="53" y="54"/>
                </a:lnTo>
                <a:lnTo>
                  <a:pt x="51" y="56"/>
                </a:lnTo>
                <a:lnTo>
                  <a:pt x="51" y="56"/>
                </a:lnTo>
                <a:lnTo>
                  <a:pt x="53" y="59"/>
                </a:lnTo>
                <a:lnTo>
                  <a:pt x="56" y="61"/>
                </a:lnTo>
                <a:lnTo>
                  <a:pt x="64" y="65"/>
                </a:lnTo>
                <a:lnTo>
                  <a:pt x="64" y="65"/>
                </a:lnTo>
                <a:lnTo>
                  <a:pt x="64" y="61"/>
                </a:lnTo>
                <a:lnTo>
                  <a:pt x="67" y="56"/>
                </a:lnTo>
                <a:lnTo>
                  <a:pt x="67" y="56"/>
                </a:lnTo>
                <a:lnTo>
                  <a:pt x="71" y="48"/>
                </a:lnTo>
                <a:lnTo>
                  <a:pt x="76" y="38"/>
                </a:lnTo>
                <a:lnTo>
                  <a:pt x="77" y="29"/>
                </a:lnTo>
                <a:lnTo>
                  <a:pt x="77" y="25"/>
                </a:lnTo>
                <a:lnTo>
                  <a:pt x="76" y="22"/>
                </a:lnTo>
                <a:lnTo>
                  <a:pt x="76" y="22"/>
                </a:lnTo>
                <a:close/>
                <a:moveTo>
                  <a:pt x="9" y="45"/>
                </a:moveTo>
                <a:lnTo>
                  <a:pt x="9" y="45"/>
                </a:lnTo>
                <a:lnTo>
                  <a:pt x="4" y="44"/>
                </a:lnTo>
                <a:lnTo>
                  <a:pt x="0" y="42"/>
                </a:lnTo>
                <a:lnTo>
                  <a:pt x="0" y="42"/>
                </a:lnTo>
                <a:lnTo>
                  <a:pt x="2" y="47"/>
                </a:lnTo>
                <a:lnTo>
                  <a:pt x="3" y="48"/>
                </a:lnTo>
                <a:lnTo>
                  <a:pt x="6" y="51"/>
                </a:lnTo>
                <a:lnTo>
                  <a:pt x="6" y="51"/>
                </a:lnTo>
                <a:lnTo>
                  <a:pt x="9" y="52"/>
                </a:lnTo>
                <a:lnTo>
                  <a:pt x="9" y="54"/>
                </a:lnTo>
                <a:lnTo>
                  <a:pt x="10" y="55"/>
                </a:lnTo>
                <a:lnTo>
                  <a:pt x="17" y="56"/>
                </a:lnTo>
                <a:lnTo>
                  <a:pt x="17" y="56"/>
                </a:lnTo>
                <a:lnTo>
                  <a:pt x="19" y="56"/>
                </a:lnTo>
                <a:lnTo>
                  <a:pt x="19" y="56"/>
                </a:lnTo>
                <a:lnTo>
                  <a:pt x="19" y="52"/>
                </a:lnTo>
                <a:lnTo>
                  <a:pt x="16" y="48"/>
                </a:lnTo>
                <a:lnTo>
                  <a:pt x="16" y="48"/>
                </a:lnTo>
                <a:lnTo>
                  <a:pt x="13" y="47"/>
                </a:lnTo>
                <a:lnTo>
                  <a:pt x="12" y="45"/>
                </a:lnTo>
                <a:lnTo>
                  <a:pt x="9" y="45"/>
                </a:lnTo>
                <a:lnTo>
                  <a:pt x="9" y="45"/>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65" name="Freeform 354">
            <a:extLst>
              <a:ext uri="{FF2B5EF4-FFF2-40B4-BE49-F238E27FC236}">
                <a16:creationId xmlns:a16="http://schemas.microsoft.com/office/drawing/2014/main" id="{1E41831C-1E2B-6E86-C4EF-879884451175}"/>
              </a:ext>
            </a:extLst>
          </p:cNvPr>
          <p:cNvSpPr>
            <a:spLocks/>
          </p:cNvSpPr>
          <p:nvPr userDrawn="1"/>
        </p:nvSpPr>
        <p:spPr bwMode="gray">
          <a:xfrm>
            <a:off x="5615007" y="2500618"/>
            <a:ext cx="295216" cy="210683"/>
          </a:xfrm>
          <a:custGeom>
            <a:avLst/>
            <a:gdLst/>
            <a:ahLst/>
            <a:cxnLst>
              <a:cxn ang="0">
                <a:pos x="216" y="21"/>
              </a:cxn>
              <a:cxn ang="0">
                <a:pos x="206" y="21"/>
              </a:cxn>
              <a:cxn ang="0">
                <a:pos x="187" y="33"/>
              </a:cxn>
              <a:cxn ang="0">
                <a:pos x="179" y="30"/>
              </a:cxn>
              <a:cxn ang="0">
                <a:pos x="180" y="14"/>
              </a:cxn>
              <a:cxn ang="0">
                <a:pos x="176" y="10"/>
              </a:cxn>
              <a:cxn ang="0">
                <a:pos x="173" y="0"/>
              </a:cxn>
              <a:cxn ang="0">
                <a:pos x="159" y="10"/>
              </a:cxn>
              <a:cxn ang="0">
                <a:pos x="156" y="16"/>
              </a:cxn>
              <a:cxn ang="0">
                <a:pos x="143" y="21"/>
              </a:cxn>
              <a:cxn ang="0">
                <a:pos x="136" y="24"/>
              </a:cxn>
              <a:cxn ang="0">
                <a:pos x="126" y="25"/>
              </a:cxn>
              <a:cxn ang="0">
                <a:pos x="116" y="23"/>
              </a:cxn>
              <a:cxn ang="0">
                <a:pos x="106" y="20"/>
              </a:cxn>
              <a:cxn ang="0">
                <a:pos x="95" y="18"/>
              </a:cxn>
              <a:cxn ang="0">
                <a:pos x="82" y="17"/>
              </a:cxn>
              <a:cxn ang="0">
                <a:pos x="74" y="23"/>
              </a:cxn>
              <a:cxn ang="0">
                <a:pos x="68" y="27"/>
              </a:cxn>
              <a:cxn ang="0">
                <a:pos x="59" y="43"/>
              </a:cxn>
              <a:cxn ang="0">
                <a:pos x="41" y="51"/>
              </a:cxn>
              <a:cxn ang="0">
                <a:pos x="35" y="58"/>
              </a:cxn>
              <a:cxn ang="0">
                <a:pos x="27" y="57"/>
              </a:cxn>
              <a:cxn ang="0">
                <a:pos x="15" y="54"/>
              </a:cxn>
              <a:cxn ang="0">
                <a:pos x="8" y="61"/>
              </a:cxn>
              <a:cxn ang="0">
                <a:pos x="2" y="74"/>
              </a:cxn>
              <a:cxn ang="0">
                <a:pos x="1" y="88"/>
              </a:cxn>
              <a:cxn ang="0">
                <a:pos x="0" y="99"/>
              </a:cxn>
              <a:cxn ang="0">
                <a:pos x="2" y="117"/>
              </a:cxn>
              <a:cxn ang="0">
                <a:pos x="11" y="126"/>
              </a:cxn>
              <a:cxn ang="0">
                <a:pos x="18" y="132"/>
              </a:cxn>
              <a:cxn ang="0">
                <a:pos x="5" y="151"/>
              </a:cxn>
              <a:cxn ang="0">
                <a:pos x="5" y="159"/>
              </a:cxn>
              <a:cxn ang="0">
                <a:pos x="31" y="162"/>
              </a:cxn>
              <a:cxn ang="0">
                <a:pos x="95" y="155"/>
              </a:cxn>
              <a:cxn ang="0">
                <a:pos x="94" y="138"/>
              </a:cxn>
              <a:cxn ang="0">
                <a:pos x="106" y="131"/>
              </a:cxn>
              <a:cxn ang="0">
                <a:pos x="118" y="128"/>
              </a:cxn>
              <a:cxn ang="0">
                <a:pos x="125" y="122"/>
              </a:cxn>
              <a:cxn ang="0">
                <a:pos x="135" y="122"/>
              </a:cxn>
              <a:cxn ang="0">
                <a:pos x="142" y="115"/>
              </a:cxn>
              <a:cxn ang="0">
                <a:pos x="148" y="98"/>
              </a:cxn>
              <a:cxn ang="0">
                <a:pos x="158" y="94"/>
              </a:cxn>
              <a:cxn ang="0">
                <a:pos x="152" y="82"/>
              </a:cxn>
              <a:cxn ang="0">
                <a:pos x="162" y="82"/>
              </a:cxn>
              <a:cxn ang="0">
                <a:pos x="170" y="81"/>
              </a:cxn>
              <a:cxn ang="0">
                <a:pos x="172" y="68"/>
              </a:cxn>
              <a:cxn ang="0">
                <a:pos x="180" y="57"/>
              </a:cxn>
              <a:cxn ang="0">
                <a:pos x="177" y="48"/>
              </a:cxn>
              <a:cxn ang="0">
                <a:pos x="176" y="41"/>
              </a:cxn>
              <a:cxn ang="0">
                <a:pos x="182" y="38"/>
              </a:cxn>
              <a:cxn ang="0">
                <a:pos x="195" y="33"/>
              </a:cxn>
              <a:cxn ang="0">
                <a:pos x="212" y="30"/>
              </a:cxn>
              <a:cxn ang="0">
                <a:pos x="227" y="24"/>
              </a:cxn>
              <a:cxn ang="0">
                <a:pos x="220" y="23"/>
              </a:cxn>
            </a:cxnLst>
            <a:rect l="0" t="0" r="r" b="b"/>
            <a:pathLst>
              <a:path w="227" h="162">
                <a:moveTo>
                  <a:pt x="220" y="23"/>
                </a:moveTo>
                <a:lnTo>
                  <a:pt x="220" y="23"/>
                </a:lnTo>
                <a:lnTo>
                  <a:pt x="217" y="23"/>
                </a:lnTo>
                <a:lnTo>
                  <a:pt x="216" y="21"/>
                </a:lnTo>
                <a:lnTo>
                  <a:pt x="213" y="18"/>
                </a:lnTo>
                <a:lnTo>
                  <a:pt x="213" y="18"/>
                </a:lnTo>
                <a:lnTo>
                  <a:pt x="210" y="18"/>
                </a:lnTo>
                <a:lnTo>
                  <a:pt x="206" y="21"/>
                </a:lnTo>
                <a:lnTo>
                  <a:pt x="196" y="30"/>
                </a:lnTo>
                <a:lnTo>
                  <a:pt x="196" y="30"/>
                </a:lnTo>
                <a:lnTo>
                  <a:pt x="187" y="33"/>
                </a:lnTo>
                <a:lnTo>
                  <a:pt x="187" y="33"/>
                </a:lnTo>
                <a:lnTo>
                  <a:pt x="183" y="34"/>
                </a:lnTo>
                <a:lnTo>
                  <a:pt x="180" y="33"/>
                </a:lnTo>
                <a:lnTo>
                  <a:pt x="180" y="33"/>
                </a:lnTo>
                <a:lnTo>
                  <a:pt x="179" y="30"/>
                </a:lnTo>
                <a:lnTo>
                  <a:pt x="179" y="28"/>
                </a:lnTo>
                <a:lnTo>
                  <a:pt x="180" y="23"/>
                </a:lnTo>
                <a:lnTo>
                  <a:pt x="182" y="17"/>
                </a:lnTo>
                <a:lnTo>
                  <a:pt x="180" y="14"/>
                </a:lnTo>
                <a:lnTo>
                  <a:pt x="179" y="13"/>
                </a:lnTo>
                <a:lnTo>
                  <a:pt x="179" y="13"/>
                </a:lnTo>
                <a:lnTo>
                  <a:pt x="177" y="11"/>
                </a:lnTo>
                <a:lnTo>
                  <a:pt x="176" y="10"/>
                </a:lnTo>
                <a:lnTo>
                  <a:pt x="176" y="6"/>
                </a:lnTo>
                <a:lnTo>
                  <a:pt x="175" y="1"/>
                </a:lnTo>
                <a:lnTo>
                  <a:pt x="175" y="0"/>
                </a:lnTo>
                <a:lnTo>
                  <a:pt x="173" y="0"/>
                </a:lnTo>
                <a:lnTo>
                  <a:pt x="173" y="0"/>
                </a:lnTo>
                <a:lnTo>
                  <a:pt x="167" y="1"/>
                </a:lnTo>
                <a:lnTo>
                  <a:pt x="163" y="6"/>
                </a:lnTo>
                <a:lnTo>
                  <a:pt x="159" y="10"/>
                </a:lnTo>
                <a:lnTo>
                  <a:pt x="158" y="14"/>
                </a:lnTo>
                <a:lnTo>
                  <a:pt x="158" y="14"/>
                </a:lnTo>
                <a:lnTo>
                  <a:pt x="158" y="16"/>
                </a:lnTo>
                <a:lnTo>
                  <a:pt x="156" y="16"/>
                </a:lnTo>
                <a:lnTo>
                  <a:pt x="150" y="17"/>
                </a:lnTo>
                <a:lnTo>
                  <a:pt x="145" y="18"/>
                </a:lnTo>
                <a:lnTo>
                  <a:pt x="143" y="20"/>
                </a:lnTo>
                <a:lnTo>
                  <a:pt x="143" y="21"/>
                </a:lnTo>
                <a:lnTo>
                  <a:pt x="143" y="21"/>
                </a:lnTo>
                <a:lnTo>
                  <a:pt x="142" y="23"/>
                </a:lnTo>
                <a:lnTo>
                  <a:pt x="140" y="23"/>
                </a:lnTo>
                <a:lnTo>
                  <a:pt x="136" y="24"/>
                </a:lnTo>
                <a:lnTo>
                  <a:pt x="130" y="24"/>
                </a:lnTo>
                <a:lnTo>
                  <a:pt x="128" y="24"/>
                </a:lnTo>
                <a:lnTo>
                  <a:pt x="126" y="25"/>
                </a:lnTo>
                <a:lnTo>
                  <a:pt x="126" y="25"/>
                </a:lnTo>
                <a:lnTo>
                  <a:pt x="125" y="27"/>
                </a:lnTo>
                <a:lnTo>
                  <a:pt x="123" y="27"/>
                </a:lnTo>
                <a:lnTo>
                  <a:pt x="121" y="25"/>
                </a:lnTo>
                <a:lnTo>
                  <a:pt x="116" y="23"/>
                </a:lnTo>
                <a:lnTo>
                  <a:pt x="112" y="23"/>
                </a:lnTo>
                <a:lnTo>
                  <a:pt x="112" y="23"/>
                </a:lnTo>
                <a:lnTo>
                  <a:pt x="109" y="21"/>
                </a:lnTo>
                <a:lnTo>
                  <a:pt x="106" y="20"/>
                </a:lnTo>
                <a:lnTo>
                  <a:pt x="103" y="17"/>
                </a:lnTo>
                <a:lnTo>
                  <a:pt x="99" y="17"/>
                </a:lnTo>
                <a:lnTo>
                  <a:pt x="99" y="17"/>
                </a:lnTo>
                <a:lnTo>
                  <a:pt x="95" y="18"/>
                </a:lnTo>
                <a:lnTo>
                  <a:pt x="92" y="17"/>
                </a:lnTo>
                <a:lnTo>
                  <a:pt x="86" y="16"/>
                </a:lnTo>
                <a:lnTo>
                  <a:pt x="86" y="16"/>
                </a:lnTo>
                <a:lnTo>
                  <a:pt x="82" y="17"/>
                </a:lnTo>
                <a:lnTo>
                  <a:pt x="79" y="20"/>
                </a:lnTo>
                <a:lnTo>
                  <a:pt x="76" y="23"/>
                </a:lnTo>
                <a:lnTo>
                  <a:pt x="75" y="23"/>
                </a:lnTo>
                <a:lnTo>
                  <a:pt x="74" y="23"/>
                </a:lnTo>
                <a:lnTo>
                  <a:pt x="74" y="23"/>
                </a:lnTo>
                <a:lnTo>
                  <a:pt x="72" y="23"/>
                </a:lnTo>
                <a:lnTo>
                  <a:pt x="69" y="24"/>
                </a:lnTo>
                <a:lnTo>
                  <a:pt x="68" y="27"/>
                </a:lnTo>
                <a:lnTo>
                  <a:pt x="64" y="38"/>
                </a:lnTo>
                <a:lnTo>
                  <a:pt x="64" y="38"/>
                </a:lnTo>
                <a:lnTo>
                  <a:pt x="62" y="41"/>
                </a:lnTo>
                <a:lnTo>
                  <a:pt x="59" y="43"/>
                </a:lnTo>
                <a:lnTo>
                  <a:pt x="51" y="45"/>
                </a:lnTo>
                <a:lnTo>
                  <a:pt x="44" y="48"/>
                </a:lnTo>
                <a:lnTo>
                  <a:pt x="42" y="50"/>
                </a:lnTo>
                <a:lnTo>
                  <a:pt x="41" y="51"/>
                </a:lnTo>
                <a:lnTo>
                  <a:pt x="41" y="51"/>
                </a:lnTo>
                <a:lnTo>
                  <a:pt x="41" y="54"/>
                </a:lnTo>
                <a:lnTo>
                  <a:pt x="39" y="57"/>
                </a:lnTo>
                <a:lnTo>
                  <a:pt x="35" y="58"/>
                </a:lnTo>
                <a:lnTo>
                  <a:pt x="29" y="60"/>
                </a:lnTo>
                <a:lnTo>
                  <a:pt x="28" y="58"/>
                </a:lnTo>
                <a:lnTo>
                  <a:pt x="27" y="57"/>
                </a:lnTo>
                <a:lnTo>
                  <a:pt x="27" y="57"/>
                </a:lnTo>
                <a:lnTo>
                  <a:pt x="25" y="55"/>
                </a:lnTo>
                <a:lnTo>
                  <a:pt x="21" y="54"/>
                </a:lnTo>
                <a:lnTo>
                  <a:pt x="15" y="54"/>
                </a:lnTo>
                <a:lnTo>
                  <a:pt x="15" y="54"/>
                </a:lnTo>
                <a:lnTo>
                  <a:pt x="14" y="54"/>
                </a:lnTo>
                <a:lnTo>
                  <a:pt x="11" y="54"/>
                </a:lnTo>
                <a:lnTo>
                  <a:pt x="10" y="57"/>
                </a:lnTo>
                <a:lnTo>
                  <a:pt x="8" y="61"/>
                </a:lnTo>
                <a:lnTo>
                  <a:pt x="8" y="61"/>
                </a:lnTo>
                <a:lnTo>
                  <a:pt x="8" y="65"/>
                </a:lnTo>
                <a:lnTo>
                  <a:pt x="5" y="70"/>
                </a:lnTo>
                <a:lnTo>
                  <a:pt x="2" y="74"/>
                </a:lnTo>
                <a:lnTo>
                  <a:pt x="2" y="74"/>
                </a:lnTo>
                <a:lnTo>
                  <a:pt x="0" y="81"/>
                </a:lnTo>
                <a:lnTo>
                  <a:pt x="0" y="84"/>
                </a:lnTo>
                <a:lnTo>
                  <a:pt x="1" y="88"/>
                </a:lnTo>
                <a:lnTo>
                  <a:pt x="1" y="88"/>
                </a:lnTo>
                <a:lnTo>
                  <a:pt x="1" y="91"/>
                </a:lnTo>
                <a:lnTo>
                  <a:pt x="0" y="95"/>
                </a:lnTo>
                <a:lnTo>
                  <a:pt x="0" y="99"/>
                </a:lnTo>
                <a:lnTo>
                  <a:pt x="1" y="105"/>
                </a:lnTo>
                <a:lnTo>
                  <a:pt x="1" y="105"/>
                </a:lnTo>
                <a:lnTo>
                  <a:pt x="2" y="111"/>
                </a:lnTo>
                <a:lnTo>
                  <a:pt x="2" y="117"/>
                </a:lnTo>
                <a:lnTo>
                  <a:pt x="2" y="124"/>
                </a:lnTo>
                <a:lnTo>
                  <a:pt x="2" y="124"/>
                </a:lnTo>
                <a:lnTo>
                  <a:pt x="5" y="125"/>
                </a:lnTo>
                <a:lnTo>
                  <a:pt x="11" y="126"/>
                </a:lnTo>
                <a:lnTo>
                  <a:pt x="15" y="128"/>
                </a:lnTo>
                <a:lnTo>
                  <a:pt x="18" y="129"/>
                </a:lnTo>
                <a:lnTo>
                  <a:pt x="18" y="132"/>
                </a:lnTo>
                <a:lnTo>
                  <a:pt x="18" y="132"/>
                </a:lnTo>
                <a:lnTo>
                  <a:pt x="20" y="135"/>
                </a:lnTo>
                <a:lnTo>
                  <a:pt x="17" y="138"/>
                </a:lnTo>
                <a:lnTo>
                  <a:pt x="12" y="144"/>
                </a:lnTo>
                <a:lnTo>
                  <a:pt x="5" y="151"/>
                </a:lnTo>
                <a:lnTo>
                  <a:pt x="2" y="155"/>
                </a:lnTo>
                <a:lnTo>
                  <a:pt x="2" y="155"/>
                </a:lnTo>
                <a:lnTo>
                  <a:pt x="2" y="156"/>
                </a:lnTo>
                <a:lnTo>
                  <a:pt x="5" y="159"/>
                </a:lnTo>
                <a:lnTo>
                  <a:pt x="5" y="159"/>
                </a:lnTo>
                <a:lnTo>
                  <a:pt x="18" y="161"/>
                </a:lnTo>
                <a:lnTo>
                  <a:pt x="31" y="162"/>
                </a:lnTo>
                <a:lnTo>
                  <a:pt x="31" y="162"/>
                </a:lnTo>
                <a:lnTo>
                  <a:pt x="45" y="162"/>
                </a:lnTo>
                <a:lnTo>
                  <a:pt x="66" y="159"/>
                </a:lnTo>
                <a:lnTo>
                  <a:pt x="86" y="156"/>
                </a:lnTo>
                <a:lnTo>
                  <a:pt x="95" y="155"/>
                </a:lnTo>
                <a:lnTo>
                  <a:pt x="95" y="155"/>
                </a:lnTo>
                <a:lnTo>
                  <a:pt x="94" y="146"/>
                </a:lnTo>
                <a:lnTo>
                  <a:pt x="94" y="138"/>
                </a:lnTo>
                <a:lnTo>
                  <a:pt x="94" y="138"/>
                </a:lnTo>
                <a:lnTo>
                  <a:pt x="95" y="136"/>
                </a:lnTo>
                <a:lnTo>
                  <a:pt x="98" y="134"/>
                </a:lnTo>
                <a:lnTo>
                  <a:pt x="102" y="131"/>
                </a:lnTo>
                <a:lnTo>
                  <a:pt x="106" y="131"/>
                </a:lnTo>
                <a:lnTo>
                  <a:pt x="106" y="131"/>
                </a:lnTo>
                <a:lnTo>
                  <a:pt x="113" y="131"/>
                </a:lnTo>
                <a:lnTo>
                  <a:pt x="116" y="131"/>
                </a:lnTo>
                <a:lnTo>
                  <a:pt x="118" y="128"/>
                </a:lnTo>
                <a:lnTo>
                  <a:pt x="118" y="128"/>
                </a:lnTo>
                <a:lnTo>
                  <a:pt x="118" y="126"/>
                </a:lnTo>
                <a:lnTo>
                  <a:pt x="119" y="125"/>
                </a:lnTo>
                <a:lnTo>
                  <a:pt x="125" y="122"/>
                </a:lnTo>
                <a:lnTo>
                  <a:pt x="130" y="121"/>
                </a:lnTo>
                <a:lnTo>
                  <a:pt x="133" y="121"/>
                </a:lnTo>
                <a:lnTo>
                  <a:pt x="135" y="122"/>
                </a:lnTo>
                <a:lnTo>
                  <a:pt x="135" y="122"/>
                </a:lnTo>
                <a:lnTo>
                  <a:pt x="136" y="124"/>
                </a:lnTo>
                <a:lnTo>
                  <a:pt x="138" y="124"/>
                </a:lnTo>
                <a:lnTo>
                  <a:pt x="140" y="121"/>
                </a:lnTo>
                <a:lnTo>
                  <a:pt x="142" y="115"/>
                </a:lnTo>
                <a:lnTo>
                  <a:pt x="142" y="115"/>
                </a:lnTo>
                <a:lnTo>
                  <a:pt x="142" y="104"/>
                </a:lnTo>
                <a:lnTo>
                  <a:pt x="143" y="99"/>
                </a:lnTo>
                <a:lnTo>
                  <a:pt x="148" y="98"/>
                </a:lnTo>
                <a:lnTo>
                  <a:pt x="148" y="98"/>
                </a:lnTo>
                <a:lnTo>
                  <a:pt x="150" y="97"/>
                </a:lnTo>
                <a:lnTo>
                  <a:pt x="155" y="95"/>
                </a:lnTo>
                <a:lnTo>
                  <a:pt x="158" y="94"/>
                </a:lnTo>
                <a:lnTo>
                  <a:pt x="158" y="91"/>
                </a:lnTo>
                <a:lnTo>
                  <a:pt x="158" y="91"/>
                </a:lnTo>
                <a:lnTo>
                  <a:pt x="155" y="85"/>
                </a:lnTo>
                <a:lnTo>
                  <a:pt x="152" y="82"/>
                </a:lnTo>
                <a:lnTo>
                  <a:pt x="153" y="81"/>
                </a:lnTo>
                <a:lnTo>
                  <a:pt x="153" y="81"/>
                </a:lnTo>
                <a:lnTo>
                  <a:pt x="156" y="81"/>
                </a:lnTo>
                <a:lnTo>
                  <a:pt x="162" y="82"/>
                </a:lnTo>
                <a:lnTo>
                  <a:pt x="167" y="82"/>
                </a:lnTo>
                <a:lnTo>
                  <a:pt x="169" y="82"/>
                </a:lnTo>
                <a:lnTo>
                  <a:pt x="170" y="81"/>
                </a:lnTo>
                <a:lnTo>
                  <a:pt x="170" y="81"/>
                </a:lnTo>
                <a:lnTo>
                  <a:pt x="172" y="78"/>
                </a:lnTo>
                <a:lnTo>
                  <a:pt x="172" y="75"/>
                </a:lnTo>
                <a:lnTo>
                  <a:pt x="172" y="71"/>
                </a:lnTo>
                <a:lnTo>
                  <a:pt x="172" y="68"/>
                </a:lnTo>
                <a:lnTo>
                  <a:pt x="172" y="68"/>
                </a:lnTo>
                <a:lnTo>
                  <a:pt x="177" y="62"/>
                </a:lnTo>
                <a:lnTo>
                  <a:pt x="179" y="60"/>
                </a:lnTo>
                <a:lnTo>
                  <a:pt x="180" y="57"/>
                </a:lnTo>
                <a:lnTo>
                  <a:pt x="180" y="57"/>
                </a:lnTo>
                <a:lnTo>
                  <a:pt x="179" y="52"/>
                </a:lnTo>
                <a:lnTo>
                  <a:pt x="179" y="50"/>
                </a:lnTo>
                <a:lnTo>
                  <a:pt x="177" y="48"/>
                </a:lnTo>
                <a:lnTo>
                  <a:pt x="177" y="48"/>
                </a:lnTo>
                <a:lnTo>
                  <a:pt x="175" y="45"/>
                </a:lnTo>
                <a:lnTo>
                  <a:pt x="175" y="43"/>
                </a:lnTo>
                <a:lnTo>
                  <a:pt x="176" y="41"/>
                </a:lnTo>
                <a:lnTo>
                  <a:pt x="179" y="40"/>
                </a:lnTo>
                <a:lnTo>
                  <a:pt x="179" y="40"/>
                </a:lnTo>
                <a:lnTo>
                  <a:pt x="182" y="38"/>
                </a:lnTo>
                <a:lnTo>
                  <a:pt x="182" y="38"/>
                </a:lnTo>
                <a:lnTo>
                  <a:pt x="186" y="37"/>
                </a:lnTo>
                <a:lnTo>
                  <a:pt x="190" y="35"/>
                </a:lnTo>
                <a:lnTo>
                  <a:pt x="190" y="35"/>
                </a:lnTo>
                <a:lnTo>
                  <a:pt x="195" y="33"/>
                </a:lnTo>
                <a:lnTo>
                  <a:pt x="202" y="30"/>
                </a:lnTo>
                <a:lnTo>
                  <a:pt x="207" y="28"/>
                </a:lnTo>
                <a:lnTo>
                  <a:pt x="212" y="30"/>
                </a:lnTo>
                <a:lnTo>
                  <a:pt x="212" y="30"/>
                </a:lnTo>
                <a:lnTo>
                  <a:pt x="214" y="30"/>
                </a:lnTo>
                <a:lnTo>
                  <a:pt x="219" y="30"/>
                </a:lnTo>
                <a:lnTo>
                  <a:pt x="223" y="27"/>
                </a:lnTo>
                <a:lnTo>
                  <a:pt x="227" y="24"/>
                </a:lnTo>
                <a:lnTo>
                  <a:pt x="227" y="24"/>
                </a:lnTo>
                <a:lnTo>
                  <a:pt x="223" y="23"/>
                </a:lnTo>
                <a:lnTo>
                  <a:pt x="220" y="23"/>
                </a:lnTo>
                <a:lnTo>
                  <a:pt x="220" y="23"/>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66" name="Freeform 355">
            <a:extLst>
              <a:ext uri="{FF2B5EF4-FFF2-40B4-BE49-F238E27FC236}">
                <a16:creationId xmlns:a16="http://schemas.microsoft.com/office/drawing/2014/main" id="{0402B388-E862-F027-60E0-E47B06ADB447}"/>
              </a:ext>
            </a:extLst>
          </p:cNvPr>
          <p:cNvSpPr>
            <a:spLocks/>
          </p:cNvSpPr>
          <p:nvPr userDrawn="1"/>
        </p:nvSpPr>
        <p:spPr bwMode="gray">
          <a:xfrm>
            <a:off x="5621510" y="2531831"/>
            <a:ext cx="345935" cy="312122"/>
          </a:xfrm>
          <a:custGeom>
            <a:avLst/>
            <a:gdLst/>
            <a:ahLst/>
            <a:cxnLst>
              <a:cxn ang="0">
                <a:pos x="245" y="13"/>
              </a:cxn>
              <a:cxn ang="0">
                <a:pos x="231" y="1"/>
              </a:cxn>
              <a:cxn ang="0">
                <a:pos x="218" y="3"/>
              </a:cxn>
              <a:cxn ang="0">
                <a:pos x="202" y="4"/>
              </a:cxn>
              <a:cxn ang="0">
                <a:pos x="181" y="13"/>
              </a:cxn>
              <a:cxn ang="0">
                <a:pos x="171" y="17"/>
              </a:cxn>
              <a:cxn ang="0">
                <a:pos x="174" y="26"/>
              </a:cxn>
              <a:cxn ang="0">
                <a:pos x="172" y="38"/>
              </a:cxn>
              <a:cxn ang="0">
                <a:pos x="167" y="54"/>
              </a:cxn>
              <a:cxn ang="0">
                <a:pos x="157" y="58"/>
              </a:cxn>
              <a:cxn ang="0">
                <a:pos x="150" y="61"/>
              </a:cxn>
              <a:cxn ang="0">
                <a:pos x="145" y="73"/>
              </a:cxn>
              <a:cxn ang="0">
                <a:pos x="137" y="91"/>
              </a:cxn>
              <a:cxn ang="0">
                <a:pos x="130" y="98"/>
              </a:cxn>
              <a:cxn ang="0">
                <a:pos x="114" y="101"/>
              </a:cxn>
              <a:cxn ang="0">
                <a:pos x="108" y="107"/>
              </a:cxn>
              <a:cxn ang="0">
                <a:pos x="90" y="112"/>
              </a:cxn>
              <a:cxn ang="0">
                <a:pos x="90" y="131"/>
              </a:cxn>
              <a:cxn ang="0">
                <a:pos x="26" y="138"/>
              </a:cxn>
              <a:cxn ang="0">
                <a:pos x="7" y="144"/>
              </a:cxn>
              <a:cxn ang="0">
                <a:pos x="24" y="158"/>
              </a:cxn>
              <a:cxn ang="0">
                <a:pos x="30" y="174"/>
              </a:cxn>
              <a:cxn ang="0">
                <a:pos x="37" y="182"/>
              </a:cxn>
              <a:cxn ang="0">
                <a:pos x="29" y="189"/>
              </a:cxn>
              <a:cxn ang="0">
                <a:pos x="12" y="203"/>
              </a:cxn>
              <a:cxn ang="0">
                <a:pos x="30" y="212"/>
              </a:cxn>
              <a:cxn ang="0">
                <a:pos x="47" y="208"/>
              </a:cxn>
              <a:cxn ang="0">
                <a:pos x="66" y="211"/>
              </a:cxn>
              <a:cxn ang="0">
                <a:pos x="89" y="208"/>
              </a:cxn>
              <a:cxn ang="0">
                <a:pos x="96" y="216"/>
              </a:cxn>
              <a:cxn ang="0">
                <a:pos x="103" y="229"/>
              </a:cxn>
              <a:cxn ang="0">
                <a:pos x="117" y="238"/>
              </a:cxn>
              <a:cxn ang="0">
                <a:pos x="121" y="239"/>
              </a:cxn>
              <a:cxn ang="0">
                <a:pos x="141" y="229"/>
              </a:cxn>
              <a:cxn ang="0">
                <a:pos x="158" y="228"/>
              </a:cxn>
              <a:cxn ang="0">
                <a:pos x="162" y="218"/>
              </a:cxn>
              <a:cxn ang="0">
                <a:pos x="150" y="194"/>
              </a:cxn>
              <a:cxn ang="0">
                <a:pos x="141" y="185"/>
              </a:cxn>
              <a:cxn ang="0">
                <a:pos x="145" y="174"/>
              </a:cxn>
              <a:cxn ang="0">
                <a:pos x="161" y="169"/>
              </a:cxn>
              <a:cxn ang="0">
                <a:pos x="168" y="166"/>
              </a:cxn>
              <a:cxn ang="0">
                <a:pos x="182" y="159"/>
              </a:cxn>
              <a:cxn ang="0">
                <a:pos x="190" y="151"/>
              </a:cxn>
              <a:cxn ang="0">
                <a:pos x="204" y="131"/>
              </a:cxn>
              <a:cxn ang="0">
                <a:pos x="212" y="122"/>
              </a:cxn>
              <a:cxn ang="0">
                <a:pos x="221" y="114"/>
              </a:cxn>
              <a:cxn ang="0">
                <a:pos x="224" y="102"/>
              </a:cxn>
              <a:cxn ang="0">
                <a:pos x="232" y="90"/>
              </a:cxn>
              <a:cxn ang="0">
                <a:pos x="224" y="83"/>
              </a:cxn>
              <a:cxn ang="0">
                <a:pos x="215" y="68"/>
              </a:cxn>
              <a:cxn ang="0">
                <a:pos x="212" y="53"/>
              </a:cxn>
              <a:cxn ang="0">
                <a:pos x="221" y="44"/>
              </a:cxn>
              <a:cxn ang="0">
                <a:pos x="244" y="48"/>
              </a:cxn>
              <a:cxn ang="0">
                <a:pos x="263" y="37"/>
              </a:cxn>
            </a:cxnLst>
            <a:rect l="0" t="0" r="r" b="b"/>
            <a:pathLst>
              <a:path w="266" h="240">
                <a:moveTo>
                  <a:pt x="254" y="26"/>
                </a:moveTo>
                <a:lnTo>
                  <a:pt x="254" y="26"/>
                </a:lnTo>
                <a:lnTo>
                  <a:pt x="249" y="21"/>
                </a:lnTo>
                <a:lnTo>
                  <a:pt x="246" y="19"/>
                </a:lnTo>
                <a:lnTo>
                  <a:pt x="245" y="13"/>
                </a:lnTo>
                <a:lnTo>
                  <a:pt x="245" y="13"/>
                </a:lnTo>
                <a:lnTo>
                  <a:pt x="244" y="11"/>
                </a:lnTo>
                <a:lnTo>
                  <a:pt x="241" y="9"/>
                </a:lnTo>
                <a:lnTo>
                  <a:pt x="231" y="1"/>
                </a:lnTo>
                <a:lnTo>
                  <a:pt x="231" y="1"/>
                </a:lnTo>
                <a:lnTo>
                  <a:pt x="225" y="1"/>
                </a:lnTo>
                <a:lnTo>
                  <a:pt x="225" y="1"/>
                </a:lnTo>
                <a:lnTo>
                  <a:pt x="222" y="0"/>
                </a:lnTo>
                <a:lnTo>
                  <a:pt x="222" y="0"/>
                </a:lnTo>
                <a:lnTo>
                  <a:pt x="218" y="3"/>
                </a:lnTo>
                <a:lnTo>
                  <a:pt x="214" y="6"/>
                </a:lnTo>
                <a:lnTo>
                  <a:pt x="209" y="6"/>
                </a:lnTo>
                <a:lnTo>
                  <a:pt x="207" y="6"/>
                </a:lnTo>
                <a:lnTo>
                  <a:pt x="207" y="6"/>
                </a:lnTo>
                <a:lnTo>
                  <a:pt x="202" y="4"/>
                </a:lnTo>
                <a:lnTo>
                  <a:pt x="197" y="6"/>
                </a:lnTo>
                <a:lnTo>
                  <a:pt x="190" y="9"/>
                </a:lnTo>
                <a:lnTo>
                  <a:pt x="185" y="11"/>
                </a:lnTo>
                <a:lnTo>
                  <a:pt x="185" y="11"/>
                </a:lnTo>
                <a:lnTo>
                  <a:pt x="181" y="13"/>
                </a:lnTo>
                <a:lnTo>
                  <a:pt x="177" y="14"/>
                </a:lnTo>
                <a:lnTo>
                  <a:pt x="177" y="14"/>
                </a:lnTo>
                <a:lnTo>
                  <a:pt x="174" y="16"/>
                </a:lnTo>
                <a:lnTo>
                  <a:pt x="174" y="16"/>
                </a:lnTo>
                <a:lnTo>
                  <a:pt x="171" y="17"/>
                </a:lnTo>
                <a:lnTo>
                  <a:pt x="170" y="19"/>
                </a:lnTo>
                <a:lnTo>
                  <a:pt x="170" y="21"/>
                </a:lnTo>
                <a:lnTo>
                  <a:pt x="172" y="24"/>
                </a:lnTo>
                <a:lnTo>
                  <a:pt x="172" y="24"/>
                </a:lnTo>
                <a:lnTo>
                  <a:pt x="174" y="26"/>
                </a:lnTo>
                <a:lnTo>
                  <a:pt x="174" y="28"/>
                </a:lnTo>
                <a:lnTo>
                  <a:pt x="175" y="33"/>
                </a:lnTo>
                <a:lnTo>
                  <a:pt x="175" y="33"/>
                </a:lnTo>
                <a:lnTo>
                  <a:pt x="174" y="36"/>
                </a:lnTo>
                <a:lnTo>
                  <a:pt x="172" y="38"/>
                </a:lnTo>
                <a:lnTo>
                  <a:pt x="167" y="44"/>
                </a:lnTo>
                <a:lnTo>
                  <a:pt x="167" y="44"/>
                </a:lnTo>
                <a:lnTo>
                  <a:pt x="167" y="47"/>
                </a:lnTo>
                <a:lnTo>
                  <a:pt x="167" y="51"/>
                </a:lnTo>
                <a:lnTo>
                  <a:pt x="167" y="54"/>
                </a:lnTo>
                <a:lnTo>
                  <a:pt x="165" y="57"/>
                </a:lnTo>
                <a:lnTo>
                  <a:pt x="165" y="57"/>
                </a:lnTo>
                <a:lnTo>
                  <a:pt x="164" y="58"/>
                </a:lnTo>
                <a:lnTo>
                  <a:pt x="162" y="58"/>
                </a:lnTo>
                <a:lnTo>
                  <a:pt x="157" y="58"/>
                </a:lnTo>
                <a:lnTo>
                  <a:pt x="151" y="57"/>
                </a:lnTo>
                <a:lnTo>
                  <a:pt x="148" y="57"/>
                </a:lnTo>
                <a:lnTo>
                  <a:pt x="148" y="57"/>
                </a:lnTo>
                <a:lnTo>
                  <a:pt x="147" y="58"/>
                </a:lnTo>
                <a:lnTo>
                  <a:pt x="150" y="61"/>
                </a:lnTo>
                <a:lnTo>
                  <a:pt x="153" y="67"/>
                </a:lnTo>
                <a:lnTo>
                  <a:pt x="153" y="67"/>
                </a:lnTo>
                <a:lnTo>
                  <a:pt x="153" y="70"/>
                </a:lnTo>
                <a:lnTo>
                  <a:pt x="150" y="71"/>
                </a:lnTo>
                <a:lnTo>
                  <a:pt x="145" y="73"/>
                </a:lnTo>
                <a:lnTo>
                  <a:pt x="143" y="74"/>
                </a:lnTo>
                <a:lnTo>
                  <a:pt x="143" y="74"/>
                </a:lnTo>
                <a:lnTo>
                  <a:pt x="138" y="75"/>
                </a:lnTo>
                <a:lnTo>
                  <a:pt x="137" y="80"/>
                </a:lnTo>
                <a:lnTo>
                  <a:pt x="137" y="91"/>
                </a:lnTo>
                <a:lnTo>
                  <a:pt x="137" y="91"/>
                </a:lnTo>
                <a:lnTo>
                  <a:pt x="135" y="97"/>
                </a:lnTo>
                <a:lnTo>
                  <a:pt x="133" y="100"/>
                </a:lnTo>
                <a:lnTo>
                  <a:pt x="131" y="100"/>
                </a:lnTo>
                <a:lnTo>
                  <a:pt x="130" y="98"/>
                </a:lnTo>
                <a:lnTo>
                  <a:pt x="130" y="98"/>
                </a:lnTo>
                <a:lnTo>
                  <a:pt x="128" y="97"/>
                </a:lnTo>
                <a:lnTo>
                  <a:pt x="125" y="97"/>
                </a:lnTo>
                <a:lnTo>
                  <a:pt x="120" y="98"/>
                </a:lnTo>
                <a:lnTo>
                  <a:pt x="114" y="101"/>
                </a:lnTo>
                <a:lnTo>
                  <a:pt x="113" y="102"/>
                </a:lnTo>
                <a:lnTo>
                  <a:pt x="113" y="104"/>
                </a:lnTo>
                <a:lnTo>
                  <a:pt x="113" y="104"/>
                </a:lnTo>
                <a:lnTo>
                  <a:pt x="111" y="107"/>
                </a:lnTo>
                <a:lnTo>
                  <a:pt x="108" y="107"/>
                </a:lnTo>
                <a:lnTo>
                  <a:pt x="101" y="107"/>
                </a:lnTo>
                <a:lnTo>
                  <a:pt x="101" y="107"/>
                </a:lnTo>
                <a:lnTo>
                  <a:pt x="97" y="107"/>
                </a:lnTo>
                <a:lnTo>
                  <a:pt x="93" y="110"/>
                </a:lnTo>
                <a:lnTo>
                  <a:pt x="90" y="112"/>
                </a:lnTo>
                <a:lnTo>
                  <a:pt x="89" y="114"/>
                </a:lnTo>
                <a:lnTo>
                  <a:pt x="89" y="114"/>
                </a:lnTo>
                <a:lnTo>
                  <a:pt x="89" y="122"/>
                </a:lnTo>
                <a:lnTo>
                  <a:pt x="90" y="131"/>
                </a:lnTo>
                <a:lnTo>
                  <a:pt x="90" y="131"/>
                </a:lnTo>
                <a:lnTo>
                  <a:pt x="81" y="132"/>
                </a:lnTo>
                <a:lnTo>
                  <a:pt x="61" y="135"/>
                </a:lnTo>
                <a:lnTo>
                  <a:pt x="40" y="138"/>
                </a:lnTo>
                <a:lnTo>
                  <a:pt x="26" y="138"/>
                </a:lnTo>
                <a:lnTo>
                  <a:pt x="26" y="138"/>
                </a:lnTo>
                <a:lnTo>
                  <a:pt x="13" y="137"/>
                </a:lnTo>
                <a:lnTo>
                  <a:pt x="0" y="135"/>
                </a:lnTo>
                <a:lnTo>
                  <a:pt x="0" y="135"/>
                </a:lnTo>
                <a:lnTo>
                  <a:pt x="5" y="139"/>
                </a:lnTo>
                <a:lnTo>
                  <a:pt x="7" y="144"/>
                </a:lnTo>
                <a:lnTo>
                  <a:pt x="7" y="144"/>
                </a:lnTo>
                <a:lnTo>
                  <a:pt x="10" y="148"/>
                </a:lnTo>
                <a:lnTo>
                  <a:pt x="15" y="152"/>
                </a:lnTo>
                <a:lnTo>
                  <a:pt x="19" y="155"/>
                </a:lnTo>
                <a:lnTo>
                  <a:pt x="24" y="158"/>
                </a:lnTo>
                <a:lnTo>
                  <a:pt x="24" y="158"/>
                </a:lnTo>
                <a:lnTo>
                  <a:pt x="27" y="159"/>
                </a:lnTo>
                <a:lnTo>
                  <a:pt x="29" y="162"/>
                </a:lnTo>
                <a:lnTo>
                  <a:pt x="30" y="168"/>
                </a:lnTo>
                <a:lnTo>
                  <a:pt x="30" y="174"/>
                </a:lnTo>
                <a:lnTo>
                  <a:pt x="32" y="175"/>
                </a:lnTo>
                <a:lnTo>
                  <a:pt x="32" y="176"/>
                </a:lnTo>
                <a:lnTo>
                  <a:pt x="32" y="176"/>
                </a:lnTo>
                <a:lnTo>
                  <a:pt x="34" y="178"/>
                </a:lnTo>
                <a:lnTo>
                  <a:pt x="37" y="182"/>
                </a:lnTo>
                <a:lnTo>
                  <a:pt x="39" y="186"/>
                </a:lnTo>
                <a:lnTo>
                  <a:pt x="37" y="188"/>
                </a:lnTo>
                <a:lnTo>
                  <a:pt x="36" y="188"/>
                </a:lnTo>
                <a:lnTo>
                  <a:pt x="36" y="188"/>
                </a:lnTo>
                <a:lnTo>
                  <a:pt x="29" y="189"/>
                </a:lnTo>
                <a:lnTo>
                  <a:pt x="22" y="192"/>
                </a:lnTo>
                <a:lnTo>
                  <a:pt x="22" y="192"/>
                </a:lnTo>
                <a:lnTo>
                  <a:pt x="17" y="195"/>
                </a:lnTo>
                <a:lnTo>
                  <a:pt x="15" y="199"/>
                </a:lnTo>
                <a:lnTo>
                  <a:pt x="12" y="203"/>
                </a:lnTo>
                <a:lnTo>
                  <a:pt x="12" y="209"/>
                </a:lnTo>
                <a:lnTo>
                  <a:pt x="12" y="209"/>
                </a:lnTo>
                <a:lnTo>
                  <a:pt x="12" y="213"/>
                </a:lnTo>
                <a:lnTo>
                  <a:pt x="12" y="213"/>
                </a:lnTo>
                <a:lnTo>
                  <a:pt x="30" y="212"/>
                </a:lnTo>
                <a:lnTo>
                  <a:pt x="39" y="212"/>
                </a:lnTo>
                <a:lnTo>
                  <a:pt x="42" y="211"/>
                </a:lnTo>
                <a:lnTo>
                  <a:pt x="42" y="211"/>
                </a:lnTo>
                <a:lnTo>
                  <a:pt x="44" y="209"/>
                </a:lnTo>
                <a:lnTo>
                  <a:pt x="47" y="208"/>
                </a:lnTo>
                <a:lnTo>
                  <a:pt x="52" y="208"/>
                </a:lnTo>
                <a:lnTo>
                  <a:pt x="54" y="209"/>
                </a:lnTo>
                <a:lnTo>
                  <a:pt x="54" y="209"/>
                </a:lnTo>
                <a:lnTo>
                  <a:pt x="59" y="211"/>
                </a:lnTo>
                <a:lnTo>
                  <a:pt x="66" y="211"/>
                </a:lnTo>
                <a:lnTo>
                  <a:pt x="73" y="211"/>
                </a:lnTo>
                <a:lnTo>
                  <a:pt x="80" y="209"/>
                </a:lnTo>
                <a:lnTo>
                  <a:pt x="80" y="209"/>
                </a:lnTo>
                <a:lnTo>
                  <a:pt x="86" y="206"/>
                </a:lnTo>
                <a:lnTo>
                  <a:pt x="89" y="208"/>
                </a:lnTo>
                <a:lnTo>
                  <a:pt x="91" y="209"/>
                </a:lnTo>
                <a:lnTo>
                  <a:pt x="93" y="212"/>
                </a:lnTo>
                <a:lnTo>
                  <a:pt x="93" y="212"/>
                </a:lnTo>
                <a:lnTo>
                  <a:pt x="93" y="215"/>
                </a:lnTo>
                <a:lnTo>
                  <a:pt x="96" y="216"/>
                </a:lnTo>
                <a:lnTo>
                  <a:pt x="100" y="221"/>
                </a:lnTo>
                <a:lnTo>
                  <a:pt x="100" y="221"/>
                </a:lnTo>
                <a:lnTo>
                  <a:pt x="101" y="223"/>
                </a:lnTo>
                <a:lnTo>
                  <a:pt x="101" y="226"/>
                </a:lnTo>
                <a:lnTo>
                  <a:pt x="103" y="229"/>
                </a:lnTo>
                <a:lnTo>
                  <a:pt x="103" y="232"/>
                </a:lnTo>
                <a:lnTo>
                  <a:pt x="103" y="232"/>
                </a:lnTo>
                <a:lnTo>
                  <a:pt x="106" y="235"/>
                </a:lnTo>
                <a:lnTo>
                  <a:pt x="108" y="235"/>
                </a:lnTo>
                <a:lnTo>
                  <a:pt x="117" y="238"/>
                </a:lnTo>
                <a:lnTo>
                  <a:pt x="117" y="238"/>
                </a:lnTo>
                <a:lnTo>
                  <a:pt x="120" y="240"/>
                </a:lnTo>
                <a:lnTo>
                  <a:pt x="120" y="240"/>
                </a:lnTo>
                <a:lnTo>
                  <a:pt x="121" y="239"/>
                </a:lnTo>
                <a:lnTo>
                  <a:pt x="121" y="239"/>
                </a:lnTo>
                <a:lnTo>
                  <a:pt x="125" y="230"/>
                </a:lnTo>
                <a:lnTo>
                  <a:pt x="130" y="229"/>
                </a:lnTo>
                <a:lnTo>
                  <a:pt x="135" y="229"/>
                </a:lnTo>
                <a:lnTo>
                  <a:pt x="135" y="229"/>
                </a:lnTo>
                <a:lnTo>
                  <a:pt x="141" y="229"/>
                </a:lnTo>
                <a:lnTo>
                  <a:pt x="144" y="229"/>
                </a:lnTo>
                <a:lnTo>
                  <a:pt x="147" y="228"/>
                </a:lnTo>
                <a:lnTo>
                  <a:pt x="151" y="228"/>
                </a:lnTo>
                <a:lnTo>
                  <a:pt x="151" y="228"/>
                </a:lnTo>
                <a:lnTo>
                  <a:pt x="158" y="228"/>
                </a:lnTo>
                <a:lnTo>
                  <a:pt x="161" y="228"/>
                </a:lnTo>
                <a:lnTo>
                  <a:pt x="162" y="225"/>
                </a:lnTo>
                <a:lnTo>
                  <a:pt x="162" y="225"/>
                </a:lnTo>
                <a:lnTo>
                  <a:pt x="164" y="222"/>
                </a:lnTo>
                <a:lnTo>
                  <a:pt x="162" y="218"/>
                </a:lnTo>
                <a:lnTo>
                  <a:pt x="157" y="211"/>
                </a:lnTo>
                <a:lnTo>
                  <a:pt x="157" y="211"/>
                </a:lnTo>
                <a:lnTo>
                  <a:pt x="153" y="203"/>
                </a:lnTo>
                <a:lnTo>
                  <a:pt x="150" y="198"/>
                </a:lnTo>
                <a:lnTo>
                  <a:pt x="150" y="194"/>
                </a:lnTo>
                <a:lnTo>
                  <a:pt x="150" y="194"/>
                </a:lnTo>
                <a:lnTo>
                  <a:pt x="150" y="192"/>
                </a:lnTo>
                <a:lnTo>
                  <a:pt x="148" y="189"/>
                </a:lnTo>
                <a:lnTo>
                  <a:pt x="145" y="188"/>
                </a:lnTo>
                <a:lnTo>
                  <a:pt x="141" y="185"/>
                </a:lnTo>
                <a:lnTo>
                  <a:pt x="140" y="184"/>
                </a:lnTo>
                <a:lnTo>
                  <a:pt x="140" y="182"/>
                </a:lnTo>
                <a:lnTo>
                  <a:pt x="140" y="182"/>
                </a:lnTo>
                <a:lnTo>
                  <a:pt x="141" y="178"/>
                </a:lnTo>
                <a:lnTo>
                  <a:pt x="145" y="174"/>
                </a:lnTo>
                <a:lnTo>
                  <a:pt x="153" y="166"/>
                </a:lnTo>
                <a:lnTo>
                  <a:pt x="153" y="166"/>
                </a:lnTo>
                <a:lnTo>
                  <a:pt x="154" y="166"/>
                </a:lnTo>
                <a:lnTo>
                  <a:pt x="158" y="168"/>
                </a:lnTo>
                <a:lnTo>
                  <a:pt x="161" y="169"/>
                </a:lnTo>
                <a:lnTo>
                  <a:pt x="162" y="169"/>
                </a:lnTo>
                <a:lnTo>
                  <a:pt x="164" y="168"/>
                </a:lnTo>
                <a:lnTo>
                  <a:pt x="164" y="168"/>
                </a:lnTo>
                <a:lnTo>
                  <a:pt x="165" y="166"/>
                </a:lnTo>
                <a:lnTo>
                  <a:pt x="168" y="166"/>
                </a:lnTo>
                <a:lnTo>
                  <a:pt x="175" y="168"/>
                </a:lnTo>
                <a:lnTo>
                  <a:pt x="175" y="168"/>
                </a:lnTo>
                <a:lnTo>
                  <a:pt x="177" y="166"/>
                </a:lnTo>
                <a:lnTo>
                  <a:pt x="180" y="164"/>
                </a:lnTo>
                <a:lnTo>
                  <a:pt x="182" y="159"/>
                </a:lnTo>
                <a:lnTo>
                  <a:pt x="184" y="155"/>
                </a:lnTo>
                <a:lnTo>
                  <a:pt x="184" y="155"/>
                </a:lnTo>
                <a:lnTo>
                  <a:pt x="184" y="154"/>
                </a:lnTo>
                <a:lnTo>
                  <a:pt x="185" y="152"/>
                </a:lnTo>
                <a:lnTo>
                  <a:pt x="190" y="151"/>
                </a:lnTo>
                <a:lnTo>
                  <a:pt x="197" y="148"/>
                </a:lnTo>
                <a:lnTo>
                  <a:pt x="197" y="148"/>
                </a:lnTo>
                <a:lnTo>
                  <a:pt x="201" y="139"/>
                </a:lnTo>
                <a:lnTo>
                  <a:pt x="204" y="131"/>
                </a:lnTo>
                <a:lnTo>
                  <a:pt x="204" y="131"/>
                </a:lnTo>
                <a:lnTo>
                  <a:pt x="205" y="129"/>
                </a:lnTo>
                <a:lnTo>
                  <a:pt x="208" y="128"/>
                </a:lnTo>
                <a:lnTo>
                  <a:pt x="211" y="127"/>
                </a:lnTo>
                <a:lnTo>
                  <a:pt x="212" y="125"/>
                </a:lnTo>
                <a:lnTo>
                  <a:pt x="212" y="122"/>
                </a:lnTo>
                <a:lnTo>
                  <a:pt x="212" y="122"/>
                </a:lnTo>
                <a:lnTo>
                  <a:pt x="214" y="118"/>
                </a:lnTo>
                <a:lnTo>
                  <a:pt x="215" y="115"/>
                </a:lnTo>
                <a:lnTo>
                  <a:pt x="218" y="114"/>
                </a:lnTo>
                <a:lnTo>
                  <a:pt x="221" y="114"/>
                </a:lnTo>
                <a:lnTo>
                  <a:pt x="221" y="114"/>
                </a:lnTo>
                <a:lnTo>
                  <a:pt x="222" y="112"/>
                </a:lnTo>
                <a:lnTo>
                  <a:pt x="224" y="110"/>
                </a:lnTo>
                <a:lnTo>
                  <a:pt x="224" y="102"/>
                </a:lnTo>
                <a:lnTo>
                  <a:pt x="224" y="102"/>
                </a:lnTo>
                <a:lnTo>
                  <a:pt x="224" y="98"/>
                </a:lnTo>
                <a:lnTo>
                  <a:pt x="226" y="94"/>
                </a:lnTo>
                <a:lnTo>
                  <a:pt x="228" y="91"/>
                </a:lnTo>
                <a:lnTo>
                  <a:pt x="232" y="90"/>
                </a:lnTo>
                <a:lnTo>
                  <a:pt x="232" y="90"/>
                </a:lnTo>
                <a:lnTo>
                  <a:pt x="234" y="90"/>
                </a:lnTo>
                <a:lnTo>
                  <a:pt x="234" y="88"/>
                </a:lnTo>
                <a:lnTo>
                  <a:pt x="232" y="85"/>
                </a:lnTo>
                <a:lnTo>
                  <a:pt x="228" y="83"/>
                </a:lnTo>
                <a:lnTo>
                  <a:pt x="224" y="83"/>
                </a:lnTo>
                <a:lnTo>
                  <a:pt x="224" y="83"/>
                </a:lnTo>
                <a:lnTo>
                  <a:pt x="222" y="83"/>
                </a:lnTo>
                <a:lnTo>
                  <a:pt x="221" y="81"/>
                </a:lnTo>
                <a:lnTo>
                  <a:pt x="217" y="75"/>
                </a:lnTo>
                <a:lnTo>
                  <a:pt x="215" y="68"/>
                </a:lnTo>
                <a:lnTo>
                  <a:pt x="215" y="68"/>
                </a:lnTo>
                <a:lnTo>
                  <a:pt x="215" y="61"/>
                </a:lnTo>
                <a:lnTo>
                  <a:pt x="214" y="56"/>
                </a:lnTo>
                <a:lnTo>
                  <a:pt x="212" y="53"/>
                </a:lnTo>
                <a:lnTo>
                  <a:pt x="212" y="53"/>
                </a:lnTo>
                <a:lnTo>
                  <a:pt x="211" y="50"/>
                </a:lnTo>
                <a:lnTo>
                  <a:pt x="212" y="47"/>
                </a:lnTo>
                <a:lnTo>
                  <a:pt x="215" y="44"/>
                </a:lnTo>
                <a:lnTo>
                  <a:pt x="221" y="44"/>
                </a:lnTo>
                <a:lnTo>
                  <a:pt x="221" y="44"/>
                </a:lnTo>
                <a:lnTo>
                  <a:pt x="226" y="44"/>
                </a:lnTo>
                <a:lnTo>
                  <a:pt x="234" y="47"/>
                </a:lnTo>
                <a:lnTo>
                  <a:pt x="239" y="48"/>
                </a:lnTo>
                <a:lnTo>
                  <a:pt x="242" y="48"/>
                </a:lnTo>
                <a:lnTo>
                  <a:pt x="244" y="48"/>
                </a:lnTo>
                <a:lnTo>
                  <a:pt x="244" y="48"/>
                </a:lnTo>
                <a:lnTo>
                  <a:pt x="254" y="44"/>
                </a:lnTo>
                <a:lnTo>
                  <a:pt x="261" y="41"/>
                </a:lnTo>
                <a:lnTo>
                  <a:pt x="261" y="41"/>
                </a:lnTo>
                <a:lnTo>
                  <a:pt x="263" y="37"/>
                </a:lnTo>
                <a:lnTo>
                  <a:pt x="266" y="31"/>
                </a:lnTo>
                <a:lnTo>
                  <a:pt x="266" y="31"/>
                </a:lnTo>
                <a:lnTo>
                  <a:pt x="254" y="26"/>
                </a:lnTo>
                <a:lnTo>
                  <a:pt x="254" y="26"/>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67" name="Freeform 356">
            <a:extLst>
              <a:ext uri="{FF2B5EF4-FFF2-40B4-BE49-F238E27FC236}">
                <a16:creationId xmlns:a16="http://schemas.microsoft.com/office/drawing/2014/main" id="{640F1C1A-CF55-F07B-C8F0-E7C5BD561832}"/>
              </a:ext>
            </a:extLst>
          </p:cNvPr>
          <p:cNvSpPr>
            <a:spLocks noEditPoints="1"/>
          </p:cNvSpPr>
          <p:nvPr userDrawn="1"/>
        </p:nvSpPr>
        <p:spPr bwMode="gray">
          <a:xfrm>
            <a:off x="6317282" y="3232806"/>
            <a:ext cx="954574" cy="336832"/>
          </a:xfrm>
          <a:custGeom>
            <a:avLst/>
            <a:gdLst/>
            <a:ahLst/>
            <a:cxnLst>
              <a:cxn ang="0">
                <a:pos x="397" y="182"/>
              </a:cxn>
              <a:cxn ang="0">
                <a:pos x="406" y="138"/>
              </a:cxn>
              <a:cxn ang="0">
                <a:pos x="418" y="167"/>
              </a:cxn>
              <a:cxn ang="0">
                <a:pos x="431" y="135"/>
              </a:cxn>
              <a:cxn ang="0">
                <a:pos x="448" y="103"/>
              </a:cxn>
              <a:cxn ang="0">
                <a:pos x="396" y="103"/>
              </a:cxn>
              <a:cxn ang="0">
                <a:pos x="461" y="84"/>
              </a:cxn>
              <a:cxn ang="0">
                <a:pos x="420" y="71"/>
              </a:cxn>
              <a:cxn ang="0">
                <a:pos x="389" y="103"/>
              </a:cxn>
              <a:cxn ang="0">
                <a:pos x="169" y="162"/>
              </a:cxn>
              <a:cxn ang="0">
                <a:pos x="181" y="134"/>
              </a:cxn>
              <a:cxn ang="0">
                <a:pos x="167" y="127"/>
              </a:cxn>
              <a:cxn ang="0">
                <a:pos x="151" y="123"/>
              </a:cxn>
              <a:cxn ang="0">
                <a:pos x="132" y="97"/>
              </a:cxn>
              <a:cxn ang="0">
                <a:pos x="115" y="74"/>
              </a:cxn>
              <a:cxn ang="0">
                <a:pos x="86" y="57"/>
              </a:cxn>
              <a:cxn ang="0">
                <a:pos x="41" y="13"/>
              </a:cxn>
              <a:cxn ang="0">
                <a:pos x="6" y="19"/>
              </a:cxn>
              <a:cxn ang="0">
                <a:pos x="57" y="81"/>
              </a:cxn>
              <a:cxn ang="0">
                <a:pos x="110" y="152"/>
              </a:cxn>
              <a:cxn ang="0">
                <a:pos x="154" y="184"/>
              </a:cxn>
              <a:cxn ang="0">
                <a:pos x="537" y="74"/>
              </a:cxn>
              <a:cxn ang="0">
                <a:pos x="517" y="64"/>
              </a:cxn>
              <a:cxn ang="0">
                <a:pos x="528" y="86"/>
              </a:cxn>
              <a:cxn ang="0">
                <a:pos x="502" y="142"/>
              </a:cxn>
              <a:cxn ang="0">
                <a:pos x="421" y="228"/>
              </a:cxn>
              <a:cxn ang="0">
                <a:pos x="443" y="232"/>
              </a:cxn>
              <a:cxn ang="0">
                <a:pos x="525" y="144"/>
              </a:cxn>
              <a:cxn ang="0">
                <a:pos x="568" y="148"/>
              </a:cxn>
              <a:cxn ang="0">
                <a:pos x="276" y="214"/>
              </a:cxn>
              <a:cxn ang="0">
                <a:pos x="245" y="199"/>
              </a:cxn>
              <a:cxn ang="0">
                <a:pos x="174" y="188"/>
              </a:cxn>
              <a:cxn ang="0">
                <a:pos x="181" y="211"/>
              </a:cxn>
              <a:cxn ang="0">
                <a:pos x="246" y="225"/>
              </a:cxn>
              <a:cxn ang="0">
                <a:pos x="310" y="231"/>
              </a:cxn>
              <a:cxn ang="0">
                <a:pos x="677" y="117"/>
              </a:cxn>
              <a:cxn ang="0">
                <a:pos x="636" y="145"/>
              </a:cxn>
              <a:cxn ang="0">
                <a:pos x="586" y="101"/>
              </a:cxn>
              <a:cxn ang="0">
                <a:pos x="586" y="120"/>
              </a:cxn>
              <a:cxn ang="0">
                <a:pos x="606" y="134"/>
              </a:cxn>
              <a:cxn ang="0">
                <a:pos x="606" y="158"/>
              </a:cxn>
              <a:cxn ang="0">
                <a:pos x="642" y="165"/>
              </a:cxn>
              <a:cxn ang="0">
                <a:pos x="702" y="211"/>
              </a:cxn>
              <a:cxn ang="0">
                <a:pos x="717" y="224"/>
              </a:cxn>
              <a:cxn ang="0">
                <a:pos x="470" y="239"/>
              </a:cxn>
              <a:cxn ang="0">
                <a:pos x="454" y="259"/>
              </a:cxn>
              <a:cxn ang="0">
                <a:pos x="474" y="236"/>
              </a:cxn>
              <a:cxn ang="0">
                <a:pos x="377" y="76"/>
              </a:cxn>
              <a:cxn ang="0">
                <a:pos x="353" y="37"/>
              </a:cxn>
              <a:cxn ang="0">
                <a:pos x="343" y="22"/>
              </a:cxn>
              <a:cxn ang="0">
                <a:pos x="316" y="50"/>
              </a:cxn>
              <a:cxn ang="0">
                <a:pos x="282" y="67"/>
              </a:cxn>
              <a:cxn ang="0">
                <a:pos x="235" y="71"/>
              </a:cxn>
              <a:cxn ang="0">
                <a:pos x="215" y="81"/>
              </a:cxn>
              <a:cxn ang="0">
                <a:pos x="242" y="135"/>
              </a:cxn>
              <a:cxn ang="0">
                <a:pos x="286" y="145"/>
              </a:cxn>
              <a:cxn ang="0">
                <a:pos x="336" y="134"/>
              </a:cxn>
              <a:cxn ang="0">
                <a:pos x="406" y="259"/>
              </a:cxn>
              <a:cxn ang="0">
                <a:pos x="347" y="228"/>
              </a:cxn>
              <a:cxn ang="0">
                <a:pos x="356" y="239"/>
              </a:cxn>
              <a:cxn ang="0">
                <a:pos x="354" y="225"/>
              </a:cxn>
            </a:cxnLst>
            <a:rect l="0" t="0" r="r" b="b"/>
            <a:pathLst>
              <a:path w="734" h="259">
                <a:moveTo>
                  <a:pt x="386" y="150"/>
                </a:moveTo>
                <a:lnTo>
                  <a:pt x="386" y="150"/>
                </a:lnTo>
                <a:lnTo>
                  <a:pt x="387" y="150"/>
                </a:lnTo>
                <a:lnTo>
                  <a:pt x="390" y="151"/>
                </a:lnTo>
                <a:lnTo>
                  <a:pt x="391" y="155"/>
                </a:lnTo>
                <a:lnTo>
                  <a:pt x="391" y="161"/>
                </a:lnTo>
                <a:lnTo>
                  <a:pt x="390" y="167"/>
                </a:lnTo>
                <a:lnTo>
                  <a:pt x="390" y="167"/>
                </a:lnTo>
                <a:lnTo>
                  <a:pt x="389" y="179"/>
                </a:lnTo>
                <a:lnTo>
                  <a:pt x="389" y="184"/>
                </a:lnTo>
                <a:lnTo>
                  <a:pt x="390" y="185"/>
                </a:lnTo>
                <a:lnTo>
                  <a:pt x="393" y="185"/>
                </a:lnTo>
                <a:lnTo>
                  <a:pt x="393" y="185"/>
                </a:lnTo>
                <a:lnTo>
                  <a:pt x="397" y="182"/>
                </a:lnTo>
                <a:lnTo>
                  <a:pt x="400" y="178"/>
                </a:lnTo>
                <a:lnTo>
                  <a:pt x="401" y="172"/>
                </a:lnTo>
                <a:lnTo>
                  <a:pt x="401" y="171"/>
                </a:lnTo>
                <a:lnTo>
                  <a:pt x="400" y="169"/>
                </a:lnTo>
                <a:lnTo>
                  <a:pt x="400" y="169"/>
                </a:lnTo>
                <a:lnTo>
                  <a:pt x="399" y="168"/>
                </a:lnTo>
                <a:lnTo>
                  <a:pt x="399" y="164"/>
                </a:lnTo>
                <a:lnTo>
                  <a:pt x="397" y="155"/>
                </a:lnTo>
                <a:lnTo>
                  <a:pt x="397" y="147"/>
                </a:lnTo>
                <a:lnTo>
                  <a:pt x="399" y="140"/>
                </a:lnTo>
                <a:lnTo>
                  <a:pt x="399" y="140"/>
                </a:lnTo>
                <a:lnTo>
                  <a:pt x="400" y="138"/>
                </a:lnTo>
                <a:lnTo>
                  <a:pt x="401" y="138"/>
                </a:lnTo>
                <a:lnTo>
                  <a:pt x="406" y="138"/>
                </a:lnTo>
                <a:lnTo>
                  <a:pt x="408" y="140"/>
                </a:lnTo>
                <a:lnTo>
                  <a:pt x="408" y="141"/>
                </a:lnTo>
                <a:lnTo>
                  <a:pt x="410" y="144"/>
                </a:lnTo>
                <a:lnTo>
                  <a:pt x="408" y="147"/>
                </a:lnTo>
                <a:lnTo>
                  <a:pt x="408" y="147"/>
                </a:lnTo>
                <a:lnTo>
                  <a:pt x="408" y="150"/>
                </a:lnTo>
                <a:lnTo>
                  <a:pt x="408" y="151"/>
                </a:lnTo>
                <a:lnTo>
                  <a:pt x="411" y="154"/>
                </a:lnTo>
                <a:lnTo>
                  <a:pt x="416" y="158"/>
                </a:lnTo>
                <a:lnTo>
                  <a:pt x="416" y="160"/>
                </a:lnTo>
                <a:lnTo>
                  <a:pt x="417" y="162"/>
                </a:lnTo>
                <a:lnTo>
                  <a:pt x="417" y="162"/>
                </a:lnTo>
                <a:lnTo>
                  <a:pt x="417" y="165"/>
                </a:lnTo>
                <a:lnTo>
                  <a:pt x="418" y="167"/>
                </a:lnTo>
                <a:lnTo>
                  <a:pt x="420" y="168"/>
                </a:lnTo>
                <a:lnTo>
                  <a:pt x="421" y="168"/>
                </a:lnTo>
                <a:lnTo>
                  <a:pt x="431" y="165"/>
                </a:lnTo>
                <a:lnTo>
                  <a:pt x="431" y="165"/>
                </a:lnTo>
                <a:lnTo>
                  <a:pt x="436" y="162"/>
                </a:lnTo>
                <a:lnTo>
                  <a:pt x="437" y="160"/>
                </a:lnTo>
                <a:lnTo>
                  <a:pt x="436" y="157"/>
                </a:lnTo>
                <a:lnTo>
                  <a:pt x="433" y="152"/>
                </a:lnTo>
                <a:lnTo>
                  <a:pt x="433" y="152"/>
                </a:lnTo>
                <a:lnTo>
                  <a:pt x="431" y="150"/>
                </a:lnTo>
                <a:lnTo>
                  <a:pt x="431" y="148"/>
                </a:lnTo>
                <a:lnTo>
                  <a:pt x="431" y="142"/>
                </a:lnTo>
                <a:lnTo>
                  <a:pt x="431" y="138"/>
                </a:lnTo>
                <a:lnTo>
                  <a:pt x="431" y="135"/>
                </a:lnTo>
                <a:lnTo>
                  <a:pt x="430" y="134"/>
                </a:lnTo>
                <a:lnTo>
                  <a:pt x="430" y="134"/>
                </a:lnTo>
                <a:lnTo>
                  <a:pt x="424" y="130"/>
                </a:lnTo>
                <a:lnTo>
                  <a:pt x="421" y="125"/>
                </a:lnTo>
                <a:lnTo>
                  <a:pt x="421" y="123"/>
                </a:lnTo>
                <a:lnTo>
                  <a:pt x="421" y="121"/>
                </a:lnTo>
                <a:lnTo>
                  <a:pt x="424" y="121"/>
                </a:lnTo>
                <a:lnTo>
                  <a:pt x="424" y="121"/>
                </a:lnTo>
                <a:lnTo>
                  <a:pt x="431" y="118"/>
                </a:lnTo>
                <a:lnTo>
                  <a:pt x="440" y="113"/>
                </a:lnTo>
                <a:lnTo>
                  <a:pt x="447" y="107"/>
                </a:lnTo>
                <a:lnTo>
                  <a:pt x="448" y="105"/>
                </a:lnTo>
                <a:lnTo>
                  <a:pt x="448" y="103"/>
                </a:lnTo>
                <a:lnTo>
                  <a:pt x="448" y="103"/>
                </a:lnTo>
                <a:lnTo>
                  <a:pt x="445" y="101"/>
                </a:lnTo>
                <a:lnTo>
                  <a:pt x="443" y="101"/>
                </a:lnTo>
                <a:lnTo>
                  <a:pt x="431" y="103"/>
                </a:lnTo>
                <a:lnTo>
                  <a:pt x="421" y="107"/>
                </a:lnTo>
                <a:lnTo>
                  <a:pt x="417" y="110"/>
                </a:lnTo>
                <a:lnTo>
                  <a:pt x="416" y="113"/>
                </a:lnTo>
                <a:lnTo>
                  <a:pt x="416" y="113"/>
                </a:lnTo>
                <a:lnTo>
                  <a:pt x="414" y="115"/>
                </a:lnTo>
                <a:lnTo>
                  <a:pt x="411" y="115"/>
                </a:lnTo>
                <a:lnTo>
                  <a:pt x="407" y="115"/>
                </a:lnTo>
                <a:lnTo>
                  <a:pt x="404" y="114"/>
                </a:lnTo>
                <a:lnTo>
                  <a:pt x="400" y="111"/>
                </a:lnTo>
                <a:lnTo>
                  <a:pt x="397" y="107"/>
                </a:lnTo>
                <a:lnTo>
                  <a:pt x="396" y="103"/>
                </a:lnTo>
                <a:lnTo>
                  <a:pt x="396" y="97"/>
                </a:lnTo>
                <a:lnTo>
                  <a:pt x="396" y="97"/>
                </a:lnTo>
                <a:lnTo>
                  <a:pt x="399" y="91"/>
                </a:lnTo>
                <a:lnTo>
                  <a:pt x="403" y="88"/>
                </a:lnTo>
                <a:lnTo>
                  <a:pt x="410" y="86"/>
                </a:lnTo>
                <a:lnTo>
                  <a:pt x="418" y="83"/>
                </a:lnTo>
                <a:lnTo>
                  <a:pt x="427" y="83"/>
                </a:lnTo>
                <a:lnTo>
                  <a:pt x="436" y="83"/>
                </a:lnTo>
                <a:lnTo>
                  <a:pt x="443" y="83"/>
                </a:lnTo>
                <a:lnTo>
                  <a:pt x="448" y="86"/>
                </a:lnTo>
                <a:lnTo>
                  <a:pt x="448" y="86"/>
                </a:lnTo>
                <a:lnTo>
                  <a:pt x="453" y="86"/>
                </a:lnTo>
                <a:lnTo>
                  <a:pt x="457" y="86"/>
                </a:lnTo>
                <a:lnTo>
                  <a:pt x="461" y="84"/>
                </a:lnTo>
                <a:lnTo>
                  <a:pt x="465" y="81"/>
                </a:lnTo>
                <a:lnTo>
                  <a:pt x="472" y="76"/>
                </a:lnTo>
                <a:lnTo>
                  <a:pt x="477" y="68"/>
                </a:lnTo>
                <a:lnTo>
                  <a:pt x="477" y="68"/>
                </a:lnTo>
                <a:lnTo>
                  <a:pt x="477" y="66"/>
                </a:lnTo>
                <a:lnTo>
                  <a:pt x="477" y="66"/>
                </a:lnTo>
                <a:lnTo>
                  <a:pt x="472" y="67"/>
                </a:lnTo>
                <a:lnTo>
                  <a:pt x="460" y="76"/>
                </a:lnTo>
                <a:lnTo>
                  <a:pt x="460" y="76"/>
                </a:lnTo>
                <a:lnTo>
                  <a:pt x="455" y="77"/>
                </a:lnTo>
                <a:lnTo>
                  <a:pt x="451" y="77"/>
                </a:lnTo>
                <a:lnTo>
                  <a:pt x="440" y="76"/>
                </a:lnTo>
                <a:lnTo>
                  <a:pt x="428" y="74"/>
                </a:lnTo>
                <a:lnTo>
                  <a:pt x="420" y="71"/>
                </a:lnTo>
                <a:lnTo>
                  <a:pt x="420" y="71"/>
                </a:lnTo>
                <a:lnTo>
                  <a:pt x="416" y="70"/>
                </a:lnTo>
                <a:lnTo>
                  <a:pt x="413" y="70"/>
                </a:lnTo>
                <a:lnTo>
                  <a:pt x="408" y="73"/>
                </a:lnTo>
                <a:lnTo>
                  <a:pt x="406" y="77"/>
                </a:lnTo>
                <a:lnTo>
                  <a:pt x="403" y="78"/>
                </a:lnTo>
                <a:lnTo>
                  <a:pt x="400" y="78"/>
                </a:lnTo>
                <a:lnTo>
                  <a:pt x="400" y="78"/>
                </a:lnTo>
                <a:lnTo>
                  <a:pt x="397" y="80"/>
                </a:lnTo>
                <a:lnTo>
                  <a:pt x="394" y="83"/>
                </a:lnTo>
                <a:lnTo>
                  <a:pt x="393" y="90"/>
                </a:lnTo>
                <a:lnTo>
                  <a:pt x="390" y="98"/>
                </a:lnTo>
                <a:lnTo>
                  <a:pt x="390" y="101"/>
                </a:lnTo>
                <a:lnTo>
                  <a:pt x="389" y="103"/>
                </a:lnTo>
                <a:lnTo>
                  <a:pt x="389" y="103"/>
                </a:lnTo>
                <a:lnTo>
                  <a:pt x="386" y="107"/>
                </a:lnTo>
                <a:lnTo>
                  <a:pt x="383" y="114"/>
                </a:lnTo>
                <a:lnTo>
                  <a:pt x="380" y="123"/>
                </a:lnTo>
                <a:lnTo>
                  <a:pt x="376" y="134"/>
                </a:lnTo>
                <a:lnTo>
                  <a:pt x="376" y="134"/>
                </a:lnTo>
                <a:lnTo>
                  <a:pt x="373" y="138"/>
                </a:lnTo>
                <a:lnTo>
                  <a:pt x="373" y="141"/>
                </a:lnTo>
                <a:lnTo>
                  <a:pt x="373" y="144"/>
                </a:lnTo>
                <a:lnTo>
                  <a:pt x="374" y="147"/>
                </a:lnTo>
                <a:lnTo>
                  <a:pt x="380" y="148"/>
                </a:lnTo>
                <a:lnTo>
                  <a:pt x="386" y="150"/>
                </a:lnTo>
                <a:lnTo>
                  <a:pt x="386" y="150"/>
                </a:lnTo>
                <a:close/>
                <a:moveTo>
                  <a:pt x="169" y="162"/>
                </a:moveTo>
                <a:lnTo>
                  <a:pt x="169" y="162"/>
                </a:lnTo>
                <a:lnTo>
                  <a:pt x="169" y="157"/>
                </a:lnTo>
                <a:lnTo>
                  <a:pt x="169" y="152"/>
                </a:lnTo>
                <a:lnTo>
                  <a:pt x="171" y="145"/>
                </a:lnTo>
                <a:lnTo>
                  <a:pt x="171" y="145"/>
                </a:lnTo>
                <a:lnTo>
                  <a:pt x="171" y="142"/>
                </a:lnTo>
                <a:lnTo>
                  <a:pt x="172" y="141"/>
                </a:lnTo>
                <a:lnTo>
                  <a:pt x="175" y="141"/>
                </a:lnTo>
                <a:lnTo>
                  <a:pt x="178" y="141"/>
                </a:lnTo>
                <a:lnTo>
                  <a:pt x="178" y="141"/>
                </a:lnTo>
                <a:lnTo>
                  <a:pt x="179" y="141"/>
                </a:lnTo>
                <a:lnTo>
                  <a:pt x="179" y="141"/>
                </a:lnTo>
                <a:lnTo>
                  <a:pt x="181" y="137"/>
                </a:lnTo>
                <a:lnTo>
                  <a:pt x="181" y="134"/>
                </a:lnTo>
                <a:lnTo>
                  <a:pt x="178" y="131"/>
                </a:lnTo>
                <a:lnTo>
                  <a:pt x="178" y="131"/>
                </a:lnTo>
                <a:lnTo>
                  <a:pt x="177" y="130"/>
                </a:lnTo>
                <a:lnTo>
                  <a:pt x="174" y="125"/>
                </a:lnTo>
                <a:lnTo>
                  <a:pt x="169" y="121"/>
                </a:lnTo>
                <a:lnTo>
                  <a:pt x="168" y="120"/>
                </a:lnTo>
                <a:lnTo>
                  <a:pt x="165" y="118"/>
                </a:lnTo>
                <a:lnTo>
                  <a:pt x="165" y="118"/>
                </a:lnTo>
                <a:lnTo>
                  <a:pt x="161" y="120"/>
                </a:lnTo>
                <a:lnTo>
                  <a:pt x="160" y="123"/>
                </a:lnTo>
                <a:lnTo>
                  <a:pt x="161" y="124"/>
                </a:lnTo>
                <a:lnTo>
                  <a:pt x="164" y="125"/>
                </a:lnTo>
                <a:lnTo>
                  <a:pt x="164" y="125"/>
                </a:lnTo>
                <a:lnTo>
                  <a:pt x="167" y="127"/>
                </a:lnTo>
                <a:lnTo>
                  <a:pt x="168" y="128"/>
                </a:lnTo>
                <a:lnTo>
                  <a:pt x="169" y="131"/>
                </a:lnTo>
                <a:lnTo>
                  <a:pt x="169" y="134"/>
                </a:lnTo>
                <a:lnTo>
                  <a:pt x="169" y="134"/>
                </a:lnTo>
                <a:lnTo>
                  <a:pt x="168" y="134"/>
                </a:lnTo>
                <a:lnTo>
                  <a:pt x="167" y="132"/>
                </a:lnTo>
                <a:lnTo>
                  <a:pt x="164" y="131"/>
                </a:lnTo>
                <a:lnTo>
                  <a:pt x="160" y="131"/>
                </a:lnTo>
                <a:lnTo>
                  <a:pt x="160" y="131"/>
                </a:lnTo>
                <a:lnTo>
                  <a:pt x="157" y="130"/>
                </a:lnTo>
                <a:lnTo>
                  <a:pt x="157" y="130"/>
                </a:lnTo>
                <a:lnTo>
                  <a:pt x="155" y="127"/>
                </a:lnTo>
                <a:lnTo>
                  <a:pt x="154" y="124"/>
                </a:lnTo>
                <a:lnTo>
                  <a:pt x="151" y="123"/>
                </a:lnTo>
                <a:lnTo>
                  <a:pt x="150" y="123"/>
                </a:lnTo>
                <a:lnTo>
                  <a:pt x="150" y="123"/>
                </a:lnTo>
                <a:lnTo>
                  <a:pt x="147" y="121"/>
                </a:lnTo>
                <a:lnTo>
                  <a:pt x="145" y="120"/>
                </a:lnTo>
                <a:lnTo>
                  <a:pt x="142" y="114"/>
                </a:lnTo>
                <a:lnTo>
                  <a:pt x="140" y="110"/>
                </a:lnTo>
                <a:lnTo>
                  <a:pt x="138" y="108"/>
                </a:lnTo>
                <a:lnTo>
                  <a:pt x="135" y="108"/>
                </a:lnTo>
                <a:lnTo>
                  <a:pt x="135" y="108"/>
                </a:lnTo>
                <a:lnTo>
                  <a:pt x="131" y="107"/>
                </a:lnTo>
                <a:lnTo>
                  <a:pt x="128" y="104"/>
                </a:lnTo>
                <a:lnTo>
                  <a:pt x="130" y="100"/>
                </a:lnTo>
                <a:lnTo>
                  <a:pt x="132" y="97"/>
                </a:lnTo>
                <a:lnTo>
                  <a:pt x="132" y="97"/>
                </a:lnTo>
                <a:lnTo>
                  <a:pt x="132" y="94"/>
                </a:lnTo>
                <a:lnTo>
                  <a:pt x="132" y="93"/>
                </a:lnTo>
                <a:lnTo>
                  <a:pt x="130" y="90"/>
                </a:lnTo>
                <a:lnTo>
                  <a:pt x="125" y="86"/>
                </a:lnTo>
                <a:lnTo>
                  <a:pt x="124" y="84"/>
                </a:lnTo>
                <a:lnTo>
                  <a:pt x="124" y="81"/>
                </a:lnTo>
                <a:lnTo>
                  <a:pt x="124" y="81"/>
                </a:lnTo>
                <a:lnTo>
                  <a:pt x="124" y="80"/>
                </a:lnTo>
                <a:lnTo>
                  <a:pt x="123" y="78"/>
                </a:lnTo>
                <a:lnTo>
                  <a:pt x="120" y="78"/>
                </a:lnTo>
                <a:lnTo>
                  <a:pt x="117" y="77"/>
                </a:lnTo>
                <a:lnTo>
                  <a:pt x="115" y="76"/>
                </a:lnTo>
                <a:lnTo>
                  <a:pt x="115" y="74"/>
                </a:lnTo>
                <a:lnTo>
                  <a:pt x="115" y="74"/>
                </a:lnTo>
                <a:lnTo>
                  <a:pt x="114" y="73"/>
                </a:lnTo>
                <a:lnTo>
                  <a:pt x="113" y="71"/>
                </a:lnTo>
                <a:lnTo>
                  <a:pt x="110" y="70"/>
                </a:lnTo>
                <a:lnTo>
                  <a:pt x="107" y="67"/>
                </a:lnTo>
                <a:lnTo>
                  <a:pt x="107" y="67"/>
                </a:lnTo>
                <a:lnTo>
                  <a:pt x="104" y="64"/>
                </a:lnTo>
                <a:lnTo>
                  <a:pt x="103" y="64"/>
                </a:lnTo>
                <a:lnTo>
                  <a:pt x="100" y="63"/>
                </a:lnTo>
                <a:lnTo>
                  <a:pt x="97" y="61"/>
                </a:lnTo>
                <a:lnTo>
                  <a:pt x="97" y="61"/>
                </a:lnTo>
                <a:lnTo>
                  <a:pt x="94" y="59"/>
                </a:lnTo>
                <a:lnTo>
                  <a:pt x="91" y="57"/>
                </a:lnTo>
                <a:lnTo>
                  <a:pt x="87" y="56"/>
                </a:lnTo>
                <a:lnTo>
                  <a:pt x="86" y="57"/>
                </a:lnTo>
                <a:lnTo>
                  <a:pt x="86" y="57"/>
                </a:lnTo>
                <a:lnTo>
                  <a:pt x="81" y="56"/>
                </a:lnTo>
                <a:lnTo>
                  <a:pt x="78" y="53"/>
                </a:lnTo>
                <a:lnTo>
                  <a:pt x="74" y="49"/>
                </a:lnTo>
                <a:lnTo>
                  <a:pt x="71" y="43"/>
                </a:lnTo>
                <a:lnTo>
                  <a:pt x="71" y="43"/>
                </a:lnTo>
                <a:lnTo>
                  <a:pt x="70" y="40"/>
                </a:lnTo>
                <a:lnTo>
                  <a:pt x="66" y="37"/>
                </a:lnTo>
                <a:lnTo>
                  <a:pt x="57" y="31"/>
                </a:lnTo>
                <a:lnTo>
                  <a:pt x="49" y="24"/>
                </a:lnTo>
                <a:lnTo>
                  <a:pt x="46" y="22"/>
                </a:lnTo>
                <a:lnTo>
                  <a:pt x="44" y="19"/>
                </a:lnTo>
                <a:lnTo>
                  <a:pt x="44" y="19"/>
                </a:lnTo>
                <a:lnTo>
                  <a:pt x="41" y="13"/>
                </a:lnTo>
                <a:lnTo>
                  <a:pt x="36" y="10"/>
                </a:lnTo>
                <a:lnTo>
                  <a:pt x="30" y="9"/>
                </a:lnTo>
                <a:lnTo>
                  <a:pt x="22" y="7"/>
                </a:lnTo>
                <a:lnTo>
                  <a:pt x="22" y="7"/>
                </a:lnTo>
                <a:lnTo>
                  <a:pt x="16" y="7"/>
                </a:lnTo>
                <a:lnTo>
                  <a:pt x="13" y="6"/>
                </a:lnTo>
                <a:lnTo>
                  <a:pt x="7" y="3"/>
                </a:lnTo>
                <a:lnTo>
                  <a:pt x="3" y="0"/>
                </a:lnTo>
                <a:lnTo>
                  <a:pt x="2" y="0"/>
                </a:lnTo>
                <a:lnTo>
                  <a:pt x="0" y="2"/>
                </a:lnTo>
                <a:lnTo>
                  <a:pt x="0" y="2"/>
                </a:lnTo>
                <a:lnTo>
                  <a:pt x="0" y="4"/>
                </a:lnTo>
                <a:lnTo>
                  <a:pt x="0" y="9"/>
                </a:lnTo>
                <a:lnTo>
                  <a:pt x="6" y="19"/>
                </a:lnTo>
                <a:lnTo>
                  <a:pt x="14" y="27"/>
                </a:lnTo>
                <a:lnTo>
                  <a:pt x="22" y="33"/>
                </a:lnTo>
                <a:lnTo>
                  <a:pt x="22" y="33"/>
                </a:lnTo>
                <a:lnTo>
                  <a:pt x="24" y="34"/>
                </a:lnTo>
                <a:lnTo>
                  <a:pt x="27" y="37"/>
                </a:lnTo>
                <a:lnTo>
                  <a:pt x="31" y="46"/>
                </a:lnTo>
                <a:lnTo>
                  <a:pt x="37" y="51"/>
                </a:lnTo>
                <a:lnTo>
                  <a:pt x="40" y="54"/>
                </a:lnTo>
                <a:lnTo>
                  <a:pt x="44" y="56"/>
                </a:lnTo>
                <a:lnTo>
                  <a:pt x="44" y="56"/>
                </a:lnTo>
                <a:lnTo>
                  <a:pt x="47" y="57"/>
                </a:lnTo>
                <a:lnTo>
                  <a:pt x="50" y="60"/>
                </a:lnTo>
                <a:lnTo>
                  <a:pt x="53" y="71"/>
                </a:lnTo>
                <a:lnTo>
                  <a:pt x="57" y="81"/>
                </a:lnTo>
                <a:lnTo>
                  <a:pt x="59" y="86"/>
                </a:lnTo>
                <a:lnTo>
                  <a:pt x="61" y="87"/>
                </a:lnTo>
                <a:lnTo>
                  <a:pt x="61" y="87"/>
                </a:lnTo>
                <a:lnTo>
                  <a:pt x="64" y="88"/>
                </a:lnTo>
                <a:lnTo>
                  <a:pt x="67" y="93"/>
                </a:lnTo>
                <a:lnTo>
                  <a:pt x="76" y="101"/>
                </a:lnTo>
                <a:lnTo>
                  <a:pt x="81" y="114"/>
                </a:lnTo>
                <a:lnTo>
                  <a:pt x="86" y="124"/>
                </a:lnTo>
                <a:lnTo>
                  <a:pt x="86" y="124"/>
                </a:lnTo>
                <a:lnTo>
                  <a:pt x="87" y="128"/>
                </a:lnTo>
                <a:lnTo>
                  <a:pt x="90" y="132"/>
                </a:lnTo>
                <a:lnTo>
                  <a:pt x="97" y="140"/>
                </a:lnTo>
                <a:lnTo>
                  <a:pt x="104" y="145"/>
                </a:lnTo>
                <a:lnTo>
                  <a:pt x="110" y="152"/>
                </a:lnTo>
                <a:lnTo>
                  <a:pt x="110" y="152"/>
                </a:lnTo>
                <a:lnTo>
                  <a:pt x="115" y="160"/>
                </a:lnTo>
                <a:lnTo>
                  <a:pt x="124" y="167"/>
                </a:lnTo>
                <a:lnTo>
                  <a:pt x="132" y="172"/>
                </a:lnTo>
                <a:lnTo>
                  <a:pt x="138" y="177"/>
                </a:lnTo>
                <a:lnTo>
                  <a:pt x="138" y="177"/>
                </a:lnTo>
                <a:lnTo>
                  <a:pt x="142" y="184"/>
                </a:lnTo>
                <a:lnTo>
                  <a:pt x="144" y="187"/>
                </a:lnTo>
                <a:lnTo>
                  <a:pt x="145" y="187"/>
                </a:lnTo>
                <a:lnTo>
                  <a:pt x="147" y="185"/>
                </a:lnTo>
                <a:lnTo>
                  <a:pt x="147" y="185"/>
                </a:lnTo>
                <a:lnTo>
                  <a:pt x="147" y="184"/>
                </a:lnTo>
                <a:lnTo>
                  <a:pt x="150" y="184"/>
                </a:lnTo>
                <a:lnTo>
                  <a:pt x="154" y="184"/>
                </a:lnTo>
                <a:lnTo>
                  <a:pt x="164" y="185"/>
                </a:lnTo>
                <a:lnTo>
                  <a:pt x="164" y="185"/>
                </a:lnTo>
                <a:lnTo>
                  <a:pt x="165" y="185"/>
                </a:lnTo>
                <a:lnTo>
                  <a:pt x="167" y="182"/>
                </a:lnTo>
                <a:lnTo>
                  <a:pt x="168" y="177"/>
                </a:lnTo>
                <a:lnTo>
                  <a:pt x="168" y="168"/>
                </a:lnTo>
                <a:lnTo>
                  <a:pt x="169" y="162"/>
                </a:lnTo>
                <a:lnTo>
                  <a:pt x="169" y="162"/>
                </a:lnTo>
                <a:close/>
                <a:moveTo>
                  <a:pt x="531" y="86"/>
                </a:moveTo>
                <a:lnTo>
                  <a:pt x="531" y="86"/>
                </a:lnTo>
                <a:lnTo>
                  <a:pt x="537" y="86"/>
                </a:lnTo>
                <a:lnTo>
                  <a:pt x="538" y="84"/>
                </a:lnTo>
                <a:lnTo>
                  <a:pt x="538" y="83"/>
                </a:lnTo>
                <a:lnTo>
                  <a:pt x="537" y="74"/>
                </a:lnTo>
                <a:lnTo>
                  <a:pt x="537" y="74"/>
                </a:lnTo>
                <a:lnTo>
                  <a:pt x="537" y="73"/>
                </a:lnTo>
                <a:lnTo>
                  <a:pt x="535" y="71"/>
                </a:lnTo>
                <a:lnTo>
                  <a:pt x="532" y="71"/>
                </a:lnTo>
                <a:lnTo>
                  <a:pt x="529" y="71"/>
                </a:lnTo>
                <a:lnTo>
                  <a:pt x="528" y="71"/>
                </a:lnTo>
                <a:lnTo>
                  <a:pt x="528" y="70"/>
                </a:lnTo>
                <a:lnTo>
                  <a:pt x="528" y="70"/>
                </a:lnTo>
                <a:lnTo>
                  <a:pt x="527" y="66"/>
                </a:lnTo>
                <a:lnTo>
                  <a:pt x="525" y="61"/>
                </a:lnTo>
                <a:lnTo>
                  <a:pt x="524" y="60"/>
                </a:lnTo>
                <a:lnTo>
                  <a:pt x="521" y="60"/>
                </a:lnTo>
                <a:lnTo>
                  <a:pt x="519" y="61"/>
                </a:lnTo>
                <a:lnTo>
                  <a:pt x="517" y="64"/>
                </a:lnTo>
                <a:lnTo>
                  <a:pt x="517" y="64"/>
                </a:lnTo>
                <a:lnTo>
                  <a:pt x="514" y="68"/>
                </a:lnTo>
                <a:lnTo>
                  <a:pt x="514" y="74"/>
                </a:lnTo>
                <a:lnTo>
                  <a:pt x="514" y="80"/>
                </a:lnTo>
                <a:lnTo>
                  <a:pt x="515" y="86"/>
                </a:lnTo>
                <a:lnTo>
                  <a:pt x="519" y="96"/>
                </a:lnTo>
                <a:lnTo>
                  <a:pt x="522" y="98"/>
                </a:lnTo>
                <a:lnTo>
                  <a:pt x="525" y="98"/>
                </a:lnTo>
                <a:lnTo>
                  <a:pt x="525" y="98"/>
                </a:lnTo>
                <a:lnTo>
                  <a:pt x="527" y="98"/>
                </a:lnTo>
                <a:lnTo>
                  <a:pt x="527" y="96"/>
                </a:lnTo>
                <a:lnTo>
                  <a:pt x="527" y="91"/>
                </a:lnTo>
                <a:lnTo>
                  <a:pt x="527" y="87"/>
                </a:lnTo>
                <a:lnTo>
                  <a:pt x="528" y="86"/>
                </a:lnTo>
                <a:lnTo>
                  <a:pt x="531" y="86"/>
                </a:lnTo>
                <a:lnTo>
                  <a:pt x="531" y="86"/>
                </a:lnTo>
                <a:close/>
                <a:moveTo>
                  <a:pt x="492" y="145"/>
                </a:moveTo>
                <a:lnTo>
                  <a:pt x="492" y="145"/>
                </a:lnTo>
                <a:lnTo>
                  <a:pt x="494" y="148"/>
                </a:lnTo>
                <a:lnTo>
                  <a:pt x="495" y="150"/>
                </a:lnTo>
                <a:lnTo>
                  <a:pt x="501" y="152"/>
                </a:lnTo>
                <a:lnTo>
                  <a:pt x="507" y="154"/>
                </a:lnTo>
                <a:lnTo>
                  <a:pt x="509" y="152"/>
                </a:lnTo>
                <a:lnTo>
                  <a:pt x="512" y="151"/>
                </a:lnTo>
                <a:lnTo>
                  <a:pt x="512" y="151"/>
                </a:lnTo>
                <a:lnTo>
                  <a:pt x="512" y="148"/>
                </a:lnTo>
                <a:lnTo>
                  <a:pt x="509" y="145"/>
                </a:lnTo>
                <a:lnTo>
                  <a:pt x="502" y="142"/>
                </a:lnTo>
                <a:lnTo>
                  <a:pt x="498" y="141"/>
                </a:lnTo>
                <a:lnTo>
                  <a:pt x="495" y="141"/>
                </a:lnTo>
                <a:lnTo>
                  <a:pt x="492" y="142"/>
                </a:lnTo>
                <a:lnTo>
                  <a:pt x="492" y="145"/>
                </a:lnTo>
                <a:lnTo>
                  <a:pt x="492" y="145"/>
                </a:lnTo>
                <a:close/>
                <a:moveTo>
                  <a:pt x="455" y="225"/>
                </a:moveTo>
                <a:lnTo>
                  <a:pt x="455" y="225"/>
                </a:lnTo>
                <a:lnTo>
                  <a:pt x="450" y="225"/>
                </a:lnTo>
                <a:lnTo>
                  <a:pt x="445" y="225"/>
                </a:lnTo>
                <a:lnTo>
                  <a:pt x="438" y="228"/>
                </a:lnTo>
                <a:lnTo>
                  <a:pt x="430" y="229"/>
                </a:lnTo>
                <a:lnTo>
                  <a:pt x="426" y="229"/>
                </a:lnTo>
                <a:lnTo>
                  <a:pt x="421" y="228"/>
                </a:lnTo>
                <a:lnTo>
                  <a:pt x="421" y="228"/>
                </a:lnTo>
                <a:lnTo>
                  <a:pt x="416" y="226"/>
                </a:lnTo>
                <a:lnTo>
                  <a:pt x="410" y="226"/>
                </a:lnTo>
                <a:lnTo>
                  <a:pt x="400" y="226"/>
                </a:lnTo>
                <a:lnTo>
                  <a:pt x="393" y="229"/>
                </a:lnTo>
                <a:lnTo>
                  <a:pt x="391" y="231"/>
                </a:lnTo>
                <a:lnTo>
                  <a:pt x="391" y="232"/>
                </a:lnTo>
                <a:lnTo>
                  <a:pt x="391" y="232"/>
                </a:lnTo>
                <a:lnTo>
                  <a:pt x="394" y="235"/>
                </a:lnTo>
                <a:lnTo>
                  <a:pt x="400" y="236"/>
                </a:lnTo>
                <a:lnTo>
                  <a:pt x="417" y="238"/>
                </a:lnTo>
                <a:lnTo>
                  <a:pt x="417" y="238"/>
                </a:lnTo>
                <a:lnTo>
                  <a:pt x="426" y="236"/>
                </a:lnTo>
                <a:lnTo>
                  <a:pt x="434" y="233"/>
                </a:lnTo>
                <a:lnTo>
                  <a:pt x="443" y="232"/>
                </a:lnTo>
                <a:lnTo>
                  <a:pt x="450" y="231"/>
                </a:lnTo>
                <a:lnTo>
                  <a:pt x="450" y="231"/>
                </a:lnTo>
                <a:lnTo>
                  <a:pt x="460" y="228"/>
                </a:lnTo>
                <a:lnTo>
                  <a:pt x="461" y="228"/>
                </a:lnTo>
                <a:lnTo>
                  <a:pt x="461" y="226"/>
                </a:lnTo>
                <a:lnTo>
                  <a:pt x="455" y="225"/>
                </a:lnTo>
                <a:lnTo>
                  <a:pt x="455" y="225"/>
                </a:lnTo>
                <a:close/>
                <a:moveTo>
                  <a:pt x="556" y="138"/>
                </a:moveTo>
                <a:lnTo>
                  <a:pt x="556" y="138"/>
                </a:lnTo>
                <a:lnTo>
                  <a:pt x="546" y="137"/>
                </a:lnTo>
                <a:lnTo>
                  <a:pt x="535" y="138"/>
                </a:lnTo>
                <a:lnTo>
                  <a:pt x="527" y="140"/>
                </a:lnTo>
                <a:lnTo>
                  <a:pt x="525" y="142"/>
                </a:lnTo>
                <a:lnTo>
                  <a:pt x="525" y="144"/>
                </a:lnTo>
                <a:lnTo>
                  <a:pt x="525" y="144"/>
                </a:lnTo>
                <a:lnTo>
                  <a:pt x="527" y="145"/>
                </a:lnTo>
                <a:lnTo>
                  <a:pt x="528" y="147"/>
                </a:lnTo>
                <a:lnTo>
                  <a:pt x="532" y="148"/>
                </a:lnTo>
                <a:lnTo>
                  <a:pt x="546" y="148"/>
                </a:lnTo>
                <a:lnTo>
                  <a:pt x="546" y="148"/>
                </a:lnTo>
                <a:lnTo>
                  <a:pt x="554" y="148"/>
                </a:lnTo>
                <a:lnTo>
                  <a:pt x="559" y="151"/>
                </a:lnTo>
                <a:lnTo>
                  <a:pt x="564" y="154"/>
                </a:lnTo>
                <a:lnTo>
                  <a:pt x="568" y="155"/>
                </a:lnTo>
                <a:lnTo>
                  <a:pt x="568" y="155"/>
                </a:lnTo>
                <a:lnTo>
                  <a:pt x="569" y="154"/>
                </a:lnTo>
                <a:lnTo>
                  <a:pt x="569" y="152"/>
                </a:lnTo>
                <a:lnTo>
                  <a:pt x="568" y="148"/>
                </a:lnTo>
                <a:lnTo>
                  <a:pt x="564" y="142"/>
                </a:lnTo>
                <a:lnTo>
                  <a:pt x="561" y="141"/>
                </a:lnTo>
                <a:lnTo>
                  <a:pt x="556" y="138"/>
                </a:lnTo>
                <a:lnTo>
                  <a:pt x="556" y="138"/>
                </a:lnTo>
                <a:close/>
                <a:moveTo>
                  <a:pt x="306" y="221"/>
                </a:moveTo>
                <a:lnTo>
                  <a:pt x="306" y="221"/>
                </a:lnTo>
                <a:lnTo>
                  <a:pt x="306" y="218"/>
                </a:lnTo>
                <a:lnTo>
                  <a:pt x="303" y="218"/>
                </a:lnTo>
                <a:lnTo>
                  <a:pt x="296" y="218"/>
                </a:lnTo>
                <a:lnTo>
                  <a:pt x="286" y="218"/>
                </a:lnTo>
                <a:lnTo>
                  <a:pt x="279" y="216"/>
                </a:lnTo>
                <a:lnTo>
                  <a:pt x="279" y="216"/>
                </a:lnTo>
                <a:lnTo>
                  <a:pt x="276" y="215"/>
                </a:lnTo>
                <a:lnTo>
                  <a:pt x="276" y="214"/>
                </a:lnTo>
                <a:lnTo>
                  <a:pt x="280" y="211"/>
                </a:lnTo>
                <a:lnTo>
                  <a:pt x="288" y="208"/>
                </a:lnTo>
                <a:lnTo>
                  <a:pt x="295" y="205"/>
                </a:lnTo>
                <a:lnTo>
                  <a:pt x="295" y="205"/>
                </a:lnTo>
                <a:lnTo>
                  <a:pt x="296" y="204"/>
                </a:lnTo>
                <a:lnTo>
                  <a:pt x="296" y="202"/>
                </a:lnTo>
                <a:lnTo>
                  <a:pt x="293" y="201"/>
                </a:lnTo>
                <a:lnTo>
                  <a:pt x="286" y="202"/>
                </a:lnTo>
                <a:lnTo>
                  <a:pt x="276" y="205"/>
                </a:lnTo>
                <a:lnTo>
                  <a:pt x="276" y="205"/>
                </a:lnTo>
                <a:lnTo>
                  <a:pt x="269" y="205"/>
                </a:lnTo>
                <a:lnTo>
                  <a:pt x="263" y="205"/>
                </a:lnTo>
                <a:lnTo>
                  <a:pt x="253" y="202"/>
                </a:lnTo>
                <a:lnTo>
                  <a:pt x="245" y="199"/>
                </a:lnTo>
                <a:lnTo>
                  <a:pt x="243" y="199"/>
                </a:lnTo>
                <a:lnTo>
                  <a:pt x="242" y="201"/>
                </a:lnTo>
                <a:lnTo>
                  <a:pt x="242" y="201"/>
                </a:lnTo>
                <a:lnTo>
                  <a:pt x="241" y="202"/>
                </a:lnTo>
                <a:lnTo>
                  <a:pt x="238" y="204"/>
                </a:lnTo>
                <a:lnTo>
                  <a:pt x="228" y="201"/>
                </a:lnTo>
                <a:lnTo>
                  <a:pt x="216" y="197"/>
                </a:lnTo>
                <a:lnTo>
                  <a:pt x="208" y="194"/>
                </a:lnTo>
                <a:lnTo>
                  <a:pt x="208" y="194"/>
                </a:lnTo>
                <a:lnTo>
                  <a:pt x="201" y="189"/>
                </a:lnTo>
                <a:lnTo>
                  <a:pt x="189" y="187"/>
                </a:lnTo>
                <a:lnTo>
                  <a:pt x="184" y="187"/>
                </a:lnTo>
                <a:lnTo>
                  <a:pt x="178" y="187"/>
                </a:lnTo>
                <a:lnTo>
                  <a:pt x="174" y="188"/>
                </a:lnTo>
                <a:lnTo>
                  <a:pt x="171" y="191"/>
                </a:lnTo>
                <a:lnTo>
                  <a:pt x="171" y="191"/>
                </a:lnTo>
                <a:lnTo>
                  <a:pt x="167" y="195"/>
                </a:lnTo>
                <a:lnTo>
                  <a:pt x="164" y="197"/>
                </a:lnTo>
                <a:lnTo>
                  <a:pt x="162" y="197"/>
                </a:lnTo>
                <a:lnTo>
                  <a:pt x="164" y="201"/>
                </a:lnTo>
                <a:lnTo>
                  <a:pt x="164" y="201"/>
                </a:lnTo>
                <a:lnTo>
                  <a:pt x="165" y="204"/>
                </a:lnTo>
                <a:lnTo>
                  <a:pt x="168" y="204"/>
                </a:lnTo>
                <a:lnTo>
                  <a:pt x="175" y="204"/>
                </a:lnTo>
                <a:lnTo>
                  <a:pt x="175" y="204"/>
                </a:lnTo>
                <a:lnTo>
                  <a:pt x="177" y="204"/>
                </a:lnTo>
                <a:lnTo>
                  <a:pt x="178" y="208"/>
                </a:lnTo>
                <a:lnTo>
                  <a:pt x="181" y="211"/>
                </a:lnTo>
                <a:lnTo>
                  <a:pt x="184" y="212"/>
                </a:lnTo>
                <a:lnTo>
                  <a:pt x="184" y="212"/>
                </a:lnTo>
                <a:lnTo>
                  <a:pt x="199" y="215"/>
                </a:lnTo>
                <a:lnTo>
                  <a:pt x="208" y="216"/>
                </a:lnTo>
                <a:lnTo>
                  <a:pt x="211" y="215"/>
                </a:lnTo>
                <a:lnTo>
                  <a:pt x="212" y="215"/>
                </a:lnTo>
                <a:lnTo>
                  <a:pt x="212" y="215"/>
                </a:lnTo>
                <a:lnTo>
                  <a:pt x="214" y="214"/>
                </a:lnTo>
                <a:lnTo>
                  <a:pt x="216" y="212"/>
                </a:lnTo>
                <a:lnTo>
                  <a:pt x="225" y="214"/>
                </a:lnTo>
                <a:lnTo>
                  <a:pt x="234" y="216"/>
                </a:lnTo>
                <a:lnTo>
                  <a:pt x="242" y="222"/>
                </a:lnTo>
                <a:lnTo>
                  <a:pt x="242" y="222"/>
                </a:lnTo>
                <a:lnTo>
                  <a:pt x="246" y="225"/>
                </a:lnTo>
                <a:lnTo>
                  <a:pt x="252" y="226"/>
                </a:lnTo>
                <a:lnTo>
                  <a:pt x="262" y="229"/>
                </a:lnTo>
                <a:lnTo>
                  <a:pt x="273" y="229"/>
                </a:lnTo>
                <a:lnTo>
                  <a:pt x="282" y="229"/>
                </a:lnTo>
                <a:lnTo>
                  <a:pt x="282" y="229"/>
                </a:lnTo>
                <a:lnTo>
                  <a:pt x="289" y="229"/>
                </a:lnTo>
                <a:lnTo>
                  <a:pt x="295" y="231"/>
                </a:lnTo>
                <a:lnTo>
                  <a:pt x="300" y="231"/>
                </a:lnTo>
                <a:lnTo>
                  <a:pt x="302" y="231"/>
                </a:lnTo>
                <a:lnTo>
                  <a:pt x="303" y="229"/>
                </a:lnTo>
                <a:lnTo>
                  <a:pt x="303" y="229"/>
                </a:lnTo>
                <a:lnTo>
                  <a:pt x="305" y="229"/>
                </a:lnTo>
                <a:lnTo>
                  <a:pt x="306" y="229"/>
                </a:lnTo>
                <a:lnTo>
                  <a:pt x="310" y="231"/>
                </a:lnTo>
                <a:lnTo>
                  <a:pt x="316" y="232"/>
                </a:lnTo>
                <a:lnTo>
                  <a:pt x="319" y="232"/>
                </a:lnTo>
                <a:lnTo>
                  <a:pt x="323" y="231"/>
                </a:lnTo>
                <a:lnTo>
                  <a:pt x="323" y="231"/>
                </a:lnTo>
                <a:lnTo>
                  <a:pt x="325" y="228"/>
                </a:lnTo>
                <a:lnTo>
                  <a:pt x="325" y="226"/>
                </a:lnTo>
                <a:lnTo>
                  <a:pt x="317" y="225"/>
                </a:lnTo>
                <a:lnTo>
                  <a:pt x="310" y="224"/>
                </a:lnTo>
                <a:lnTo>
                  <a:pt x="307" y="222"/>
                </a:lnTo>
                <a:lnTo>
                  <a:pt x="306" y="221"/>
                </a:lnTo>
                <a:lnTo>
                  <a:pt x="306" y="221"/>
                </a:lnTo>
                <a:close/>
                <a:moveTo>
                  <a:pt x="680" y="117"/>
                </a:moveTo>
                <a:lnTo>
                  <a:pt x="680" y="117"/>
                </a:lnTo>
                <a:lnTo>
                  <a:pt x="677" y="117"/>
                </a:lnTo>
                <a:lnTo>
                  <a:pt x="674" y="118"/>
                </a:lnTo>
                <a:lnTo>
                  <a:pt x="672" y="124"/>
                </a:lnTo>
                <a:lnTo>
                  <a:pt x="669" y="128"/>
                </a:lnTo>
                <a:lnTo>
                  <a:pt x="667" y="130"/>
                </a:lnTo>
                <a:lnTo>
                  <a:pt x="666" y="130"/>
                </a:lnTo>
                <a:lnTo>
                  <a:pt x="666" y="130"/>
                </a:lnTo>
                <a:lnTo>
                  <a:pt x="663" y="130"/>
                </a:lnTo>
                <a:lnTo>
                  <a:pt x="660" y="131"/>
                </a:lnTo>
                <a:lnTo>
                  <a:pt x="655" y="137"/>
                </a:lnTo>
                <a:lnTo>
                  <a:pt x="647" y="142"/>
                </a:lnTo>
                <a:lnTo>
                  <a:pt x="639" y="147"/>
                </a:lnTo>
                <a:lnTo>
                  <a:pt x="639" y="147"/>
                </a:lnTo>
                <a:lnTo>
                  <a:pt x="638" y="147"/>
                </a:lnTo>
                <a:lnTo>
                  <a:pt x="636" y="145"/>
                </a:lnTo>
                <a:lnTo>
                  <a:pt x="632" y="142"/>
                </a:lnTo>
                <a:lnTo>
                  <a:pt x="630" y="137"/>
                </a:lnTo>
                <a:lnTo>
                  <a:pt x="629" y="130"/>
                </a:lnTo>
                <a:lnTo>
                  <a:pt x="625" y="115"/>
                </a:lnTo>
                <a:lnTo>
                  <a:pt x="623" y="110"/>
                </a:lnTo>
                <a:lnTo>
                  <a:pt x="622" y="107"/>
                </a:lnTo>
                <a:lnTo>
                  <a:pt x="622" y="107"/>
                </a:lnTo>
                <a:lnTo>
                  <a:pt x="619" y="104"/>
                </a:lnTo>
                <a:lnTo>
                  <a:pt x="615" y="101"/>
                </a:lnTo>
                <a:lnTo>
                  <a:pt x="603" y="98"/>
                </a:lnTo>
                <a:lnTo>
                  <a:pt x="598" y="97"/>
                </a:lnTo>
                <a:lnTo>
                  <a:pt x="592" y="98"/>
                </a:lnTo>
                <a:lnTo>
                  <a:pt x="588" y="100"/>
                </a:lnTo>
                <a:lnTo>
                  <a:pt x="586" y="101"/>
                </a:lnTo>
                <a:lnTo>
                  <a:pt x="586" y="101"/>
                </a:lnTo>
                <a:lnTo>
                  <a:pt x="585" y="104"/>
                </a:lnTo>
                <a:lnTo>
                  <a:pt x="582" y="105"/>
                </a:lnTo>
                <a:lnTo>
                  <a:pt x="578" y="107"/>
                </a:lnTo>
                <a:lnTo>
                  <a:pt x="573" y="108"/>
                </a:lnTo>
                <a:lnTo>
                  <a:pt x="572" y="110"/>
                </a:lnTo>
                <a:lnTo>
                  <a:pt x="572" y="113"/>
                </a:lnTo>
                <a:lnTo>
                  <a:pt x="572" y="113"/>
                </a:lnTo>
                <a:lnTo>
                  <a:pt x="572" y="115"/>
                </a:lnTo>
                <a:lnTo>
                  <a:pt x="573" y="117"/>
                </a:lnTo>
                <a:lnTo>
                  <a:pt x="581" y="117"/>
                </a:lnTo>
                <a:lnTo>
                  <a:pt x="581" y="117"/>
                </a:lnTo>
                <a:lnTo>
                  <a:pt x="583" y="117"/>
                </a:lnTo>
                <a:lnTo>
                  <a:pt x="586" y="120"/>
                </a:lnTo>
                <a:lnTo>
                  <a:pt x="589" y="127"/>
                </a:lnTo>
                <a:lnTo>
                  <a:pt x="589" y="127"/>
                </a:lnTo>
                <a:lnTo>
                  <a:pt x="591" y="130"/>
                </a:lnTo>
                <a:lnTo>
                  <a:pt x="593" y="130"/>
                </a:lnTo>
                <a:lnTo>
                  <a:pt x="601" y="131"/>
                </a:lnTo>
                <a:lnTo>
                  <a:pt x="615" y="128"/>
                </a:lnTo>
                <a:lnTo>
                  <a:pt x="615" y="128"/>
                </a:lnTo>
                <a:lnTo>
                  <a:pt x="619" y="130"/>
                </a:lnTo>
                <a:lnTo>
                  <a:pt x="619" y="132"/>
                </a:lnTo>
                <a:lnTo>
                  <a:pt x="618" y="134"/>
                </a:lnTo>
                <a:lnTo>
                  <a:pt x="613" y="134"/>
                </a:lnTo>
                <a:lnTo>
                  <a:pt x="613" y="134"/>
                </a:lnTo>
                <a:lnTo>
                  <a:pt x="609" y="132"/>
                </a:lnTo>
                <a:lnTo>
                  <a:pt x="606" y="134"/>
                </a:lnTo>
                <a:lnTo>
                  <a:pt x="603" y="135"/>
                </a:lnTo>
                <a:lnTo>
                  <a:pt x="601" y="135"/>
                </a:lnTo>
                <a:lnTo>
                  <a:pt x="601" y="135"/>
                </a:lnTo>
                <a:lnTo>
                  <a:pt x="592" y="135"/>
                </a:lnTo>
                <a:lnTo>
                  <a:pt x="589" y="137"/>
                </a:lnTo>
                <a:lnTo>
                  <a:pt x="591" y="138"/>
                </a:lnTo>
                <a:lnTo>
                  <a:pt x="591" y="138"/>
                </a:lnTo>
                <a:lnTo>
                  <a:pt x="596" y="144"/>
                </a:lnTo>
                <a:lnTo>
                  <a:pt x="599" y="147"/>
                </a:lnTo>
                <a:lnTo>
                  <a:pt x="601" y="152"/>
                </a:lnTo>
                <a:lnTo>
                  <a:pt x="601" y="152"/>
                </a:lnTo>
                <a:lnTo>
                  <a:pt x="601" y="155"/>
                </a:lnTo>
                <a:lnTo>
                  <a:pt x="602" y="157"/>
                </a:lnTo>
                <a:lnTo>
                  <a:pt x="606" y="158"/>
                </a:lnTo>
                <a:lnTo>
                  <a:pt x="609" y="155"/>
                </a:lnTo>
                <a:lnTo>
                  <a:pt x="610" y="154"/>
                </a:lnTo>
                <a:lnTo>
                  <a:pt x="612" y="152"/>
                </a:lnTo>
                <a:lnTo>
                  <a:pt x="612" y="152"/>
                </a:lnTo>
                <a:lnTo>
                  <a:pt x="612" y="151"/>
                </a:lnTo>
                <a:lnTo>
                  <a:pt x="612" y="150"/>
                </a:lnTo>
                <a:lnTo>
                  <a:pt x="615" y="151"/>
                </a:lnTo>
                <a:lnTo>
                  <a:pt x="620" y="154"/>
                </a:lnTo>
                <a:lnTo>
                  <a:pt x="628" y="157"/>
                </a:lnTo>
                <a:lnTo>
                  <a:pt x="628" y="157"/>
                </a:lnTo>
                <a:lnTo>
                  <a:pt x="633" y="160"/>
                </a:lnTo>
                <a:lnTo>
                  <a:pt x="635" y="162"/>
                </a:lnTo>
                <a:lnTo>
                  <a:pt x="636" y="164"/>
                </a:lnTo>
                <a:lnTo>
                  <a:pt x="642" y="165"/>
                </a:lnTo>
                <a:lnTo>
                  <a:pt x="642" y="165"/>
                </a:lnTo>
                <a:lnTo>
                  <a:pt x="652" y="167"/>
                </a:lnTo>
                <a:lnTo>
                  <a:pt x="665" y="169"/>
                </a:lnTo>
                <a:lnTo>
                  <a:pt x="677" y="175"/>
                </a:lnTo>
                <a:lnTo>
                  <a:pt x="687" y="181"/>
                </a:lnTo>
                <a:lnTo>
                  <a:pt x="687" y="181"/>
                </a:lnTo>
                <a:lnTo>
                  <a:pt x="692" y="185"/>
                </a:lnTo>
                <a:lnTo>
                  <a:pt x="693" y="189"/>
                </a:lnTo>
                <a:lnTo>
                  <a:pt x="693" y="194"/>
                </a:lnTo>
                <a:lnTo>
                  <a:pt x="696" y="199"/>
                </a:lnTo>
                <a:lnTo>
                  <a:pt x="696" y="199"/>
                </a:lnTo>
                <a:lnTo>
                  <a:pt x="700" y="204"/>
                </a:lnTo>
                <a:lnTo>
                  <a:pt x="702" y="208"/>
                </a:lnTo>
                <a:lnTo>
                  <a:pt x="702" y="211"/>
                </a:lnTo>
                <a:lnTo>
                  <a:pt x="700" y="212"/>
                </a:lnTo>
                <a:lnTo>
                  <a:pt x="699" y="212"/>
                </a:lnTo>
                <a:lnTo>
                  <a:pt x="696" y="214"/>
                </a:lnTo>
                <a:lnTo>
                  <a:pt x="696" y="214"/>
                </a:lnTo>
                <a:lnTo>
                  <a:pt x="689" y="215"/>
                </a:lnTo>
                <a:lnTo>
                  <a:pt x="684" y="218"/>
                </a:lnTo>
                <a:lnTo>
                  <a:pt x="680" y="222"/>
                </a:lnTo>
                <a:lnTo>
                  <a:pt x="680" y="224"/>
                </a:lnTo>
                <a:lnTo>
                  <a:pt x="680" y="226"/>
                </a:lnTo>
                <a:lnTo>
                  <a:pt x="680" y="226"/>
                </a:lnTo>
                <a:lnTo>
                  <a:pt x="683" y="226"/>
                </a:lnTo>
                <a:lnTo>
                  <a:pt x="686" y="228"/>
                </a:lnTo>
                <a:lnTo>
                  <a:pt x="697" y="226"/>
                </a:lnTo>
                <a:lnTo>
                  <a:pt x="717" y="224"/>
                </a:lnTo>
                <a:lnTo>
                  <a:pt x="717" y="224"/>
                </a:lnTo>
                <a:lnTo>
                  <a:pt x="721" y="225"/>
                </a:lnTo>
                <a:lnTo>
                  <a:pt x="724" y="228"/>
                </a:lnTo>
                <a:lnTo>
                  <a:pt x="729" y="232"/>
                </a:lnTo>
                <a:lnTo>
                  <a:pt x="734" y="238"/>
                </a:lnTo>
                <a:lnTo>
                  <a:pt x="734" y="135"/>
                </a:lnTo>
                <a:lnTo>
                  <a:pt x="734" y="135"/>
                </a:lnTo>
                <a:lnTo>
                  <a:pt x="702" y="124"/>
                </a:lnTo>
                <a:lnTo>
                  <a:pt x="687" y="118"/>
                </a:lnTo>
                <a:lnTo>
                  <a:pt x="680" y="117"/>
                </a:lnTo>
                <a:lnTo>
                  <a:pt x="680" y="117"/>
                </a:lnTo>
                <a:close/>
                <a:moveTo>
                  <a:pt x="474" y="236"/>
                </a:moveTo>
                <a:lnTo>
                  <a:pt x="474" y="236"/>
                </a:lnTo>
                <a:lnTo>
                  <a:pt x="470" y="239"/>
                </a:lnTo>
                <a:lnTo>
                  <a:pt x="470" y="239"/>
                </a:lnTo>
                <a:lnTo>
                  <a:pt x="468" y="242"/>
                </a:lnTo>
                <a:lnTo>
                  <a:pt x="467" y="243"/>
                </a:lnTo>
                <a:lnTo>
                  <a:pt x="467" y="243"/>
                </a:lnTo>
                <a:lnTo>
                  <a:pt x="465" y="243"/>
                </a:lnTo>
                <a:lnTo>
                  <a:pt x="464" y="243"/>
                </a:lnTo>
                <a:lnTo>
                  <a:pt x="461" y="241"/>
                </a:lnTo>
                <a:lnTo>
                  <a:pt x="461" y="241"/>
                </a:lnTo>
                <a:lnTo>
                  <a:pt x="455" y="245"/>
                </a:lnTo>
                <a:lnTo>
                  <a:pt x="451" y="251"/>
                </a:lnTo>
                <a:lnTo>
                  <a:pt x="451" y="255"/>
                </a:lnTo>
                <a:lnTo>
                  <a:pt x="453" y="258"/>
                </a:lnTo>
                <a:lnTo>
                  <a:pt x="454" y="259"/>
                </a:lnTo>
                <a:lnTo>
                  <a:pt x="454" y="259"/>
                </a:lnTo>
                <a:lnTo>
                  <a:pt x="457" y="259"/>
                </a:lnTo>
                <a:lnTo>
                  <a:pt x="458" y="259"/>
                </a:lnTo>
                <a:lnTo>
                  <a:pt x="464" y="256"/>
                </a:lnTo>
                <a:lnTo>
                  <a:pt x="470" y="252"/>
                </a:lnTo>
                <a:lnTo>
                  <a:pt x="474" y="248"/>
                </a:lnTo>
                <a:lnTo>
                  <a:pt x="474" y="248"/>
                </a:lnTo>
                <a:lnTo>
                  <a:pt x="477" y="245"/>
                </a:lnTo>
                <a:lnTo>
                  <a:pt x="477" y="245"/>
                </a:lnTo>
                <a:lnTo>
                  <a:pt x="478" y="243"/>
                </a:lnTo>
                <a:lnTo>
                  <a:pt x="478" y="243"/>
                </a:lnTo>
                <a:lnTo>
                  <a:pt x="480" y="242"/>
                </a:lnTo>
                <a:lnTo>
                  <a:pt x="480" y="242"/>
                </a:lnTo>
                <a:lnTo>
                  <a:pt x="474" y="236"/>
                </a:lnTo>
                <a:lnTo>
                  <a:pt x="474" y="236"/>
                </a:lnTo>
                <a:close/>
                <a:moveTo>
                  <a:pt x="343" y="115"/>
                </a:moveTo>
                <a:lnTo>
                  <a:pt x="343" y="115"/>
                </a:lnTo>
                <a:lnTo>
                  <a:pt x="347" y="110"/>
                </a:lnTo>
                <a:lnTo>
                  <a:pt x="350" y="104"/>
                </a:lnTo>
                <a:lnTo>
                  <a:pt x="352" y="97"/>
                </a:lnTo>
                <a:lnTo>
                  <a:pt x="352" y="90"/>
                </a:lnTo>
                <a:lnTo>
                  <a:pt x="352" y="90"/>
                </a:lnTo>
                <a:lnTo>
                  <a:pt x="353" y="87"/>
                </a:lnTo>
                <a:lnTo>
                  <a:pt x="354" y="84"/>
                </a:lnTo>
                <a:lnTo>
                  <a:pt x="363" y="81"/>
                </a:lnTo>
                <a:lnTo>
                  <a:pt x="370" y="78"/>
                </a:lnTo>
                <a:lnTo>
                  <a:pt x="376" y="77"/>
                </a:lnTo>
                <a:lnTo>
                  <a:pt x="376" y="77"/>
                </a:lnTo>
                <a:lnTo>
                  <a:pt x="377" y="76"/>
                </a:lnTo>
                <a:lnTo>
                  <a:pt x="377" y="73"/>
                </a:lnTo>
                <a:lnTo>
                  <a:pt x="374" y="70"/>
                </a:lnTo>
                <a:lnTo>
                  <a:pt x="370" y="66"/>
                </a:lnTo>
                <a:lnTo>
                  <a:pt x="366" y="64"/>
                </a:lnTo>
                <a:lnTo>
                  <a:pt x="366" y="64"/>
                </a:lnTo>
                <a:lnTo>
                  <a:pt x="363" y="61"/>
                </a:lnTo>
                <a:lnTo>
                  <a:pt x="362" y="57"/>
                </a:lnTo>
                <a:lnTo>
                  <a:pt x="362" y="54"/>
                </a:lnTo>
                <a:lnTo>
                  <a:pt x="360" y="51"/>
                </a:lnTo>
                <a:lnTo>
                  <a:pt x="360" y="51"/>
                </a:lnTo>
                <a:lnTo>
                  <a:pt x="356" y="47"/>
                </a:lnTo>
                <a:lnTo>
                  <a:pt x="353" y="43"/>
                </a:lnTo>
                <a:lnTo>
                  <a:pt x="353" y="39"/>
                </a:lnTo>
                <a:lnTo>
                  <a:pt x="353" y="37"/>
                </a:lnTo>
                <a:lnTo>
                  <a:pt x="354" y="37"/>
                </a:lnTo>
                <a:lnTo>
                  <a:pt x="354" y="37"/>
                </a:lnTo>
                <a:lnTo>
                  <a:pt x="356" y="36"/>
                </a:lnTo>
                <a:lnTo>
                  <a:pt x="357" y="34"/>
                </a:lnTo>
                <a:lnTo>
                  <a:pt x="356" y="31"/>
                </a:lnTo>
                <a:lnTo>
                  <a:pt x="354" y="27"/>
                </a:lnTo>
                <a:lnTo>
                  <a:pt x="354" y="26"/>
                </a:lnTo>
                <a:lnTo>
                  <a:pt x="356" y="24"/>
                </a:lnTo>
                <a:lnTo>
                  <a:pt x="356" y="24"/>
                </a:lnTo>
                <a:lnTo>
                  <a:pt x="359" y="23"/>
                </a:lnTo>
                <a:lnTo>
                  <a:pt x="359" y="23"/>
                </a:lnTo>
                <a:lnTo>
                  <a:pt x="350" y="22"/>
                </a:lnTo>
                <a:lnTo>
                  <a:pt x="350" y="22"/>
                </a:lnTo>
                <a:lnTo>
                  <a:pt x="343" y="22"/>
                </a:lnTo>
                <a:lnTo>
                  <a:pt x="335" y="22"/>
                </a:lnTo>
                <a:lnTo>
                  <a:pt x="332" y="23"/>
                </a:lnTo>
                <a:lnTo>
                  <a:pt x="329" y="24"/>
                </a:lnTo>
                <a:lnTo>
                  <a:pt x="326" y="27"/>
                </a:lnTo>
                <a:lnTo>
                  <a:pt x="326" y="31"/>
                </a:lnTo>
                <a:lnTo>
                  <a:pt x="326" y="31"/>
                </a:lnTo>
                <a:lnTo>
                  <a:pt x="326" y="36"/>
                </a:lnTo>
                <a:lnTo>
                  <a:pt x="325" y="37"/>
                </a:lnTo>
                <a:lnTo>
                  <a:pt x="322" y="40"/>
                </a:lnTo>
                <a:lnTo>
                  <a:pt x="317" y="43"/>
                </a:lnTo>
                <a:lnTo>
                  <a:pt x="316" y="44"/>
                </a:lnTo>
                <a:lnTo>
                  <a:pt x="316" y="46"/>
                </a:lnTo>
                <a:lnTo>
                  <a:pt x="316" y="46"/>
                </a:lnTo>
                <a:lnTo>
                  <a:pt x="316" y="50"/>
                </a:lnTo>
                <a:lnTo>
                  <a:pt x="315" y="53"/>
                </a:lnTo>
                <a:lnTo>
                  <a:pt x="312" y="56"/>
                </a:lnTo>
                <a:lnTo>
                  <a:pt x="312" y="61"/>
                </a:lnTo>
                <a:lnTo>
                  <a:pt x="312" y="61"/>
                </a:lnTo>
                <a:lnTo>
                  <a:pt x="312" y="66"/>
                </a:lnTo>
                <a:lnTo>
                  <a:pt x="309" y="67"/>
                </a:lnTo>
                <a:lnTo>
                  <a:pt x="303" y="68"/>
                </a:lnTo>
                <a:lnTo>
                  <a:pt x="298" y="70"/>
                </a:lnTo>
                <a:lnTo>
                  <a:pt x="298" y="70"/>
                </a:lnTo>
                <a:lnTo>
                  <a:pt x="292" y="71"/>
                </a:lnTo>
                <a:lnTo>
                  <a:pt x="290" y="71"/>
                </a:lnTo>
                <a:lnTo>
                  <a:pt x="288" y="68"/>
                </a:lnTo>
                <a:lnTo>
                  <a:pt x="282" y="67"/>
                </a:lnTo>
                <a:lnTo>
                  <a:pt x="282" y="67"/>
                </a:lnTo>
                <a:lnTo>
                  <a:pt x="276" y="68"/>
                </a:lnTo>
                <a:lnTo>
                  <a:pt x="273" y="70"/>
                </a:lnTo>
                <a:lnTo>
                  <a:pt x="269" y="73"/>
                </a:lnTo>
                <a:lnTo>
                  <a:pt x="266" y="74"/>
                </a:lnTo>
                <a:lnTo>
                  <a:pt x="266" y="74"/>
                </a:lnTo>
                <a:lnTo>
                  <a:pt x="261" y="74"/>
                </a:lnTo>
                <a:lnTo>
                  <a:pt x="255" y="74"/>
                </a:lnTo>
                <a:lnTo>
                  <a:pt x="249" y="74"/>
                </a:lnTo>
                <a:lnTo>
                  <a:pt x="245" y="76"/>
                </a:lnTo>
                <a:lnTo>
                  <a:pt x="245" y="76"/>
                </a:lnTo>
                <a:lnTo>
                  <a:pt x="243" y="77"/>
                </a:lnTo>
                <a:lnTo>
                  <a:pt x="242" y="76"/>
                </a:lnTo>
                <a:lnTo>
                  <a:pt x="239" y="74"/>
                </a:lnTo>
                <a:lnTo>
                  <a:pt x="235" y="71"/>
                </a:lnTo>
                <a:lnTo>
                  <a:pt x="232" y="70"/>
                </a:lnTo>
                <a:lnTo>
                  <a:pt x="232" y="70"/>
                </a:lnTo>
                <a:lnTo>
                  <a:pt x="231" y="68"/>
                </a:lnTo>
                <a:lnTo>
                  <a:pt x="229" y="66"/>
                </a:lnTo>
                <a:lnTo>
                  <a:pt x="226" y="59"/>
                </a:lnTo>
                <a:lnTo>
                  <a:pt x="226" y="59"/>
                </a:lnTo>
                <a:lnTo>
                  <a:pt x="225" y="59"/>
                </a:lnTo>
                <a:lnTo>
                  <a:pt x="225" y="59"/>
                </a:lnTo>
                <a:lnTo>
                  <a:pt x="222" y="60"/>
                </a:lnTo>
                <a:lnTo>
                  <a:pt x="221" y="61"/>
                </a:lnTo>
                <a:lnTo>
                  <a:pt x="215" y="68"/>
                </a:lnTo>
                <a:lnTo>
                  <a:pt x="214" y="76"/>
                </a:lnTo>
                <a:lnTo>
                  <a:pt x="214" y="78"/>
                </a:lnTo>
                <a:lnTo>
                  <a:pt x="215" y="81"/>
                </a:lnTo>
                <a:lnTo>
                  <a:pt x="215" y="81"/>
                </a:lnTo>
                <a:lnTo>
                  <a:pt x="219" y="87"/>
                </a:lnTo>
                <a:lnTo>
                  <a:pt x="221" y="93"/>
                </a:lnTo>
                <a:lnTo>
                  <a:pt x="222" y="98"/>
                </a:lnTo>
                <a:lnTo>
                  <a:pt x="224" y="104"/>
                </a:lnTo>
                <a:lnTo>
                  <a:pt x="224" y="104"/>
                </a:lnTo>
                <a:lnTo>
                  <a:pt x="226" y="107"/>
                </a:lnTo>
                <a:lnTo>
                  <a:pt x="232" y="110"/>
                </a:lnTo>
                <a:lnTo>
                  <a:pt x="235" y="114"/>
                </a:lnTo>
                <a:lnTo>
                  <a:pt x="236" y="117"/>
                </a:lnTo>
                <a:lnTo>
                  <a:pt x="238" y="120"/>
                </a:lnTo>
                <a:lnTo>
                  <a:pt x="238" y="120"/>
                </a:lnTo>
                <a:lnTo>
                  <a:pt x="239" y="128"/>
                </a:lnTo>
                <a:lnTo>
                  <a:pt x="242" y="135"/>
                </a:lnTo>
                <a:lnTo>
                  <a:pt x="248" y="141"/>
                </a:lnTo>
                <a:lnTo>
                  <a:pt x="249" y="141"/>
                </a:lnTo>
                <a:lnTo>
                  <a:pt x="252" y="141"/>
                </a:lnTo>
                <a:lnTo>
                  <a:pt x="252" y="141"/>
                </a:lnTo>
                <a:lnTo>
                  <a:pt x="256" y="140"/>
                </a:lnTo>
                <a:lnTo>
                  <a:pt x="261" y="141"/>
                </a:lnTo>
                <a:lnTo>
                  <a:pt x="263" y="144"/>
                </a:lnTo>
                <a:lnTo>
                  <a:pt x="265" y="147"/>
                </a:lnTo>
                <a:lnTo>
                  <a:pt x="265" y="147"/>
                </a:lnTo>
                <a:lnTo>
                  <a:pt x="266" y="148"/>
                </a:lnTo>
                <a:lnTo>
                  <a:pt x="269" y="148"/>
                </a:lnTo>
                <a:lnTo>
                  <a:pt x="275" y="147"/>
                </a:lnTo>
                <a:lnTo>
                  <a:pt x="282" y="145"/>
                </a:lnTo>
                <a:lnTo>
                  <a:pt x="286" y="145"/>
                </a:lnTo>
                <a:lnTo>
                  <a:pt x="286" y="145"/>
                </a:lnTo>
                <a:lnTo>
                  <a:pt x="298" y="148"/>
                </a:lnTo>
                <a:lnTo>
                  <a:pt x="303" y="151"/>
                </a:lnTo>
                <a:lnTo>
                  <a:pt x="306" y="152"/>
                </a:lnTo>
                <a:lnTo>
                  <a:pt x="307" y="154"/>
                </a:lnTo>
                <a:lnTo>
                  <a:pt x="307" y="154"/>
                </a:lnTo>
                <a:lnTo>
                  <a:pt x="307" y="155"/>
                </a:lnTo>
                <a:lnTo>
                  <a:pt x="309" y="157"/>
                </a:lnTo>
                <a:lnTo>
                  <a:pt x="316" y="155"/>
                </a:lnTo>
                <a:lnTo>
                  <a:pt x="330" y="151"/>
                </a:lnTo>
                <a:lnTo>
                  <a:pt x="330" y="151"/>
                </a:lnTo>
                <a:lnTo>
                  <a:pt x="333" y="148"/>
                </a:lnTo>
                <a:lnTo>
                  <a:pt x="335" y="144"/>
                </a:lnTo>
                <a:lnTo>
                  <a:pt x="336" y="134"/>
                </a:lnTo>
                <a:lnTo>
                  <a:pt x="339" y="123"/>
                </a:lnTo>
                <a:lnTo>
                  <a:pt x="340" y="118"/>
                </a:lnTo>
                <a:lnTo>
                  <a:pt x="343" y="115"/>
                </a:lnTo>
                <a:lnTo>
                  <a:pt x="343" y="115"/>
                </a:lnTo>
                <a:close/>
                <a:moveTo>
                  <a:pt x="379" y="248"/>
                </a:moveTo>
                <a:lnTo>
                  <a:pt x="379" y="248"/>
                </a:lnTo>
                <a:lnTo>
                  <a:pt x="381" y="251"/>
                </a:lnTo>
                <a:lnTo>
                  <a:pt x="384" y="252"/>
                </a:lnTo>
                <a:lnTo>
                  <a:pt x="389" y="253"/>
                </a:lnTo>
                <a:lnTo>
                  <a:pt x="393" y="255"/>
                </a:lnTo>
                <a:lnTo>
                  <a:pt x="393" y="255"/>
                </a:lnTo>
                <a:lnTo>
                  <a:pt x="396" y="258"/>
                </a:lnTo>
                <a:lnTo>
                  <a:pt x="401" y="259"/>
                </a:lnTo>
                <a:lnTo>
                  <a:pt x="406" y="259"/>
                </a:lnTo>
                <a:lnTo>
                  <a:pt x="407" y="258"/>
                </a:lnTo>
                <a:lnTo>
                  <a:pt x="407" y="256"/>
                </a:lnTo>
                <a:lnTo>
                  <a:pt x="407" y="256"/>
                </a:lnTo>
                <a:lnTo>
                  <a:pt x="406" y="253"/>
                </a:lnTo>
                <a:lnTo>
                  <a:pt x="403" y="251"/>
                </a:lnTo>
                <a:lnTo>
                  <a:pt x="391" y="246"/>
                </a:lnTo>
                <a:lnTo>
                  <a:pt x="381" y="246"/>
                </a:lnTo>
                <a:lnTo>
                  <a:pt x="379" y="246"/>
                </a:lnTo>
                <a:lnTo>
                  <a:pt x="379" y="248"/>
                </a:lnTo>
                <a:lnTo>
                  <a:pt x="379" y="248"/>
                </a:lnTo>
                <a:close/>
                <a:moveTo>
                  <a:pt x="354" y="225"/>
                </a:moveTo>
                <a:lnTo>
                  <a:pt x="354" y="225"/>
                </a:lnTo>
                <a:lnTo>
                  <a:pt x="352" y="226"/>
                </a:lnTo>
                <a:lnTo>
                  <a:pt x="347" y="228"/>
                </a:lnTo>
                <a:lnTo>
                  <a:pt x="343" y="228"/>
                </a:lnTo>
                <a:lnTo>
                  <a:pt x="340" y="226"/>
                </a:lnTo>
                <a:lnTo>
                  <a:pt x="340" y="226"/>
                </a:lnTo>
                <a:lnTo>
                  <a:pt x="337" y="225"/>
                </a:lnTo>
                <a:lnTo>
                  <a:pt x="336" y="225"/>
                </a:lnTo>
                <a:lnTo>
                  <a:pt x="333" y="228"/>
                </a:lnTo>
                <a:lnTo>
                  <a:pt x="332" y="231"/>
                </a:lnTo>
                <a:lnTo>
                  <a:pt x="332" y="235"/>
                </a:lnTo>
                <a:lnTo>
                  <a:pt x="332" y="235"/>
                </a:lnTo>
                <a:lnTo>
                  <a:pt x="335" y="236"/>
                </a:lnTo>
                <a:lnTo>
                  <a:pt x="340" y="239"/>
                </a:lnTo>
                <a:lnTo>
                  <a:pt x="347" y="241"/>
                </a:lnTo>
                <a:lnTo>
                  <a:pt x="350" y="241"/>
                </a:lnTo>
                <a:lnTo>
                  <a:pt x="356" y="239"/>
                </a:lnTo>
                <a:lnTo>
                  <a:pt x="356" y="239"/>
                </a:lnTo>
                <a:lnTo>
                  <a:pt x="363" y="236"/>
                </a:lnTo>
                <a:lnTo>
                  <a:pt x="370" y="235"/>
                </a:lnTo>
                <a:lnTo>
                  <a:pt x="374" y="235"/>
                </a:lnTo>
                <a:lnTo>
                  <a:pt x="377" y="233"/>
                </a:lnTo>
                <a:lnTo>
                  <a:pt x="379" y="232"/>
                </a:lnTo>
                <a:lnTo>
                  <a:pt x="379" y="232"/>
                </a:lnTo>
                <a:lnTo>
                  <a:pt x="377" y="229"/>
                </a:lnTo>
                <a:lnTo>
                  <a:pt x="376" y="228"/>
                </a:lnTo>
                <a:lnTo>
                  <a:pt x="367" y="225"/>
                </a:lnTo>
                <a:lnTo>
                  <a:pt x="359" y="224"/>
                </a:lnTo>
                <a:lnTo>
                  <a:pt x="356" y="224"/>
                </a:lnTo>
                <a:lnTo>
                  <a:pt x="354" y="225"/>
                </a:lnTo>
                <a:lnTo>
                  <a:pt x="354" y="225"/>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68" name="Freeform 357">
            <a:extLst>
              <a:ext uri="{FF2B5EF4-FFF2-40B4-BE49-F238E27FC236}">
                <a16:creationId xmlns:a16="http://schemas.microsoft.com/office/drawing/2014/main" id="{C58731E5-CA9E-98D7-503A-B040476F955D}"/>
              </a:ext>
            </a:extLst>
          </p:cNvPr>
          <p:cNvSpPr>
            <a:spLocks noEditPoints="1"/>
          </p:cNvSpPr>
          <p:nvPr userDrawn="1"/>
        </p:nvSpPr>
        <p:spPr bwMode="gray">
          <a:xfrm>
            <a:off x="6916816" y="3525420"/>
            <a:ext cx="68928" cy="23409"/>
          </a:xfrm>
          <a:custGeom>
            <a:avLst/>
            <a:gdLst/>
            <a:ahLst/>
            <a:cxnLst>
              <a:cxn ang="0">
                <a:pos x="6" y="14"/>
              </a:cxn>
              <a:cxn ang="0">
                <a:pos x="6" y="14"/>
              </a:cxn>
              <a:cxn ang="0">
                <a:pos x="0" y="16"/>
              </a:cxn>
              <a:cxn ang="0">
                <a:pos x="0" y="16"/>
              </a:cxn>
              <a:cxn ang="0">
                <a:pos x="3" y="18"/>
              </a:cxn>
              <a:cxn ang="0">
                <a:pos x="4" y="18"/>
              </a:cxn>
              <a:cxn ang="0">
                <a:pos x="6" y="18"/>
              </a:cxn>
              <a:cxn ang="0">
                <a:pos x="6" y="18"/>
              </a:cxn>
              <a:cxn ang="0">
                <a:pos x="7" y="17"/>
              </a:cxn>
              <a:cxn ang="0">
                <a:pos x="9" y="14"/>
              </a:cxn>
              <a:cxn ang="0">
                <a:pos x="9" y="14"/>
              </a:cxn>
              <a:cxn ang="0">
                <a:pos x="6" y="14"/>
              </a:cxn>
              <a:cxn ang="0">
                <a:pos x="6" y="14"/>
              </a:cxn>
              <a:cxn ang="0">
                <a:pos x="6" y="14"/>
              </a:cxn>
              <a:cxn ang="0">
                <a:pos x="6" y="14"/>
              </a:cxn>
              <a:cxn ang="0">
                <a:pos x="29" y="3"/>
              </a:cxn>
              <a:cxn ang="0">
                <a:pos x="29" y="3"/>
              </a:cxn>
              <a:cxn ang="0">
                <a:pos x="24" y="3"/>
              </a:cxn>
              <a:cxn ang="0">
                <a:pos x="21" y="6"/>
              </a:cxn>
              <a:cxn ang="0">
                <a:pos x="14" y="11"/>
              </a:cxn>
              <a:cxn ang="0">
                <a:pos x="14" y="11"/>
              </a:cxn>
              <a:cxn ang="0">
                <a:pos x="13" y="11"/>
              </a:cxn>
              <a:cxn ang="0">
                <a:pos x="13" y="11"/>
              </a:cxn>
              <a:cxn ang="0">
                <a:pos x="19" y="17"/>
              </a:cxn>
              <a:cxn ang="0">
                <a:pos x="19" y="17"/>
              </a:cxn>
              <a:cxn ang="0">
                <a:pos x="27" y="13"/>
              </a:cxn>
              <a:cxn ang="0">
                <a:pos x="39" y="8"/>
              </a:cxn>
              <a:cxn ang="0">
                <a:pos x="47" y="4"/>
              </a:cxn>
              <a:cxn ang="0">
                <a:pos x="53" y="1"/>
              </a:cxn>
              <a:cxn ang="0">
                <a:pos x="53" y="1"/>
              </a:cxn>
              <a:cxn ang="0">
                <a:pos x="51" y="1"/>
              </a:cxn>
              <a:cxn ang="0">
                <a:pos x="50" y="0"/>
              </a:cxn>
              <a:cxn ang="0">
                <a:pos x="44" y="1"/>
              </a:cxn>
              <a:cxn ang="0">
                <a:pos x="36" y="1"/>
              </a:cxn>
              <a:cxn ang="0">
                <a:pos x="29" y="3"/>
              </a:cxn>
              <a:cxn ang="0">
                <a:pos x="29" y="3"/>
              </a:cxn>
            </a:cxnLst>
            <a:rect l="0" t="0" r="r" b="b"/>
            <a:pathLst>
              <a:path w="53" h="18">
                <a:moveTo>
                  <a:pt x="6" y="14"/>
                </a:moveTo>
                <a:lnTo>
                  <a:pt x="6" y="14"/>
                </a:lnTo>
                <a:lnTo>
                  <a:pt x="0" y="16"/>
                </a:lnTo>
                <a:lnTo>
                  <a:pt x="0" y="16"/>
                </a:lnTo>
                <a:lnTo>
                  <a:pt x="3" y="18"/>
                </a:lnTo>
                <a:lnTo>
                  <a:pt x="4" y="18"/>
                </a:lnTo>
                <a:lnTo>
                  <a:pt x="6" y="18"/>
                </a:lnTo>
                <a:lnTo>
                  <a:pt x="6" y="18"/>
                </a:lnTo>
                <a:lnTo>
                  <a:pt x="7" y="17"/>
                </a:lnTo>
                <a:lnTo>
                  <a:pt x="9" y="14"/>
                </a:lnTo>
                <a:lnTo>
                  <a:pt x="9" y="14"/>
                </a:lnTo>
                <a:lnTo>
                  <a:pt x="6" y="14"/>
                </a:lnTo>
                <a:lnTo>
                  <a:pt x="6" y="14"/>
                </a:lnTo>
                <a:lnTo>
                  <a:pt x="6" y="14"/>
                </a:lnTo>
                <a:lnTo>
                  <a:pt x="6" y="14"/>
                </a:lnTo>
                <a:close/>
                <a:moveTo>
                  <a:pt x="29" y="3"/>
                </a:moveTo>
                <a:lnTo>
                  <a:pt x="29" y="3"/>
                </a:lnTo>
                <a:lnTo>
                  <a:pt x="24" y="3"/>
                </a:lnTo>
                <a:lnTo>
                  <a:pt x="21" y="6"/>
                </a:lnTo>
                <a:lnTo>
                  <a:pt x="14" y="11"/>
                </a:lnTo>
                <a:lnTo>
                  <a:pt x="14" y="11"/>
                </a:lnTo>
                <a:lnTo>
                  <a:pt x="13" y="11"/>
                </a:lnTo>
                <a:lnTo>
                  <a:pt x="13" y="11"/>
                </a:lnTo>
                <a:lnTo>
                  <a:pt x="19" y="17"/>
                </a:lnTo>
                <a:lnTo>
                  <a:pt x="19" y="17"/>
                </a:lnTo>
                <a:lnTo>
                  <a:pt x="27" y="13"/>
                </a:lnTo>
                <a:lnTo>
                  <a:pt x="39" y="8"/>
                </a:lnTo>
                <a:lnTo>
                  <a:pt x="47" y="4"/>
                </a:lnTo>
                <a:lnTo>
                  <a:pt x="53" y="1"/>
                </a:lnTo>
                <a:lnTo>
                  <a:pt x="53" y="1"/>
                </a:lnTo>
                <a:lnTo>
                  <a:pt x="51" y="1"/>
                </a:lnTo>
                <a:lnTo>
                  <a:pt x="50" y="0"/>
                </a:lnTo>
                <a:lnTo>
                  <a:pt x="44" y="1"/>
                </a:lnTo>
                <a:lnTo>
                  <a:pt x="36" y="1"/>
                </a:lnTo>
                <a:lnTo>
                  <a:pt x="29" y="3"/>
                </a:lnTo>
                <a:lnTo>
                  <a:pt x="29" y="3"/>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69" name="Freeform 358">
            <a:extLst>
              <a:ext uri="{FF2B5EF4-FFF2-40B4-BE49-F238E27FC236}">
                <a16:creationId xmlns:a16="http://schemas.microsoft.com/office/drawing/2014/main" id="{AF57B36E-1139-D1F8-5CA2-4F4FBFA9219D}"/>
              </a:ext>
            </a:extLst>
          </p:cNvPr>
          <p:cNvSpPr>
            <a:spLocks noEditPoints="1"/>
          </p:cNvSpPr>
          <p:nvPr userDrawn="1"/>
        </p:nvSpPr>
        <p:spPr bwMode="gray">
          <a:xfrm>
            <a:off x="4495269" y="2276931"/>
            <a:ext cx="236692" cy="262703"/>
          </a:xfrm>
          <a:custGeom>
            <a:avLst/>
            <a:gdLst/>
            <a:ahLst/>
            <a:cxnLst>
              <a:cxn ang="0">
                <a:pos x="107" y="175"/>
              </a:cxn>
              <a:cxn ang="0">
                <a:pos x="94" y="180"/>
              </a:cxn>
              <a:cxn ang="0">
                <a:pos x="110" y="190"/>
              </a:cxn>
              <a:cxn ang="0">
                <a:pos x="128" y="202"/>
              </a:cxn>
              <a:cxn ang="0">
                <a:pos x="132" y="190"/>
              </a:cxn>
              <a:cxn ang="0">
                <a:pos x="139" y="175"/>
              </a:cxn>
              <a:cxn ang="0">
                <a:pos x="127" y="175"/>
              </a:cxn>
              <a:cxn ang="0">
                <a:pos x="26" y="122"/>
              </a:cxn>
              <a:cxn ang="0">
                <a:pos x="26" y="132"/>
              </a:cxn>
              <a:cxn ang="0">
                <a:pos x="28" y="151"/>
              </a:cxn>
              <a:cxn ang="0">
                <a:pos x="36" y="159"/>
              </a:cxn>
              <a:cxn ang="0">
                <a:pos x="47" y="152"/>
              </a:cxn>
              <a:cxn ang="0">
                <a:pos x="50" y="126"/>
              </a:cxn>
              <a:cxn ang="0">
                <a:pos x="34" y="121"/>
              </a:cxn>
              <a:cxn ang="0">
                <a:pos x="146" y="106"/>
              </a:cxn>
              <a:cxn ang="0">
                <a:pos x="131" y="102"/>
              </a:cxn>
              <a:cxn ang="0">
                <a:pos x="112" y="74"/>
              </a:cxn>
              <a:cxn ang="0">
                <a:pos x="91" y="55"/>
              </a:cxn>
              <a:cxn ang="0">
                <a:pos x="92" y="38"/>
              </a:cxn>
              <a:cxn ang="0">
                <a:pos x="98" y="30"/>
              </a:cxn>
              <a:cxn ang="0">
                <a:pos x="91" y="7"/>
              </a:cxn>
              <a:cxn ang="0">
                <a:pos x="78" y="1"/>
              </a:cxn>
              <a:cxn ang="0">
                <a:pos x="65" y="5"/>
              </a:cxn>
              <a:cxn ang="0">
                <a:pos x="60" y="8"/>
              </a:cxn>
              <a:cxn ang="0">
                <a:pos x="54" y="11"/>
              </a:cxn>
              <a:cxn ang="0">
                <a:pos x="45" y="14"/>
              </a:cxn>
              <a:cxn ang="0">
                <a:pos x="40" y="18"/>
              </a:cxn>
              <a:cxn ang="0">
                <a:pos x="30" y="17"/>
              </a:cxn>
              <a:cxn ang="0">
                <a:pos x="21" y="22"/>
              </a:cxn>
              <a:cxn ang="0">
                <a:pos x="4" y="30"/>
              </a:cxn>
              <a:cxn ang="0">
                <a:pos x="4" y="38"/>
              </a:cxn>
              <a:cxn ang="0">
                <a:pos x="0" y="42"/>
              </a:cxn>
              <a:cxn ang="0">
                <a:pos x="4" y="54"/>
              </a:cxn>
              <a:cxn ang="0">
                <a:pos x="14" y="59"/>
              </a:cxn>
              <a:cxn ang="0">
                <a:pos x="14" y="67"/>
              </a:cxn>
              <a:cxn ang="0">
                <a:pos x="28" y="57"/>
              </a:cxn>
              <a:cxn ang="0">
                <a:pos x="53" y="61"/>
              </a:cxn>
              <a:cxn ang="0">
                <a:pos x="61" y="74"/>
              </a:cxn>
              <a:cxn ang="0">
                <a:pos x="75" y="94"/>
              </a:cxn>
              <a:cxn ang="0">
                <a:pos x="98" y="112"/>
              </a:cxn>
              <a:cxn ang="0">
                <a:pos x="119" y="123"/>
              </a:cxn>
              <a:cxn ang="0">
                <a:pos x="135" y="136"/>
              </a:cxn>
              <a:cxn ang="0">
                <a:pos x="142" y="143"/>
              </a:cxn>
              <a:cxn ang="0">
                <a:pos x="146" y="160"/>
              </a:cxn>
              <a:cxn ang="0">
                <a:pos x="144" y="176"/>
              </a:cxn>
              <a:cxn ang="0">
                <a:pos x="154" y="163"/>
              </a:cxn>
              <a:cxn ang="0">
                <a:pos x="162" y="155"/>
              </a:cxn>
              <a:cxn ang="0">
                <a:pos x="158" y="146"/>
              </a:cxn>
              <a:cxn ang="0">
                <a:pos x="159" y="133"/>
              </a:cxn>
              <a:cxn ang="0">
                <a:pos x="179" y="141"/>
              </a:cxn>
              <a:cxn ang="0">
                <a:pos x="179" y="129"/>
              </a:cxn>
            </a:cxnLst>
            <a:rect l="0" t="0" r="r" b="b"/>
            <a:pathLst>
              <a:path w="182" h="202">
                <a:moveTo>
                  <a:pt x="127" y="175"/>
                </a:moveTo>
                <a:lnTo>
                  <a:pt x="127" y="175"/>
                </a:lnTo>
                <a:lnTo>
                  <a:pt x="115" y="176"/>
                </a:lnTo>
                <a:lnTo>
                  <a:pt x="111" y="176"/>
                </a:lnTo>
                <a:lnTo>
                  <a:pt x="107" y="175"/>
                </a:lnTo>
                <a:lnTo>
                  <a:pt x="107" y="175"/>
                </a:lnTo>
                <a:lnTo>
                  <a:pt x="102" y="173"/>
                </a:lnTo>
                <a:lnTo>
                  <a:pt x="98" y="175"/>
                </a:lnTo>
                <a:lnTo>
                  <a:pt x="94" y="178"/>
                </a:lnTo>
                <a:lnTo>
                  <a:pt x="94" y="180"/>
                </a:lnTo>
                <a:lnTo>
                  <a:pt x="94" y="180"/>
                </a:lnTo>
                <a:lnTo>
                  <a:pt x="95" y="183"/>
                </a:lnTo>
                <a:lnTo>
                  <a:pt x="98" y="185"/>
                </a:lnTo>
                <a:lnTo>
                  <a:pt x="102" y="188"/>
                </a:lnTo>
                <a:lnTo>
                  <a:pt x="110" y="190"/>
                </a:lnTo>
                <a:lnTo>
                  <a:pt x="110" y="190"/>
                </a:lnTo>
                <a:lnTo>
                  <a:pt x="117" y="193"/>
                </a:lnTo>
                <a:lnTo>
                  <a:pt x="122" y="196"/>
                </a:lnTo>
                <a:lnTo>
                  <a:pt x="125" y="200"/>
                </a:lnTo>
                <a:lnTo>
                  <a:pt x="128" y="202"/>
                </a:lnTo>
                <a:lnTo>
                  <a:pt x="128" y="202"/>
                </a:lnTo>
                <a:lnTo>
                  <a:pt x="131" y="200"/>
                </a:lnTo>
                <a:lnTo>
                  <a:pt x="132" y="197"/>
                </a:lnTo>
                <a:lnTo>
                  <a:pt x="134" y="195"/>
                </a:lnTo>
                <a:lnTo>
                  <a:pt x="132" y="190"/>
                </a:lnTo>
                <a:lnTo>
                  <a:pt x="132" y="190"/>
                </a:lnTo>
                <a:lnTo>
                  <a:pt x="132" y="185"/>
                </a:lnTo>
                <a:lnTo>
                  <a:pt x="135" y="180"/>
                </a:lnTo>
                <a:lnTo>
                  <a:pt x="139" y="175"/>
                </a:lnTo>
                <a:lnTo>
                  <a:pt x="139" y="175"/>
                </a:lnTo>
                <a:lnTo>
                  <a:pt x="139" y="175"/>
                </a:lnTo>
                <a:lnTo>
                  <a:pt x="137" y="173"/>
                </a:lnTo>
                <a:lnTo>
                  <a:pt x="132" y="173"/>
                </a:lnTo>
                <a:lnTo>
                  <a:pt x="127" y="175"/>
                </a:lnTo>
                <a:lnTo>
                  <a:pt x="127" y="175"/>
                </a:lnTo>
                <a:close/>
                <a:moveTo>
                  <a:pt x="34" y="121"/>
                </a:moveTo>
                <a:lnTo>
                  <a:pt x="34" y="121"/>
                </a:lnTo>
                <a:lnTo>
                  <a:pt x="31" y="122"/>
                </a:lnTo>
                <a:lnTo>
                  <a:pt x="27" y="122"/>
                </a:lnTo>
                <a:lnTo>
                  <a:pt x="26" y="122"/>
                </a:lnTo>
                <a:lnTo>
                  <a:pt x="23" y="123"/>
                </a:lnTo>
                <a:lnTo>
                  <a:pt x="23" y="123"/>
                </a:lnTo>
                <a:lnTo>
                  <a:pt x="23" y="125"/>
                </a:lnTo>
                <a:lnTo>
                  <a:pt x="23" y="128"/>
                </a:lnTo>
                <a:lnTo>
                  <a:pt x="26" y="132"/>
                </a:lnTo>
                <a:lnTo>
                  <a:pt x="28" y="138"/>
                </a:lnTo>
                <a:lnTo>
                  <a:pt x="30" y="141"/>
                </a:lnTo>
                <a:lnTo>
                  <a:pt x="28" y="143"/>
                </a:lnTo>
                <a:lnTo>
                  <a:pt x="28" y="143"/>
                </a:lnTo>
                <a:lnTo>
                  <a:pt x="28" y="151"/>
                </a:lnTo>
                <a:lnTo>
                  <a:pt x="30" y="158"/>
                </a:lnTo>
                <a:lnTo>
                  <a:pt x="31" y="160"/>
                </a:lnTo>
                <a:lnTo>
                  <a:pt x="34" y="160"/>
                </a:lnTo>
                <a:lnTo>
                  <a:pt x="36" y="159"/>
                </a:lnTo>
                <a:lnTo>
                  <a:pt x="36" y="159"/>
                </a:lnTo>
                <a:lnTo>
                  <a:pt x="40" y="156"/>
                </a:lnTo>
                <a:lnTo>
                  <a:pt x="43" y="155"/>
                </a:lnTo>
                <a:lnTo>
                  <a:pt x="44" y="155"/>
                </a:lnTo>
                <a:lnTo>
                  <a:pt x="47" y="152"/>
                </a:lnTo>
                <a:lnTo>
                  <a:pt x="47" y="152"/>
                </a:lnTo>
                <a:lnTo>
                  <a:pt x="48" y="148"/>
                </a:lnTo>
                <a:lnTo>
                  <a:pt x="48" y="141"/>
                </a:lnTo>
                <a:lnTo>
                  <a:pt x="48" y="133"/>
                </a:lnTo>
                <a:lnTo>
                  <a:pt x="50" y="126"/>
                </a:lnTo>
                <a:lnTo>
                  <a:pt x="50" y="126"/>
                </a:lnTo>
                <a:lnTo>
                  <a:pt x="50" y="123"/>
                </a:lnTo>
                <a:lnTo>
                  <a:pt x="48" y="122"/>
                </a:lnTo>
                <a:lnTo>
                  <a:pt x="44" y="119"/>
                </a:lnTo>
                <a:lnTo>
                  <a:pt x="40" y="119"/>
                </a:lnTo>
                <a:lnTo>
                  <a:pt x="34" y="121"/>
                </a:lnTo>
                <a:lnTo>
                  <a:pt x="34" y="121"/>
                </a:lnTo>
                <a:close/>
                <a:moveTo>
                  <a:pt x="151" y="114"/>
                </a:moveTo>
                <a:lnTo>
                  <a:pt x="151" y="114"/>
                </a:lnTo>
                <a:lnTo>
                  <a:pt x="148" y="109"/>
                </a:lnTo>
                <a:lnTo>
                  <a:pt x="146" y="106"/>
                </a:lnTo>
                <a:lnTo>
                  <a:pt x="144" y="104"/>
                </a:lnTo>
                <a:lnTo>
                  <a:pt x="139" y="104"/>
                </a:lnTo>
                <a:lnTo>
                  <a:pt x="139" y="104"/>
                </a:lnTo>
                <a:lnTo>
                  <a:pt x="135" y="104"/>
                </a:lnTo>
                <a:lnTo>
                  <a:pt x="131" y="102"/>
                </a:lnTo>
                <a:lnTo>
                  <a:pt x="124" y="96"/>
                </a:lnTo>
                <a:lnTo>
                  <a:pt x="118" y="88"/>
                </a:lnTo>
                <a:lnTo>
                  <a:pt x="114" y="78"/>
                </a:lnTo>
                <a:lnTo>
                  <a:pt x="114" y="78"/>
                </a:lnTo>
                <a:lnTo>
                  <a:pt x="112" y="74"/>
                </a:lnTo>
                <a:lnTo>
                  <a:pt x="110" y="69"/>
                </a:lnTo>
                <a:lnTo>
                  <a:pt x="102" y="64"/>
                </a:lnTo>
                <a:lnTo>
                  <a:pt x="97" y="59"/>
                </a:lnTo>
                <a:lnTo>
                  <a:pt x="94" y="58"/>
                </a:lnTo>
                <a:lnTo>
                  <a:pt x="91" y="55"/>
                </a:lnTo>
                <a:lnTo>
                  <a:pt x="91" y="55"/>
                </a:lnTo>
                <a:lnTo>
                  <a:pt x="91" y="50"/>
                </a:lnTo>
                <a:lnTo>
                  <a:pt x="91" y="47"/>
                </a:lnTo>
                <a:lnTo>
                  <a:pt x="92" y="42"/>
                </a:lnTo>
                <a:lnTo>
                  <a:pt x="92" y="38"/>
                </a:lnTo>
                <a:lnTo>
                  <a:pt x="92" y="38"/>
                </a:lnTo>
                <a:lnTo>
                  <a:pt x="91" y="35"/>
                </a:lnTo>
                <a:lnTo>
                  <a:pt x="92" y="34"/>
                </a:lnTo>
                <a:lnTo>
                  <a:pt x="98" y="30"/>
                </a:lnTo>
                <a:lnTo>
                  <a:pt x="98" y="30"/>
                </a:lnTo>
                <a:lnTo>
                  <a:pt x="100" y="18"/>
                </a:lnTo>
                <a:lnTo>
                  <a:pt x="100" y="8"/>
                </a:lnTo>
                <a:lnTo>
                  <a:pt x="100" y="8"/>
                </a:lnTo>
                <a:lnTo>
                  <a:pt x="91" y="7"/>
                </a:lnTo>
                <a:lnTo>
                  <a:pt x="91" y="7"/>
                </a:lnTo>
                <a:lnTo>
                  <a:pt x="90" y="3"/>
                </a:lnTo>
                <a:lnTo>
                  <a:pt x="88" y="0"/>
                </a:lnTo>
                <a:lnTo>
                  <a:pt x="88" y="0"/>
                </a:lnTo>
                <a:lnTo>
                  <a:pt x="82" y="0"/>
                </a:lnTo>
                <a:lnTo>
                  <a:pt x="78" y="1"/>
                </a:lnTo>
                <a:lnTo>
                  <a:pt x="75" y="1"/>
                </a:lnTo>
                <a:lnTo>
                  <a:pt x="75" y="1"/>
                </a:lnTo>
                <a:lnTo>
                  <a:pt x="71" y="4"/>
                </a:lnTo>
                <a:lnTo>
                  <a:pt x="68" y="5"/>
                </a:lnTo>
                <a:lnTo>
                  <a:pt x="65" y="5"/>
                </a:lnTo>
                <a:lnTo>
                  <a:pt x="65" y="5"/>
                </a:lnTo>
                <a:lnTo>
                  <a:pt x="64" y="4"/>
                </a:lnTo>
                <a:lnTo>
                  <a:pt x="61" y="7"/>
                </a:lnTo>
                <a:lnTo>
                  <a:pt x="61" y="7"/>
                </a:lnTo>
                <a:lnTo>
                  <a:pt x="60" y="8"/>
                </a:lnTo>
                <a:lnTo>
                  <a:pt x="60" y="10"/>
                </a:lnTo>
                <a:lnTo>
                  <a:pt x="58" y="11"/>
                </a:lnTo>
                <a:lnTo>
                  <a:pt x="58" y="11"/>
                </a:lnTo>
                <a:lnTo>
                  <a:pt x="55" y="10"/>
                </a:lnTo>
                <a:lnTo>
                  <a:pt x="54" y="11"/>
                </a:lnTo>
                <a:lnTo>
                  <a:pt x="54" y="13"/>
                </a:lnTo>
                <a:lnTo>
                  <a:pt x="54" y="13"/>
                </a:lnTo>
                <a:lnTo>
                  <a:pt x="53" y="14"/>
                </a:lnTo>
                <a:lnTo>
                  <a:pt x="50" y="15"/>
                </a:lnTo>
                <a:lnTo>
                  <a:pt x="45" y="14"/>
                </a:lnTo>
                <a:lnTo>
                  <a:pt x="45" y="14"/>
                </a:lnTo>
                <a:lnTo>
                  <a:pt x="43" y="15"/>
                </a:lnTo>
                <a:lnTo>
                  <a:pt x="41" y="15"/>
                </a:lnTo>
                <a:lnTo>
                  <a:pt x="40" y="18"/>
                </a:lnTo>
                <a:lnTo>
                  <a:pt x="40" y="18"/>
                </a:lnTo>
                <a:lnTo>
                  <a:pt x="40" y="22"/>
                </a:lnTo>
                <a:lnTo>
                  <a:pt x="38" y="24"/>
                </a:lnTo>
                <a:lnTo>
                  <a:pt x="36" y="24"/>
                </a:lnTo>
                <a:lnTo>
                  <a:pt x="36" y="24"/>
                </a:lnTo>
                <a:lnTo>
                  <a:pt x="30" y="17"/>
                </a:lnTo>
                <a:lnTo>
                  <a:pt x="28" y="14"/>
                </a:lnTo>
                <a:lnTo>
                  <a:pt x="27" y="13"/>
                </a:lnTo>
                <a:lnTo>
                  <a:pt x="27" y="13"/>
                </a:lnTo>
                <a:lnTo>
                  <a:pt x="24" y="18"/>
                </a:lnTo>
                <a:lnTo>
                  <a:pt x="21" y="22"/>
                </a:lnTo>
                <a:lnTo>
                  <a:pt x="18" y="24"/>
                </a:lnTo>
                <a:lnTo>
                  <a:pt x="18" y="24"/>
                </a:lnTo>
                <a:lnTo>
                  <a:pt x="6" y="25"/>
                </a:lnTo>
                <a:lnTo>
                  <a:pt x="6" y="25"/>
                </a:lnTo>
                <a:lnTo>
                  <a:pt x="4" y="30"/>
                </a:lnTo>
                <a:lnTo>
                  <a:pt x="7" y="32"/>
                </a:lnTo>
                <a:lnTo>
                  <a:pt x="7" y="32"/>
                </a:lnTo>
                <a:lnTo>
                  <a:pt x="7" y="34"/>
                </a:lnTo>
                <a:lnTo>
                  <a:pt x="7" y="35"/>
                </a:lnTo>
                <a:lnTo>
                  <a:pt x="4" y="38"/>
                </a:lnTo>
                <a:lnTo>
                  <a:pt x="4" y="38"/>
                </a:lnTo>
                <a:lnTo>
                  <a:pt x="0" y="40"/>
                </a:lnTo>
                <a:lnTo>
                  <a:pt x="0" y="41"/>
                </a:lnTo>
                <a:lnTo>
                  <a:pt x="0" y="42"/>
                </a:lnTo>
                <a:lnTo>
                  <a:pt x="0" y="42"/>
                </a:lnTo>
                <a:lnTo>
                  <a:pt x="4" y="47"/>
                </a:lnTo>
                <a:lnTo>
                  <a:pt x="6" y="48"/>
                </a:lnTo>
                <a:lnTo>
                  <a:pt x="6" y="51"/>
                </a:lnTo>
                <a:lnTo>
                  <a:pt x="6" y="51"/>
                </a:lnTo>
                <a:lnTo>
                  <a:pt x="4" y="54"/>
                </a:lnTo>
                <a:lnTo>
                  <a:pt x="4" y="57"/>
                </a:lnTo>
                <a:lnTo>
                  <a:pt x="6" y="58"/>
                </a:lnTo>
                <a:lnTo>
                  <a:pt x="8" y="58"/>
                </a:lnTo>
                <a:lnTo>
                  <a:pt x="8" y="58"/>
                </a:lnTo>
                <a:lnTo>
                  <a:pt x="14" y="59"/>
                </a:lnTo>
                <a:lnTo>
                  <a:pt x="16" y="59"/>
                </a:lnTo>
                <a:lnTo>
                  <a:pt x="16" y="61"/>
                </a:lnTo>
                <a:lnTo>
                  <a:pt x="16" y="61"/>
                </a:lnTo>
                <a:lnTo>
                  <a:pt x="14" y="67"/>
                </a:lnTo>
                <a:lnTo>
                  <a:pt x="14" y="67"/>
                </a:lnTo>
                <a:lnTo>
                  <a:pt x="23" y="64"/>
                </a:lnTo>
                <a:lnTo>
                  <a:pt x="23" y="64"/>
                </a:lnTo>
                <a:lnTo>
                  <a:pt x="24" y="62"/>
                </a:lnTo>
                <a:lnTo>
                  <a:pt x="27" y="59"/>
                </a:lnTo>
                <a:lnTo>
                  <a:pt x="28" y="57"/>
                </a:lnTo>
                <a:lnTo>
                  <a:pt x="33" y="55"/>
                </a:lnTo>
                <a:lnTo>
                  <a:pt x="33" y="55"/>
                </a:lnTo>
                <a:lnTo>
                  <a:pt x="40" y="55"/>
                </a:lnTo>
                <a:lnTo>
                  <a:pt x="47" y="57"/>
                </a:lnTo>
                <a:lnTo>
                  <a:pt x="53" y="61"/>
                </a:lnTo>
                <a:lnTo>
                  <a:pt x="55" y="64"/>
                </a:lnTo>
                <a:lnTo>
                  <a:pt x="55" y="64"/>
                </a:lnTo>
                <a:lnTo>
                  <a:pt x="60" y="69"/>
                </a:lnTo>
                <a:lnTo>
                  <a:pt x="61" y="74"/>
                </a:lnTo>
                <a:lnTo>
                  <a:pt x="61" y="74"/>
                </a:lnTo>
                <a:lnTo>
                  <a:pt x="61" y="78"/>
                </a:lnTo>
                <a:lnTo>
                  <a:pt x="64" y="82"/>
                </a:lnTo>
                <a:lnTo>
                  <a:pt x="68" y="88"/>
                </a:lnTo>
                <a:lnTo>
                  <a:pt x="75" y="94"/>
                </a:lnTo>
                <a:lnTo>
                  <a:pt x="75" y="94"/>
                </a:lnTo>
                <a:lnTo>
                  <a:pt x="84" y="99"/>
                </a:lnTo>
                <a:lnTo>
                  <a:pt x="88" y="104"/>
                </a:lnTo>
                <a:lnTo>
                  <a:pt x="94" y="109"/>
                </a:lnTo>
                <a:lnTo>
                  <a:pt x="98" y="112"/>
                </a:lnTo>
                <a:lnTo>
                  <a:pt x="98" y="112"/>
                </a:lnTo>
                <a:lnTo>
                  <a:pt x="107" y="115"/>
                </a:lnTo>
                <a:lnTo>
                  <a:pt x="110" y="116"/>
                </a:lnTo>
                <a:lnTo>
                  <a:pt x="114" y="119"/>
                </a:lnTo>
                <a:lnTo>
                  <a:pt x="114" y="119"/>
                </a:lnTo>
                <a:lnTo>
                  <a:pt x="119" y="123"/>
                </a:lnTo>
                <a:lnTo>
                  <a:pt x="127" y="128"/>
                </a:lnTo>
                <a:lnTo>
                  <a:pt x="127" y="128"/>
                </a:lnTo>
                <a:lnTo>
                  <a:pt x="131" y="131"/>
                </a:lnTo>
                <a:lnTo>
                  <a:pt x="132" y="133"/>
                </a:lnTo>
                <a:lnTo>
                  <a:pt x="135" y="136"/>
                </a:lnTo>
                <a:lnTo>
                  <a:pt x="138" y="138"/>
                </a:lnTo>
                <a:lnTo>
                  <a:pt x="138" y="138"/>
                </a:lnTo>
                <a:lnTo>
                  <a:pt x="141" y="139"/>
                </a:lnTo>
                <a:lnTo>
                  <a:pt x="142" y="141"/>
                </a:lnTo>
                <a:lnTo>
                  <a:pt x="142" y="143"/>
                </a:lnTo>
                <a:lnTo>
                  <a:pt x="144" y="146"/>
                </a:lnTo>
                <a:lnTo>
                  <a:pt x="144" y="146"/>
                </a:lnTo>
                <a:lnTo>
                  <a:pt x="145" y="151"/>
                </a:lnTo>
                <a:lnTo>
                  <a:pt x="146" y="155"/>
                </a:lnTo>
                <a:lnTo>
                  <a:pt x="146" y="160"/>
                </a:lnTo>
                <a:lnTo>
                  <a:pt x="145" y="165"/>
                </a:lnTo>
                <a:lnTo>
                  <a:pt x="145" y="165"/>
                </a:lnTo>
                <a:lnTo>
                  <a:pt x="142" y="168"/>
                </a:lnTo>
                <a:lnTo>
                  <a:pt x="142" y="172"/>
                </a:lnTo>
                <a:lnTo>
                  <a:pt x="144" y="176"/>
                </a:lnTo>
                <a:lnTo>
                  <a:pt x="145" y="178"/>
                </a:lnTo>
                <a:lnTo>
                  <a:pt x="145" y="178"/>
                </a:lnTo>
                <a:lnTo>
                  <a:pt x="148" y="176"/>
                </a:lnTo>
                <a:lnTo>
                  <a:pt x="149" y="172"/>
                </a:lnTo>
                <a:lnTo>
                  <a:pt x="154" y="163"/>
                </a:lnTo>
                <a:lnTo>
                  <a:pt x="154" y="163"/>
                </a:lnTo>
                <a:lnTo>
                  <a:pt x="155" y="160"/>
                </a:lnTo>
                <a:lnTo>
                  <a:pt x="156" y="159"/>
                </a:lnTo>
                <a:lnTo>
                  <a:pt x="159" y="158"/>
                </a:lnTo>
                <a:lnTo>
                  <a:pt x="162" y="155"/>
                </a:lnTo>
                <a:lnTo>
                  <a:pt x="162" y="155"/>
                </a:lnTo>
                <a:lnTo>
                  <a:pt x="164" y="152"/>
                </a:lnTo>
                <a:lnTo>
                  <a:pt x="164" y="151"/>
                </a:lnTo>
                <a:lnTo>
                  <a:pt x="161" y="149"/>
                </a:lnTo>
                <a:lnTo>
                  <a:pt x="158" y="146"/>
                </a:lnTo>
                <a:lnTo>
                  <a:pt x="155" y="142"/>
                </a:lnTo>
                <a:lnTo>
                  <a:pt x="155" y="142"/>
                </a:lnTo>
                <a:lnTo>
                  <a:pt x="155" y="139"/>
                </a:lnTo>
                <a:lnTo>
                  <a:pt x="155" y="138"/>
                </a:lnTo>
                <a:lnTo>
                  <a:pt x="159" y="133"/>
                </a:lnTo>
                <a:lnTo>
                  <a:pt x="165" y="132"/>
                </a:lnTo>
                <a:lnTo>
                  <a:pt x="168" y="133"/>
                </a:lnTo>
                <a:lnTo>
                  <a:pt x="171" y="135"/>
                </a:lnTo>
                <a:lnTo>
                  <a:pt x="171" y="135"/>
                </a:lnTo>
                <a:lnTo>
                  <a:pt x="179" y="141"/>
                </a:lnTo>
                <a:lnTo>
                  <a:pt x="182" y="139"/>
                </a:lnTo>
                <a:lnTo>
                  <a:pt x="182" y="135"/>
                </a:lnTo>
                <a:lnTo>
                  <a:pt x="182" y="135"/>
                </a:lnTo>
                <a:lnTo>
                  <a:pt x="182" y="132"/>
                </a:lnTo>
                <a:lnTo>
                  <a:pt x="179" y="129"/>
                </a:lnTo>
                <a:lnTo>
                  <a:pt x="169" y="122"/>
                </a:lnTo>
                <a:lnTo>
                  <a:pt x="151" y="114"/>
                </a:lnTo>
                <a:lnTo>
                  <a:pt x="151" y="114"/>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70" name="Freeform 359">
            <a:extLst>
              <a:ext uri="{FF2B5EF4-FFF2-40B4-BE49-F238E27FC236}">
                <a16:creationId xmlns:a16="http://schemas.microsoft.com/office/drawing/2014/main" id="{6ADDED54-0F69-04F0-9A6F-48796171572B}"/>
              </a:ext>
            </a:extLst>
          </p:cNvPr>
          <p:cNvSpPr>
            <a:spLocks/>
          </p:cNvSpPr>
          <p:nvPr userDrawn="1"/>
        </p:nvSpPr>
        <p:spPr bwMode="gray">
          <a:xfrm>
            <a:off x="4733262" y="2373169"/>
            <a:ext cx="24710" cy="32513"/>
          </a:xfrm>
          <a:custGeom>
            <a:avLst/>
            <a:gdLst/>
            <a:ahLst/>
            <a:cxnLst>
              <a:cxn ang="0">
                <a:pos x="6" y="0"/>
              </a:cxn>
              <a:cxn ang="0">
                <a:pos x="6" y="0"/>
              </a:cxn>
              <a:cxn ang="0">
                <a:pos x="2" y="7"/>
              </a:cxn>
              <a:cxn ang="0">
                <a:pos x="0" y="12"/>
              </a:cxn>
              <a:cxn ang="0">
                <a:pos x="0" y="12"/>
              </a:cxn>
              <a:cxn ang="0">
                <a:pos x="0" y="17"/>
              </a:cxn>
              <a:cxn ang="0">
                <a:pos x="0" y="17"/>
              </a:cxn>
              <a:cxn ang="0">
                <a:pos x="12" y="25"/>
              </a:cxn>
              <a:cxn ang="0">
                <a:pos x="12" y="25"/>
              </a:cxn>
              <a:cxn ang="0">
                <a:pos x="12" y="25"/>
              </a:cxn>
              <a:cxn ang="0">
                <a:pos x="12" y="25"/>
              </a:cxn>
              <a:cxn ang="0">
                <a:pos x="15" y="18"/>
              </a:cxn>
              <a:cxn ang="0">
                <a:pos x="18" y="15"/>
              </a:cxn>
              <a:cxn ang="0">
                <a:pos x="19" y="14"/>
              </a:cxn>
              <a:cxn ang="0">
                <a:pos x="19" y="14"/>
              </a:cxn>
              <a:cxn ang="0">
                <a:pos x="6" y="0"/>
              </a:cxn>
              <a:cxn ang="0">
                <a:pos x="6" y="0"/>
              </a:cxn>
            </a:cxnLst>
            <a:rect l="0" t="0" r="r" b="b"/>
            <a:pathLst>
              <a:path w="19" h="25">
                <a:moveTo>
                  <a:pt x="6" y="0"/>
                </a:moveTo>
                <a:lnTo>
                  <a:pt x="6" y="0"/>
                </a:lnTo>
                <a:lnTo>
                  <a:pt x="2" y="7"/>
                </a:lnTo>
                <a:lnTo>
                  <a:pt x="0" y="12"/>
                </a:lnTo>
                <a:lnTo>
                  <a:pt x="0" y="12"/>
                </a:lnTo>
                <a:lnTo>
                  <a:pt x="0" y="17"/>
                </a:lnTo>
                <a:lnTo>
                  <a:pt x="0" y="17"/>
                </a:lnTo>
                <a:lnTo>
                  <a:pt x="12" y="25"/>
                </a:lnTo>
                <a:lnTo>
                  <a:pt x="12" y="25"/>
                </a:lnTo>
                <a:lnTo>
                  <a:pt x="12" y="25"/>
                </a:lnTo>
                <a:lnTo>
                  <a:pt x="12" y="25"/>
                </a:lnTo>
                <a:lnTo>
                  <a:pt x="15" y="18"/>
                </a:lnTo>
                <a:lnTo>
                  <a:pt x="18" y="15"/>
                </a:lnTo>
                <a:lnTo>
                  <a:pt x="19" y="14"/>
                </a:lnTo>
                <a:lnTo>
                  <a:pt x="19" y="14"/>
                </a:lnTo>
                <a:lnTo>
                  <a:pt x="6" y="0"/>
                </a:lnTo>
                <a:lnTo>
                  <a:pt x="6" y="0"/>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71" name="Freeform 360">
            <a:extLst>
              <a:ext uri="{FF2B5EF4-FFF2-40B4-BE49-F238E27FC236}">
                <a16:creationId xmlns:a16="http://schemas.microsoft.com/office/drawing/2014/main" id="{F0A0E262-F237-A075-D3DC-40E8AC74E581}"/>
              </a:ext>
            </a:extLst>
          </p:cNvPr>
          <p:cNvSpPr>
            <a:spLocks/>
          </p:cNvSpPr>
          <p:nvPr userDrawn="1"/>
        </p:nvSpPr>
        <p:spPr bwMode="gray">
          <a:xfrm>
            <a:off x="4739765" y="2299040"/>
            <a:ext cx="83232" cy="102740"/>
          </a:xfrm>
          <a:custGeom>
            <a:avLst/>
            <a:gdLst/>
            <a:ahLst/>
            <a:cxnLst>
              <a:cxn ang="0">
                <a:pos x="58" y="52"/>
              </a:cxn>
              <a:cxn ang="0">
                <a:pos x="55" y="47"/>
              </a:cxn>
              <a:cxn ang="0">
                <a:pos x="58" y="42"/>
              </a:cxn>
              <a:cxn ang="0">
                <a:pos x="59" y="40"/>
              </a:cxn>
              <a:cxn ang="0">
                <a:pos x="58" y="34"/>
              </a:cxn>
              <a:cxn ang="0">
                <a:pos x="58" y="33"/>
              </a:cxn>
              <a:cxn ang="0">
                <a:pos x="51" y="30"/>
              </a:cxn>
              <a:cxn ang="0">
                <a:pos x="41" y="28"/>
              </a:cxn>
              <a:cxn ang="0">
                <a:pos x="40" y="23"/>
              </a:cxn>
              <a:cxn ang="0">
                <a:pos x="40" y="18"/>
              </a:cxn>
              <a:cxn ang="0">
                <a:pos x="38" y="18"/>
              </a:cxn>
              <a:cxn ang="0">
                <a:pos x="34" y="17"/>
              </a:cxn>
              <a:cxn ang="0">
                <a:pos x="32" y="13"/>
              </a:cxn>
              <a:cxn ang="0">
                <a:pos x="30" y="7"/>
              </a:cxn>
              <a:cxn ang="0">
                <a:pos x="27" y="3"/>
              </a:cxn>
              <a:cxn ang="0">
                <a:pos x="28" y="3"/>
              </a:cxn>
              <a:cxn ang="0">
                <a:pos x="23" y="1"/>
              </a:cxn>
              <a:cxn ang="0">
                <a:pos x="17" y="0"/>
              </a:cxn>
              <a:cxn ang="0">
                <a:pos x="0" y="5"/>
              </a:cxn>
              <a:cxn ang="0">
                <a:pos x="1" y="11"/>
              </a:cxn>
              <a:cxn ang="0">
                <a:pos x="4" y="14"/>
              </a:cxn>
              <a:cxn ang="0">
                <a:pos x="7" y="17"/>
              </a:cxn>
              <a:cxn ang="0">
                <a:pos x="8" y="25"/>
              </a:cxn>
              <a:cxn ang="0">
                <a:pos x="10" y="33"/>
              </a:cxn>
              <a:cxn ang="0">
                <a:pos x="10" y="48"/>
              </a:cxn>
              <a:cxn ang="0">
                <a:pos x="8" y="51"/>
              </a:cxn>
              <a:cxn ang="0">
                <a:pos x="5" y="52"/>
              </a:cxn>
              <a:cxn ang="0">
                <a:pos x="1" y="57"/>
              </a:cxn>
              <a:cxn ang="0">
                <a:pos x="14" y="71"/>
              </a:cxn>
              <a:cxn ang="0">
                <a:pos x="15" y="71"/>
              </a:cxn>
              <a:cxn ang="0">
                <a:pos x="24" y="75"/>
              </a:cxn>
              <a:cxn ang="0">
                <a:pos x="30" y="79"/>
              </a:cxn>
              <a:cxn ang="0">
                <a:pos x="57" y="75"/>
              </a:cxn>
              <a:cxn ang="0">
                <a:pos x="58" y="69"/>
              </a:cxn>
              <a:cxn ang="0">
                <a:pos x="61" y="64"/>
              </a:cxn>
              <a:cxn ang="0">
                <a:pos x="62" y="64"/>
              </a:cxn>
              <a:cxn ang="0">
                <a:pos x="64" y="62"/>
              </a:cxn>
              <a:cxn ang="0">
                <a:pos x="58" y="52"/>
              </a:cxn>
            </a:cxnLst>
            <a:rect l="0" t="0" r="r" b="b"/>
            <a:pathLst>
              <a:path w="64" h="79">
                <a:moveTo>
                  <a:pt x="58" y="52"/>
                </a:moveTo>
                <a:lnTo>
                  <a:pt x="58" y="52"/>
                </a:lnTo>
                <a:lnTo>
                  <a:pt x="55" y="50"/>
                </a:lnTo>
                <a:lnTo>
                  <a:pt x="55" y="47"/>
                </a:lnTo>
                <a:lnTo>
                  <a:pt x="57" y="44"/>
                </a:lnTo>
                <a:lnTo>
                  <a:pt x="58" y="42"/>
                </a:lnTo>
                <a:lnTo>
                  <a:pt x="58" y="42"/>
                </a:lnTo>
                <a:lnTo>
                  <a:pt x="59" y="40"/>
                </a:lnTo>
                <a:lnTo>
                  <a:pt x="59" y="38"/>
                </a:lnTo>
                <a:lnTo>
                  <a:pt x="58" y="34"/>
                </a:lnTo>
                <a:lnTo>
                  <a:pt x="58" y="34"/>
                </a:lnTo>
                <a:lnTo>
                  <a:pt x="58" y="33"/>
                </a:lnTo>
                <a:lnTo>
                  <a:pt x="55" y="31"/>
                </a:lnTo>
                <a:lnTo>
                  <a:pt x="51" y="30"/>
                </a:lnTo>
                <a:lnTo>
                  <a:pt x="41" y="28"/>
                </a:lnTo>
                <a:lnTo>
                  <a:pt x="41" y="28"/>
                </a:lnTo>
                <a:lnTo>
                  <a:pt x="40" y="27"/>
                </a:lnTo>
                <a:lnTo>
                  <a:pt x="40" y="23"/>
                </a:lnTo>
                <a:lnTo>
                  <a:pt x="40" y="20"/>
                </a:lnTo>
                <a:lnTo>
                  <a:pt x="40" y="18"/>
                </a:lnTo>
                <a:lnTo>
                  <a:pt x="38" y="18"/>
                </a:lnTo>
                <a:lnTo>
                  <a:pt x="38" y="18"/>
                </a:lnTo>
                <a:lnTo>
                  <a:pt x="35" y="18"/>
                </a:lnTo>
                <a:lnTo>
                  <a:pt x="34" y="17"/>
                </a:lnTo>
                <a:lnTo>
                  <a:pt x="32" y="13"/>
                </a:lnTo>
                <a:lnTo>
                  <a:pt x="32" y="13"/>
                </a:lnTo>
                <a:lnTo>
                  <a:pt x="32" y="10"/>
                </a:lnTo>
                <a:lnTo>
                  <a:pt x="30" y="7"/>
                </a:lnTo>
                <a:lnTo>
                  <a:pt x="28" y="5"/>
                </a:lnTo>
                <a:lnTo>
                  <a:pt x="27" y="3"/>
                </a:lnTo>
                <a:lnTo>
                  <a:pt x="27" y="3"/>
                </a:lnTo>
                <a:lnTo>
                  <a:pt x="28" y="3"/>
                </a:lnTo>
                <a:lnTo>
                  <a:pt x="28" y="3"/>
                </a:lnTo>
                <a:lnTo>
                  <a:pt x="23" y="1"/>
                </a:lnTo>
                <a:lnTo>
                  <a:pt x="23" y="1"/>
                </a:lnTo>
                <a:lnTo>
                  <a:pt x="17" y="0"/>
                </a:lnTo>
                <a:lnTo>
                  <a:pt x="17" y="0"/>
                </a:lnTo>
                <a:lnTo>
                  <a:pt x="0" y="5"/>
                </a:lnTo>
                <a:lnTo>
                  <a:pt x="0" y="5"/>
                </a:lnTo>
                <a:lnTo>
                  <a:pt x="1" y="11"/>
                </a:lnTo>
                <a:lnTo>
                  <a:pt x="3" y="13"/>
                </a:lnTo>
                <a:lnTo>
                  <a:pt x="4" y="14"/>
                </a:lnTo>
                <a:lnTo>
                  <a:pt x="4" y="14"/>
                </a:lnTo>
                <a:lnTo>
                  <a:pt x="7" y="17"/>
                </a:lnTo>
                <a:lnTo>
                  <a:pt x="7" y="20"/>
                </a:lnTo>
                <a:lnTo>
                  <a:pt x="8" y="25"/>
                </a:lnTo>
                <a:lnTo>
                  <a:pt x="8" y="25"/>
                </a:lnTo>
                <a:lnTo>
                  <a:pt x="10" y="33"/>
                </a:lnTo>
                <a:lnTo>
                  <a:pt x="10" y="40"/>
                </a:lnTo>
                <a:lnTo>
                  <a:pt x="10" y="48"/>
                </a:lnTo>
                <a:lnTo>
                  <a:pt x="8" y="50"/>
                </a:lnTo>
                <a:lnTo>
                  <a:pt x="8" y="51"/>
                </a:lnTo>
                <a:lnTo>
                  <a:pt x="8" y="51"/>
                </a:lnTo>
                <a:lnTo>
                  <a:pt x="5" y="52"/>
                </a:lnTo>
                <a:lnTo>
                  <a:pt x="1" y="57"/>
                </a:lnTo>
                <a:lnTo>
                  <a:pt x="1" y="57"/>
                </a:lnTo>
                <a:lnTo>
                  <a:pt x="14" y="71"/>
                </a:lnTo>
                <a:lnTo>
                  <a:pt x="14" y="71"/>
                </a:lnTo>
                <a:lnTo>
                  <a:pt x="15" y="71"/>
                </a:lnTo>
                <a:lnTo>
                  <a:pt x="15" y="71"/>
                </a:lnTo>
                <a:lnTo>
                  <a:pt x="18" y="72"/>
                </a:lnTo>
                <a:lnTo>
                  <a:pt x="24" y="75"/>
                </a:lnTo>
                <a:lnTo>
                  <a:pt x="30" y="79"/>
                </a:lnTo>
                <a:lnTo>
                  <a:pt x="30" y="79"/>
                </a:lnTo>
                <a:lnTo>
                  <a:pt x="57" y="75"/>
                </a:lnTo>
                <a:lnTo>
                  <a:pt x="57" y="75"/>
                </a:lnTo>
                <a:lnTo>
                  <a:pt x="58" y="69"/>
                </a:lnTo>
                <a:lnTo>
                  <a:pt x="58" y="69"/>
                </a:lnTo>
                <a:lnTo>
                  <a:pt x="59" y="65"/>
                </a:lnTo>
                <a:lnTo>
                  <a:pt x="61" y="64"/>
                </a:lnTo>
                <a:lnTo>
                  <a:pt x="62" y="64"/>
                </a:lnTo>
                <a:lnTo>
                  <a:pt x="62" y="64"/>
                </a:lnTo>
                <a:lnTo>
                  <a:pt x="64" y="62"/>
                </a:lnTo>
                <a:lnTo>
                  <a:pt x="64" y="62"/>
                </a:lnTo>
                <a:lnTo>
                  <a:pt x="62" y="60"/>
                </a:lnTo>
                <a:lnTo>
                  <a:pt x="58" y="52"/>
                </a:lnTo>
                <a:lnTo>
                  <a:pt x="58" y="52"/>
                </a:lnTo>
                <a:close/>
              </a:path>
            </a:pathLst>
          </a:custGeom>
          <a:solidFill>
            <a:srgbClr val="D3D4DB"/>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rtl="0" fontAlgn="base">
              <a:spcBef>
                <a:spcPct val="0"/>
              </a:spcBef>
              <a:spcAft>
                <a:spcPct val="0"/>
              </a:spcAft>
              <a:defRPr/>
            </a:pPr>
            <a:endParaRPr lang="en-US" sz="1350" kern="0">
              <a:solidFill>
                <a:srgbClr val="3F3F3F"/>
              </a:solidFill>
              <a:latin typeface="Tw Cen MT"/>
            </a:endParaRPr>
          </a:p>
        </p:txBody>
      </p:sp>
      <p:sp>
        <p:nvSpPr>
          <p:cNvPr id="172" name="Title 1">
            <a:extLst>
              <a:ext uri="{FF2B5EF4-FFF2-40B4-BE49-F238E27FC236}">
                <a16:creationId xmlns:a16="http://schemas.microsoft.com/office/drawing/2014/main" id="{6FD138C5-D59C-E023-0D5A-65B0D4219A24}"/>
              </a:ext>
            </a:extLst>
          </p:cNvPr>
          <p:cNvSpPr txBox="1">
            <a:spLocks/>
          </p:cNvSpPr>
          <p:nvPr userDrawn="1"/>
        </p:nvSpPr>
        <p:spPr bwMode="gray">
          <a:xfrm>
            <a:off x="259177" y="149587"/>
            <a:ext cx="8096547" cy="207749"/>
          </a:xfrm>
          <a:prstGeom prst="rect">
            <a:avLst/>
          </a:prstGeom>
        </p:spPr>
        <p:txBody>
          <a:bodyPr spcFirstLastPara="1" vert="horz" wrap="square" lIns="0" tIns="0" rIns="0" bIns="0" rtlCol="0" anchor="ctr" anchorCtr="0">
            <a:spAutoFit/>
          </a:bodyPr>
          <a:lstStyle>
            <a:lvl1pPr lvl="0" algn="l" defTabSz="1072840" rtl="0" eaLnBrk="1" latinLnBrk="0" hangingPunct="1">
              <a:lnSpc>
                <a:spcPct val="100000"/>
              </a:lnSpc>
              <a:spcBef>
                <a:spcPts val="0"/>
              </a:spcBef>
              <a:spcAft>
                <a:spcPts val="0"/>
              </a:spcAft>
              <a:buSzPts val="2800"/>
              <a:buNone/>
              <a:defRPr sz="2600" b="0" kern="1200">
                <a:solidFill>
                  <a:srgbClr val="881946"/>
                </a:solidFill>
                <a:latin typeface="+mj-lt"/>
                <a:ea typeface="+mj-ea"/>
                <a:cs typeface="Arial"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n-US" sz="1350" spc="0">
                <a:solidFill>
                  <a:schemeClr val="bg1"/>
                </a:solidFill>
                <a:latin typeface="Lato Light" panose="020F0302020204030203" pitchFamily="34" charset="77"/>
              </a:rPr>
              <a:t>THIS IS A an .SVG WORLD MAP, YOU CAN COLOR AND MOVE COUNTRIES INDIVIDUALLY</a:t>
            </a:r>
          </a:p>
        </p:txBody>
      </p:sp>
      <p:sp>
        <p:nvSpPr>
          <p:cNvPr id="173" name="CuadroTexto 174">
            <a:extLst>
              <a:ext uri="{FF2B5EF4-FFF2-40B4-BE49-F238E27FC236}">
                <a16:creationId xmlns:a16="http://schemas.microsoft.com/office/drawing/2014/main" id="{F817EFE5-4A07-918F-43CE-1A091A093B54}"/>
              </a:ext>
            </a:extLst>
          </p:cNvPr>
          <p:cNvSpPr txBox="1"/>
          <p:nvPr userDrawn="1"/>
        </p:nvSpPr>
        <p:spPr bwMode="gray">
          <a:xfrm>
            <a:off x="1914525" y="3671888"/>
            <a:ext cx="0" cy="0"/>
          </a:xfrm>
          <a:prstGeom prst="rect">
            <a:avLst/>
          </a:prstGeom>
          <a:solidFill>
            <a:srgbClr val="D3D4DB"/>
          </a:solidFill>
        </p:spPr>
        <p:txBody>
          <a:bodyPr vert="horz" wrap="none" lIns="0" tIns="0" rIns="0" bIns="0" rtlCol="0" anchor="t">
            <a:noAutofit/>
          </a:bodyPr>
          <a:lstStyle/>
          <a:p>
            <a:pPr rtl="0">
              <a:spcBef>
                <a:spcPts val="600"/>
              </a:spcBef>
            </a:pPr>
            <a:endParaRPr lang="en-US">
              <a:solidFill>
                <a:srgbClr val="606060"/>
              </a:solidFill>
            </a:endParaRPr>
          </a:p>
        </p:txBody>
      </p:sp>
    </p:spTree>
    <p:extLst>
      <p:ext uri="{BB962C8B-B14F-4D97-AF65-F5344CB8AC3E}">
        <p14:creationId xmlns:p14="http://schemas.microsoft.com/office/powerpoint/2010/main" val="41001005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Bold three-column">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D9CD9C22-1340-58B8-25FF-589A6132AC73}"/>
              </a:ext>
            </a:extLst>
          </p:cNvPr>
          <p:cNvGraphicFramePr>
            <a:graphicFrameLocks noChangeAspect="1"/>
          </p:cNvGraphicFramePr>
          <p:nvPr userDrawn="1">
            <p:custDataLst>
              <p:tags r:id="rId1"/>
            </p:custDataLst>
            <p:extLst>
              <p:ext uri="{D42A27DB-BD31-4B8C-83A1-F6EECF244321}">
                <p14:modId xmlns:p14="http://schemas.microsoft.com/office/powerpoint/2010/main" val="263911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5" name="think-cell data - do not delete" hidden="1">
                        <a:extLst>
                          <a:ext uri="{FF2B5EF4-FFF2-40B4-BE49-F238E27FC236}">
                            <a16:creationId xmlns:a16="http://schemas.microsoft.com/office/drawing/2014/main" id="{D9CD9C22-1340-58B8-25FF-589A6132AC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Marcador de texto 51">
            <a:extLst>
              <a:ext uri="{FF2B5EF4-FFF2-40B4-BE49-F238E27FC236}">
                <a16:creationId xmlns:a16="http://schemas.microsoft.com/office/drawing/2014/main" id="{0D624D42-0E14-5496-223C-BC5755B65802}"/>
              </a:ext>
            </a:extLst>
          </p:cNvPr>
          <p:cNvSpPr>
            <a:spLocks noGrp="1"/>
          </p:cNvSpPr>
          <p:nvPr>
            <p:ph type="body" sz="quarter" idx="60" hasCustomPrompt="1"/>
          </p:nvPr>
        </p:nvSpPr>
        <p:spPr>
          <a:xfrm>
            <a:off x="483422" y="1668223"/>
            <a:ext cx="2578608" cy="2688336"/>
          </a:xfrm>
          <a:prstGeom prst="round2SameRect">
            <a:avLst>
              <a:gd name="adj1" fmla="val 0"/>
              <a:gd name="adj2" fmla="val 7288"/>
            </a:avLst>
          </a:prstGeom>
          <a:solidFill>
            <a:schemeClr val="bg1"/>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2" name="Marcador de texto 51">
            <a:extLst>
              <a:ext uri="{FF2B5EF4-FFF2-40B4-BE49-F238E27FC236}">
                <a16:creationId xmlns:a16="http://schemas.microsoft.com/office/drawing/2014/main" id="{44A1E723-A721-0E83-E9AA-9AC167B94ABA}"/>
              </a:ext>
            </a:extLst>
          </p:cNvPr>
          <p:cNvSpPr>
            <a:spLocks noGrp="1"/>
          </p:cNvSpPr>
          <p:nvPr>
            <p:ph type="body" sz="quarter" idx="62" hasCustomPrompt="1"/>
          </p:nvPr>
        </p:nvSpPr>
        <p:spPr>
          <a:xfrm>
            <a:off x="483422" y="1319077"/>
            <a:ext cx="2578608" cy="658368"/>
          </a:xfrm>
          <a:prstGeom prst="round2SameRect">
            <a:avLst>
              <a:gd name="adj1" fmla="val 23992"/>
              <a:gd name="adj2" fmla="val 0"/>
            </a:avLst>
          </a:prstGeom>
          <a:solidFill>
            <a:schemeClr val="accent2"/>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4" name="Redondear rectángulo de esquina del mismo lado 3">
            <a:extLst>
              <a:ext uri="{FF2B5EF4-FFF2-40B4-BE49-F238E27FC236}">
                <a16:creationId xmlns:a16="http://schemas.microsoft.com/office/drawing/2014/main" id="{94CE194F-DBEF-A197-6970-650401BBCB8A}"/>
              </a:ext>
            </a:extLst>
          </p:cNvPr>
          <p:cNvSpPr/>
          <p:nvPr userDrawn="1"/>
        </p:nvSpPr>
        <p:spPr>
          <a:xfrm>
            <a:off x="485840" y="1980643"/>
            <a:ext cx="2573772" cy="2270020"/>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11" name="Marcador de texto 30">
            <a:extLst>
              <a:ext uri="{FF2B5EF4-FFF2-40B4-BE49-F238E27FC236}">
                <a16:creationId xmlns:a16="http://schemas.microsoft.com/office/drawing/2014/main" id="{435D23DF-559F-C818-CEF0-E9F3F763F0AF}"/>
              </a:ext>
            </a:extLst>
          </p:cNvPr>
          <p:cNvSpPr>
            <a:spLocks noGrp="1"/>
          </p:cNvSpPr>
          <p:nvPr>
            <p:ph type="body" sz="quarter" idx="11" hasCustomPrompt="1"/>
          </p:nvPr>
        </p:nvSpPr>
        <p:spPr>
          <a:xfrm>
            <a:off x="551794" y="1580648"/>
            <a:ext cx="2441864" cy="279757"/>
          </a:xfrm>
        </p:spPr>
        <p:txBody>
          <a:bodyPr anchor="ctr" anchorCtr="0"/>
          <a:lstStyle>
            <a:lvl1pPr marL="0" indent="0" algn="ctr" rtl="0">
              <a:buNone/>
              <a:defRPr sz="1300" spc="100" baseline="0">
                <a:solidFill>
                  <a:schemeClr val="tx2"/>
                </a:solidFill>
              </a:defRPr>
            </a:lvl1pPr>
          </a:lstStyle>
          <a:p>
            <a:pPr lvl="0"/>
            <a:r>
              <a:rPr lang="en-US"/>
              <a:t>TITLE HERE</a:t>
            </a:r>
          </a:p>
        </p:txBody>
      </p:sp>
      <p:sp>
        <p:nvSpPr>
          <p:cNvPr id="14" name="Marcador de texto 51">
            <a:extLst>
              <a:ext uri="{FF2B5EF4-FFF2-40B4-BE49-F238E27FC236}">
                <a16:creationId xmlns:a16="http://schemas.microsoft.com/office/drawing/2014/main" id="{DEB4F492-0E9B-2E12-1E78-A8E0D925C2CF}"/>
              </a:ext>
            </a:extLst>
          </p:cNvPr>
          <p:cNvSpPr>
            <a:spLocks noGrp="1"/>
          </p:cNvSpPr>
          <p:nvPr>
            <p:ph type="body" sz="quarter" idx="15" hasCustomPrompt="1"/>
          </p:nvPr>
        </p:nvSpPr>
        <p:spPr>
          <a:xfrm>
            <a:off x="636319" y="2047080"/>
            <a:ext cx="2272814" cy="2309479"/>
          </a:xfrm>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a:t>
            </a:r>
          </a:p>
        </p:txBody>
      </p:sp>
      <p:sp>
        <p:nvSpPr>
          <p:cNvPr id="23" name="Slide Number Placeholder 5">
            <a:extLst>
              <a:ext uri="{FF2B5EF4-FFF2-40B4-BE49-F238E27FC236}">
                <a16:creationId xmlns:a16="http://schemas.microsoft.com/office/drawing/2014/main" id="{93A1B3A0-C000-A64F-7F97-65BC44A5C3DB}"/>
              </a:ext>
            </a:extLst>
          </p:cNvPr>
          <p:cNvSpPr>
            <a:spLocks noGrp="1"/>
          </p:cNvSpPr>
          <p:nvPr>
            <p:ph type="sldNum" sz="quarter" idx="4294967295"/>
          </p:nvPr>
        </p:nvSpPr>
        <p:spPr>
          <a:xfrm>
            <a:off x="8729560" y="4911474"/>
            <a:ext cx="342581" cy="96296"/>
          </a:xfrm>
          <a:prstGeom prst="rect">
            <a:avLst/>
          </a:prstGeom>
        </p:spPr>
        <p:txBody>
          <a:bodyPr anchor="ctr" anchorCtr="0"/>
          <a:lstStyle>
            <a:lvl1pPr rtl="0">
              <a:defRPr>
                <a:solidFill>
                  <a:schemeClr val="tx1"/>
                </a:solidFill>
              </a:defRPr>
            </a:lvl1pPr>
          </a:lstStyle>
          <a:p>
            <a:fld id="{A90607E6-BCED-4FC1-A345-AB2A307AB80F}" type="slidenum">
              <a:rPr lang="en-US" sz="700" b="1" smtClean="0"/>
              <a:pPr/>
              <a:t>‹#›</a:t>
            </a:fld>
            <a:endParaRPr lang="en-US" b="1"/>
          </a:p>
        </p:txBody>
      </p:sp>
      <p:sp>
        <p:nvSpPr>
          <p:cNvPr id="29" name="Marcador de texto 11">
            <a:extLst>
              <a:ext uri="{FF2B5EF4-FFF2-40B4-BE49-F238E27FC236}">
                <a16:creationId xmlns:a16="http://schemas.microsoft.com/office/drawing/2014/main" id="{95008C2A-5835-E299-A94C-8075A5A6A64B}"/>
              </a:ext>
            </a:extLst>
          </p:cNvPr>
          <p:cNvSpPr>
            <a:spLocks noGrp="1"/>
          </p:cNvSpPr>
          <p:nvPr>
            <p:ph type="body" sz="quarter" idx="28" hasCustomPrompt="1"/>
          </p:nvPr>
        </p:nvSpPr>
        <p:spPr>
          <a:xfrm>
            <a:off x="466344" y="4837588"/>
            <a:ext cx="7323915" cy="231775"/>
          </a:xfrm>
        </p:spPr>
        <p:txBody>
          <a:bodyPr anchor="b"/>
          <a:lstStyle>
            <a:lvl1pPr marL="0" indent="0" rtl="0">
              <a:lnSpc>
                <a:spcPct val="100000"/>
              </a:lnSpc>
              <a:spcBef>
                <a:spcPts val="0"/>
              </a:spcBef>
              <a:buNone/>
              <a:defRPr sz="700">
                <a:solidFill>
                  <a:schemeClr val="tx1"/>
                </a:solidFill>
              </a:defRPr>
            </a:lvl1pPr>
          </a:lstStyle>
          <a:p>
            <a:pPr lvl="0"/>
            <a:r>
              <a:rPr lang="en-US"/>
              <a:t>This space is reserved for footnotes and sources only, and cannot be expanded beyond its current size.                                        </a:t>
            </a:r>
            <a:br>
              <a:rPr lang="en-US"/>
            </a:br>
            <a:r>
              <a:rPr lang="en-US"/>
              <a:t>Source: [Author/Publisher Name], [Report Name], [Year]</a:t>
            </a:r>
          </a:p>
        </p:txBody>
      </p:sp>
      <p:sp>
        <p:nvSpPr>
          <p:cNvPr id="10" name="Text Placeholder 6">
            <a:extLst>
              <a:ext uri="{FF2B5EF4-FFF2-40B4-BE49-F238E27FC236}">
                <a16:creationId xmlns:a16="http://schemas.microsoft.com/office/drawing/2014/main" id="{8F7CE19C-E60A-685A-D582-5B6808BDF9AA}"/>
              </a:ext>
            </a:extLst>
          </p:cNvPr>
          <p:cNvSpPr>
            <a:spLocks noGrp="1"/>
          </p:cNvSpPr>
          <p:nvPr>
            <p:ph type="body" sz="quarter" idx="63" hasCustomPrompt="1"/>
          </p:nvPr>
        </p:nvSpPr>
        <p:spPr>
          <a:xfrm>
            <a:off x="1425254" y="788961"/>
            <a:ext cx="694944" cy="694944"/>
          </a:xfrm>
          <a:prstGeom prst="ellipse">
            <a:avLst/>
          </a:prstGeom>
          <a:solidFill>
            <a:schemeClr val="accent1"/>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Icon</a:t>
            </a:r>
          </a:p>
        </p:txBody>
      </p:sp>
      <p:sp>
        <p:nvSpPr>
          <p:cNvPr id="26" name="Marcador de texto 51">
            <a:extLst>
              <a:ext uri="{FF2B5EF4-FFF2-40B4-BE49-F238E27FC236}">
                <a16:creationId xmlns:a16="http://schemas.microsoft.com/office/drawing/2014/main" id="{3948A0EC-ADFE-089C-DACD-2B7DEAD2A8A8}"/>
              </a:ext>
            </a:extLst>
          </p:cNvPr>
          <p:cNvSpPr>
            <a:spLocks noGrp="1"/>
          </p:cNvSpPr>
          <p:nvPr>
            <p:ph type="body" sz="quarter" idx="64" hasCustomPrompt="1"/>
          </p:nvPr>
        </p:nvSpPr>
        <p:spPr>
          <a:xfrm>
            <a:off x="6057246" y="1668223"/>
            <a:ext cx="2578608" cy="2688336"/>
          </a:xfrm>
          <a:prstGeom prst="round2SameRect">
            <a:avLst>
              <a:gd name="adj1" fmla="val 0"/>
              <a:gd name="adj2" fmla="val 7288"/>
            </a:avLst>
          </a:prstGeom>
          <a:solidFill>
            <a:schemeClr val="bg1"/>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30" name="Marcador de texto 51">
            <a:extLst>
              <a:ext uri="{FF2B5EF4-FFF2-40B4-BE49-F238E27FC236}">
                <a16:creationId xmlns:a16="http://schemas.microsoft.com/office/drawing/2014/main" id="{61E29C5B-AC43-D181-E9E9-159B9A1C1E5B}"/>
              </a:ext>
            </a:extLst>
          </p:cNvPr>
          <p:cNvSpPr>
            <a:spLocks noGrp="1"/>
          </p:cNvSpPr>
          <p:nvPr>
            <p:ph type="body" sz="quarter" idx="65" hasCustomPrompt="1"/>
          </p:nvPr>
        </p:nvSpPr>
        <p:spPr>
          <a:xfrm>
            <a:off x="6057246" y="1319077"/>
            <a:ext cx="2578608" cy="658368"/>
          </a:xfrm>
          <a:prstGeom prst="round2SameRect">
            <a:avLst>
              <a:gd name="adj1" fmla="val 23992"/>
              <a:gd name="adj2" fmla="val 0"/>
            </a:avLst>
          </a:prstGeom>
          <a:solidFill>
            <a:schemeClr val="accent2"/>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31" name="Redondear rectángulo de esquina del mismo lado 3">
            <a:extLst>
              <a:ext uri="{FF2B5EF4-FFF2-40B4-BE49-F238E27FC236}">
                <a16:creationId xmlns:a16="http://schemas.microsoft.com/office/drawing/2014/main" id="{317F7A33-7BCF-7440-6CA5-898077648810}"/>
              </a:ext>
            </a:extLst>
          </p:cNvPr>
          <p:cNvSpPr/>
          <p:nvPr userDrawn="1"/>
        </p:nvSpPr>
        <p:spPr>
          <a:xfrm>
            <a:off x="6059664" y="1980643"/>
            <a:ext cx="2573772" cy="2270020"/>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32" name="Marcador de texto 30">
            <a:extLst>
              <a:ext uri="{FF2B5EF4-FFF2-40B4-BE49-F238E27FC236}">
                <a16:creationId xmlns:a16="http://schemas.microsoft.com/office/drawing/2014/main" id="{9BFAB518-94C2-C651-57D3-30101A609E29}"/>
              </a:ext>
            </a:extLst>
          </p:cNvPr>
          <p:cNvSpPr>
            <a:spLocks noGrp="1"/>
          </p:cNvSpPr>
          <p:nvPr>
            <p:ph type="body" sz="quarter" idx="66" hasCustomPrompt="1"/>
          </p:nvPr>
        </p:nvSpPr>
        <p:spPr>
          <a:xfrm>
            <a:off x="6125618" y="1580648"/>
            <a:ext cx="2441864" cy="279757"/>
          </a:xfrm>
        </p:spPr>
        <p:txBody>
          <a:bodyPr anchor="ctr" anchorCtr="0"/>
          <a:lstStyle>
            <a:lvl1pPr marL="0" indent="0" algn="ctr" rtl="0">
              <a:buNone/>
              <a:defRPr sz="1300" spc="100" baseline="0">
                <a:solidFill>
                  <a:schemeClr val="tx2"/>
                </a:solidFill>
              </a:defRPr>
            </a:lvl1pPr>
          </a:lstStyle>
          <a:p>
            <a:pPr lvl="0"/>
            <a:r>
              <a:rPr lang="en-US"/>
              <a:t>TITLE HERE</a:t>
            </a:r>
          </a:p>
        </p:txBody>
      </p:sp>
      <p:sp>
        <p:nvSpPr>
          <p:cNvPr id="33" name="Marcador de texto 51">
            <a:extLst>
              <a:ext uri="{FF2B5EF4-FFF2-40B4-BE49-F238E27FC236}">
                <a16:creationId xmlns:a16="http://schemas.microsoft.com/office/drawing/2014/main" id="{DBC74E61-E9A8-CA9C-9FF8-6444BCE256FE}"/>
              </a:ext>
            </a:extLst>
          </p:cNvPr>
          <p:cNvSpPr>
            <a:spLocks noGrp="1"/>
          </p:cNvSpPr>
          <p:nvPr>
            <p:ph type="body" sz="quarter" idx="67" hasCustomPrompt="1"/>
          </p:nvPr>
        </p:nvSpPr>
        <p:spPr>
          <a:xfrm>
            <a:off x="6210143" y="2047080"/>
            <a:ext cx="2272814" cy="2309479"/>
          </a:xfrm>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a:t>
            </a:r>
          </a:p>
        </p:txBody>
      </p:sp>
      <p:sp>
        <p:nvSpPr>
          <p:cNvPr id="34" name="Text Placeholder 6">
            <a:extLst>
              <a:ext uri="{FF2B5EF4-FFF2-40B4-BE49-F238E27FC236}">
                <a16:creationId xmlns:a16="http://schemas.microsoft.com/office/drawing/2014/main" id="{8E4F61F0-45F2-1BC1-40B8-AB0D337430AC}"/>
              </a:ext>
            </a:extLst>
          </p:cNvPr>
          <p:cNvSpPr>
            <a:spLocks noGrp="1"/>
          </p:cNvSpPr>
          <p:nvPr>
            <p:ph type="body" sz="quarter" idx="68" hasCustomPrompt="1"/>
          </p:nvPr>
        </p:nvSpPr>
        <p:spPr>
          <a:xfrm>
            <a:off x="6999078" y="788961"/>
            <a:ext cx="694944" cy="694944"/>
          </a:xfrm>
          <a:prstGeom prst="ellipse">
            <a:avLst/>
          </a:prstGeom>
          <a:solidFill>
            <a:schemeClr val="accent1"/>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Icon</a:t>
            </a:r>
          </a:p>
        </p:txBody>
      </p:sp>
      <p:sp>
        <p:nvSpPr>
          <p:cNvPr id="35" name="Marcador de texto 51">
            <a:extLst>
              <a:ext uri="{FF2B5EF4-FFF2-40B4-BE49-F238E27FC236}">
                <a16:creationId xmlns:a16="http://schemas.microsoft.com/office/drawing/2014/main" id="{27C935A6-D90B-B7C4-CF6F-993A2197739A}"/>
              </a:ext>
            </a:extLst>
          </p:cNvPr>
          <p:cNvSpPr>
            <a:spLocks noGrp="1"/>
          </p:cNvSpPr>
          <p:nvPr>
            <p:ph type="body" sz="quarter" idx="69" hasCustomPrompt="1"/>
          </p:nvPr>
        </p:nvSpPr>
        <p:spPr>
          <a:xfrm>
            <a:off x="3267916" y="1668223"/>
            <a:ext cx="2578608" cy="2688336"/>
          </a:xfrm>
          <a:prstGeom prst="round2SameRect">
            <a:avLst>
              <a:gd name="adj1" fmla="val 0"/>
              <a:gd name="adj2" fmla="val 7288"/>
            </a:avLst>
          </a:prstGeom>
          <a:solidFill>
            <a:schemeClr val="bg1"/>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36" name="Marcador de texto 51">
            <a:extLst>
              <a:ext uri="{FF2B5EF4-FFF2-40B4-BE49-F238E27FC236}">
                <a16:creationId xmlns:a16="http://schemas.microsoft.com/office/drawing/2014/main" id="{EB2862F4-BC43-C09F-C6ED-8E6049D96931}"/>
              </a:ext>
            </a:extLst>
          </p:cNvPr>
          <p:cNvSpPr>
            <a:spLocks noGrp="1"/>
          </p:cNvSpPr>
          <p:nvPr>
            <p:ph type="body" sz="quarter" idx="70" hasCustomPrompt="1"/>
          </p:nvPr>
        </p:nvSpPr>
        <p:spPr>
          <a:xfrm>
            <a:off x="3267916" y="1319077"/>
            <a:ext cx="2578608" cy="658368"/>
          </a:xfrm>
          <a:prstGeom prst="round2SameRect">
            <a:avLst>
              <a:gd name="adj1" fmla="val 23992"/>
              <a:gd name="adj2" fmla="val 0"/>
            </a:avLst>
          </a:prstGeom>
          <a:solidFill>
            <a:schemeClr val="accent2"/>
          </a:solidFill>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 </a:t>
            </a:r>
          </a:p>
        </p:txBody>
      </p:sp>
      <p:sp>
        <p:nvSpPr>
          <p:cNvPr id="37" name="Redondear rectángulo de esquina del mismo lado 3">
            <a:extLst>
              <a:ext uri="{FF2B5EF4-FFF2-40B4-BE49-F238E27FC236}">
                <a16:creationId xmlns:a16="http://schemas.microsoft.com/office/drawing/2014/main" id="{D4C2ABA3-FF2E-8430-EE72-5FE3F12405F8}"/>
              </a:ext>
            </a:extLst>
          </p:cNvPr>
          <p:cNvSpPr/>
          <p:nvPr userDrawn="1"/>
        </p:nvSpPr>
        <p:spPr>
          <a:xfrm>
            <a:off x="3270334" y="1980643"/>
            <a:ext cx="2573772" cy="2270020"/>
          </a:xfrm>
          <a:prstGeom prst="round2SameRect">
            <a:avLst>
              <a:gd name="adj1" fmla="val 0"/>
              <a:gd name="adj2" fmla="val 4925"/>
            </a:avLst>
          </a:prstGeom>
          <a:solidFill>
            <a:schemeClr val="bg1"/>
          </a:solidFill>
          <a:ln w="9525">
            <a:noFill/>
          </a:ln>
          <a:effectLst>
            <a:outerShdw blurRad="635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bg1"/>
              </a:solidFill>
              <a:ea typeface="+mn-ea"/>
              <a:cs typeface="Arial" pitchFamily="34" charset="0"/>
            </a:endParaRPr>
          </a:p>
        </p:txBody>
      </p:sp>
      <p:sp>
        <p:nvSpPr>
          <p:cNvPr id="38" name="Marcador de texto 30">
            <a:extLst>
              <a:ext uri="{FF2B5EF4-FFF2-40B4-BE49-F238E27FC236}">
                <a16:creationId xmlns:a16="http://schemas.microsoft.com/office/drawing/2014/main" id="{0A7A2D61-34EB-BDC9-503F-2F2481795566}"/>
              </a:ext>
            </a:extLst>
          </p:cNvPr>
          <p:cNvSpPr>
            <a:spLocks noGrp="1"/>
          </p:cNvSpPr>
          <p:nvPr>
            <p:ph type="body" sz="quarter" idx="71" hasCustomPrompt="1"/>
          </p:nvPr>
        </p:nvSpPr>
        <p:spPr>
          <a:xfrm>
            <a:off x="3336288" y="1580648"/>
            <a:ext cx="2441864" cy="279757"/>
          </a:xfrm>
        </p:spPr>
        <p:txBody>
          <a:bodyPr anchor="ctr" anchorCtr="0"/>
          <a:lstStyle>
            <a:lvl1pPr marL="0" indent="0" algn="ctr" rtl="0">
              <a:buNone/>
              <a:defRPr sz="1300" spc="100" baseline="0">
                <a:solidFill>
                  <a:schemeClr val="tx2"/>
                </a:solidFill>
              </a:defRPr>
            </a:lvl1pPr>
          </a:lstStyle>
          <a:p>
            <a:pPr lvl="0"/>
            <a:r>
              <a:rPr lang="en-US"/>
              <a:t>TITLE HERE</a:t>
            </a:r>
          </a:p>
        </p:txBody>
      </p:sp>
      <p:sp>
        <p:nvSpPr>
          <p:cNvPr id="39" name="Marcador de texto 51">
            <a:extLst>
              <a:ext uri="{FF2B5EF4-FFF2-40B4-BE49-F238E27FC236}">
                <a16:creationId xmlns:a16="http://schemas.microsoft.com/office/drawing/2014/main" id="{401E6ECB-807C-DFE7-6DD2-1EFA99967C3B}"/>
              </a:ext>
            </a:extLst>
          </p:cNvPr>
          <p:cNvSpPr>
            <a:spLocks noGrp="1"/>
          </p:cNvSpPr>
          <p:nvPr>
            <p:ph type="body" sz="quarter" idx="72" hasCustomPrompt="1"/>
          </p:nvPr>
        </p:nvSpPr>
        <p:spPr>
          <a:xfrm>
            <a:off x="3420813" y="2047080"/>
            <a:ext cx="2272814" cy="2309479"/>
          </a:xfrm>
        </p:spPr>
        <p:txBody>
          <a:bodyPr/>
          <a:lstStyle>
            <a:lvl1pPr marL="0" indent="0" rtl="0">
              <a:lnSpc>
                <a:spcPct val="130000"/>
              </a:lnSpc>
              <a:buNone/>
              <a:defRPr sz="900" b="0" i="0">
                <a:solidFill>
                  <a:srgbClr val="414244"/>
                </a:solidFill>
                <a:latin typeface="Lato" panose="020F0502020204030203" pitchFamily="34" charset="77"/>
                <a:ea typeface="Open Sans" pitchFamily="2" charset="0"/>
                <a:cs typeface="Open Sans" pitchFamily="2" charset="0"/>
              </a:defRPr>
            </a:lvl1pPr>
          </a:lstStyle>
          <a:p>
            <a:pPr marL="0" marR="0" lvl="0" indent="0" algn="l" defTabSz="1072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a:t>
            </a:r>
          </a:p>
        </p:txBody>
      </p:sp>
      <p:sp>
        <p:nvSpPr>
          <p:cNvPr id="40" name="Text Placeholder 6">
            <a:extLst>
              <a:ext uri="{FF2B5EF4-FFF2-40B4-BE49-F238E27FC236}">
                <a16:creationId xmlns:a16="http://schemas.microsoft.com/office/drawing/2014/main" id="{A6242645-B3BA-8CBB-DF76-58414C89E63F}"/>
              </a:ext>
            </a:extLst>
          </p:cNvPr>
          <p:cNvSpPr>
            <a:spLocks noGrp="1"/>
          </p:cNvSpPr>
          <p:nvPr>
            <p:ph type="body" sz="quarter" idx="73" hasCustomPrompt="1"/>
          </p:nvPr>
        </p:nvSpPr>
        <p:spPr>
          <a:xfrm>
            <a:off x="4209748" y="788961"/>
            <a:ext cx="694944" cy="694944"/>
          </a:xfrm>
          <a:prstGeom prst="ellipse">
            <a:avLst/>
          </a:prstGeom>
          <a:solidFill>
            <a:schemeClr val="accent1"/>
          </a:solidFill>
        </p:spPr>
        <p:txBody>
          <a:bodyPr anchor="ctr"/>
          <a:lstStyle>
            <a:lvl1pPr marL="0" indent="0" algn="ctr" rtl="0">
              <a:buNone/>
              <a:defRPr sz="1100" b="0" i="1">
                <a:solidFill>
                  <a:schemeClr val="bg1"/>
                </a:solidFill>
                <a:latin typeface="Lato Medium" panose="020F0502020204030203" pitchFamily="34" charset="77"/>
              </a:defRPr>
            </a:lvl1pPr>
          </a:lstStyle>
          <a:p>
            <a:pPr lvl="0"/>
            <a:r>
              <a:rPr lang="en-US"/>
              <a:t>Icon</a:t>
            </a:r>
          </a:p>
        </p:txBody>
      </p:sp>
      <p:sp>
        <p:nvSpPr>
          <p:cNvPr id="43" name="Google Shape;149;p16">
            <a:extLst>
              <a:ext uri="{FF2B5EF4-FFF2-40B4-BE49-F238E27FC236}">
                <a16:creationId xmlns:a16="http://schemas.microsoft.com/office/drawing/2014/main" id="{2813A01B-3592-E72A-32AB-C691463748B3}"/>
              </a:ext>
            </a:extLst>
          </p:cNvPr>
          <p:cNvSpPr/>
          <p:nvPr userDrawn="1"/>
        </p:nvSpPr>
        <p:spPr>
          <a:xfrm>
            <a:off x="-3265" y="-23643"/>
            <a:ext cx="9157775" cy="59436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44" name="Marcador de texto 28">
            <a:extLst>
              <a:ext uri="{FF2B5EF4-FFF2-40B4-BE49-F238E27FC236}">
                <a16:creationId xmlns:a16="http://schemas.microsoft.com/office/drawing/2014/main" id="{9CA14B31-62BE-C70E-8568-37A06A7143AC}"/>
              </a:ext>
            </a:extLst>
          </p:cNvPr>
          <p:cNvSpPr>
            <a:spLocks noGrp="1"/>
          </p:cNvSpPr>
          <p:nvPr>
            <p:ph type="body" sz="quarter" idx="27" hasCustomPrompt="1"/>
          </p:nvPr>
        </p:nvSpPr>
        <p:spPr>
          <a:xfrm>
            <a:off x="466344" y="58653"/>
            <a:ext cx="7763256" cy="429768"/>
          </a:xfrm>
        </p:spPr>
        <p:txBody>
          <a:bodyPr anchor="ctr" anchorCtr="0"/>
          <a:lstStyle>
            <a:lvl1pPr marL="0" indent="0" rtl="0">
              <a:buNone/>
              <a:defRPr sz="1400">
                <a:solidFill>
                  <a:schemeClr val="bg1"/>
                </a:solidFill>
              </a:defRPr>
            </a:lvl1pPr>
          </a:lstStyle>
          <a:p>
            <a:pPr marL="0" marR="0" lvl="0" indent="0" algn="l" defTabSz="10728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numbers</a:t>
            </a:r>
          </a:p>
        </p:txBody>
      </p:sp>
    </p:spTree>
    <p:extLst>
      <p:ext uri="{BB962C8B-B14F-4D97-AF65-F5344CB8AC3E}">
        <p14:creationId xmlns:p14="http://schemas.microsoft.com/office/powerpoint/2010/main" val="16739656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B07E96-0A3A-4578-92FB-3DE2F78DF300}"/>
              </a:ext>
            </a:extLst>
          </p:cNvPr>
          <p:cNvGraphicFramePr>
            <a:graphicFrameLocks noChangeAspect="1"/>
          </p:cNvGraphicFramePr>
          <p:nvPr>
            <p:custDataLst>
              <p:tags r:id="rId1"/>
            </p:custDataLst>
            <p:extLst>
              <p:ext uri="{D42A27DB-BD31-4B8C-83A1-F6EECF244321}">
                <p14:modId xmlns:p14="http://schemas.microsoft.com/office/powerpoint/2010/main" val="2180589147"/>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DB07E96-0A3A-4578-92FB-3DE2F78DF300}"/>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028B8AF-444E-4AD5-A6E3-D97BD19A901E}"/>
              </a:ext>
            </a:extLst>
          </p:cNvPr>
          <p:cNvSpPr>
            <a:spLocks noGrp="1"/>
          </p:cNvSpPr>
          <p:nvPr>
            <p:ph idx="1"/>
          </p:nvPr>
        </p:nvSpPr>
        <p:spPr>
          <a:xfrm>
            <a:off x="245853" y="983412"/>
            <a:ext cx="8637198" cy="3959525"/>
          </a:xfrm>
        </p:spPr>
        <p:txBody>
          <a:bodyPr>
            <a:normAutofit/>
          </a:bodyPr>
          <a:lstStyle>
            <a:lvl1pPr>
              <a:defRPr sz="1800"/>
            </a:lvl1pPr>
            <a:lvl2pPr>
              <a:defRPr sz="1500"/>
            </a:lvl2pPr>
            <a:lvl3pPr>
              <a:defRPr sz="135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Google Shape;149;p16">
            <a:extLst>
              <a:ext uri="{FF2B5EF4-FFF2-40B4-BE49-F238E27FC236}">
                <a16:creationId xmlns:a16="http://schemas.microsoft.com/office/drawing/2014/main" id="{57444038-213D-1C32-3BFD-25F7DC707494}"/>
              </a:ext>
            </a:extLst>
          </p:cNvPr>
          <p:cNvSpPr/>
          <p:nvPr userDrawn="1"/>
        </p:nvSpPr>
        <p:spPr>
          <a:xfrm>
            <a:off x="-3265" y="-23643"/>
            <a:ext cx="9157775" cy="59436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6" name="Marcador de texto 28">
            <a:extLst>
              <a:ext uri="{FF2B5EF4-FFF2-40B4-BE49-F238E27FC236}">
                <a16:creationId xmlns:a16="http://schemas.microsoft.com/office/drawing/2014/main" id="{D1D2EA27-7CA8-04E8-9347-ECD6B839687E}"/>
              </a:ext>
            </a:extLst>
          </p:cNvPr>
          <p:cNvSpPr>
            <a:spLocks noGrp="1"/>
          </p:cNvSpPr>
          <p:nvPr>
            <p:ph type="body" sz="quarter" idx="27" hasCustomPrompt="1"/>
          </p:nvPr>
        </p:nvSpPr>
        <p:spPr>
          <a:xfrm>
            <a:off x="206574" y="58653"/>
            <a:ext cx="8676477" cy="429768"/>
          </a:xfrm>
        </p:spPr>
        <p:txBody>
          <a:bodyPr anchor="ctr" anchorCtr="0"/>
          <a:lstStyle>
            <a:lvl1pPr marL="0" indent="0" rtl="0">
              <a:buNone/>
              <a:defRPr sz="1400" b="1">
                <a:solidFill>
                  <a:schemeClr val="bg1"/>
                </a:solidFill>
              </a:defRPr>
            </a:lvl1pPr>
          </a:lstStyle>
          <a:p>
            <a:pPr marL="0" marR="0" lvl="0" indent="0" algn="l" defTabSz="10728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numbers</a:t>
            </a:r>
          </a:p>
        </p:txBody>
      </p:sp>
      <p:sp>
        <p:nvSpPr>
          <p:cNvPr id="17" name="Slide Number Placeholder 5">
            <a:extLst>
              <a:ext uri="{FF2B5EF4-FFF2-40B4-BE49-F238E27FC236}">
                <a16:creationId xmlns:a16="http://schemas.microsoft.com/office/drawing/2014/main" id="{521F7AAD-9078-B5B4-0558-E8D0362AF267}"/>
              </a:ext>
            </a:extLst>
          </p:cNvPr>
          <p:cNvSpPr>
            <a:spLocks noGrp="1"/>
          </p:cNvSpPr>
          <p:nvPr>
            <p:ph type="sldNum" sz="quarter" idx="4294967295"/>
          </p:nvPr>
        </p:nvSpPr>
        <p:spPr>
          <a:xfrm>
            <a:off x="8729560" y="4911474"/>
            <a:ext cx="342581" cy="96296"/>
          </a:xfrm>
          <a:prstGeom prst="rect">
            <a:avLst/>
          </a:prstGeom>
        </p:spPr>
        <p:txBody>
          <a:bodyPr anchor="ctr" anchorCtr="0"/>
          <a:lstStyle>
            <a:lvl1pPr rtl="0">
              <a:defRPr>
                <a:solidFill>
                  <a:schemeClr val="tx1"/>
                </a:solidFill>
              </a:defRPr>
            </a:lvl1pPr>
          </a:lstStyle>
          <a:p>
            <a:fld id="{A90607E6-BCED-4FC1-A345-AB2A307AB80F}" type="slidenum">
              <a:rPr lang="en-US" sz="700" b="1" smtClean="0"/>
              <a:pPr/>
              <a:t>‹#›</a:t>
            </a:fld>
            <a:endParaRPr lang="en-US" b="1"/>
          </a:p>
        </p:txBody>
      </p:sp>
    </p:spTree>
    <p:extLst>
      <p:ext uri="{BB962C8B-B14F-4D97-AF65-F5344CB8AC3E}">
        <p14:creationId xmlns:p14="http://schemas.microsoft.com/office/powerpoint/2010/main" val="40257756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B07E96-0A3A-4578-92FB-3DE2F78DF300}"/>
              </a:ext>
            </a:extLst>
          </p:cNvPr>
          <p:cNvGraphicFramePr>
            <a:graphicFrameLocks noChangeAspect="1"/>
          </p:cNvGraphicFramePr>
          <p:nvPr>
            <p:custDataLst>
              <p:tags r:id="rId1"/>
            </p:custDataLst>
            <p:extLst>
              <p:ext uri="{D42A27DB-BD31-4B8C-83A1-F6EECF244321}">
                <p14:modId xmlns:p14="http://schemas.microsoft.com/office/powerpoint/2010/main" val="2180589147"/>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DB07E96-0A3A-4578-92FB-3DE2F78DF300}"/>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028B8AF-444E-4AD5-A6E3-D97BD19A901E}"/>
              </a:ext>
            </a:extLst>
          </p:cNvPr>
          <p:cNvSpPr>
            <a:spLocks noGrp="1"/>
          </p:cNvSpPr>
          <p:nvPr>
            <p:ph idx="1"/>
          </p:nvPr>
        </p:nvSpPr>
        <p:spPr>
          <a:xfrm>
            <a:off x="245853" y="983412"/>
            <a:ext cx="8637198" cy="3959525"/>
          </a:xfrm>
        </p:spPr>
        <p:txBody>
          <a:bodyPr>
            <a:normAutofit/>
          </a:bodyPr>
          <a:lstStyle>
            <a:lvl1pPr>
              <a:defRPr sz="1800"/>
            </a:lvl1pPr>
            <a:lvl2pPr>
              <a:defRPr sz="1500"/>
            </a:lvl2pPr>
            <a:lvl3pPr>
              <a:defRPr sz="135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Google Shape;149;p16">
            <a:extLst>
              <a:ext uri="{FF2B5EF4-FFF2-40B4-BE49-F238E27FC236}">
                <a16:creationId xmlns:a16="http://schemas.microsoft.com/office/drawing/2014/main" id="{57444038-213D-1C32-3BFD-25F7DC707494}"/>
              </a:ext>
            </a:extLst>
          </p:cNvPr>
          <p:cNvSpPr/>
          <p:nvPr userDrawn="1"/>
        </p:nvSpPr>
        <p:spPr>
          <a:xfrm>
            <a:off x="-3265" y="-23643"/>
            <a:ext cx="9157775" cy="59436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a:p>
        </p:txBody>
      </p:sp>
      <p:sp>
        <p:nvSpPr>
          <p:cNvPr id="6" name="Marcador de texto 28">
            <a:extLst>
              <a:ext uri="{FF2B5EF4-FFF2-40B4-BE49-F238E27FC236}">
                <a16:creationId xmlns:a16="http://schemas.microsoft.com/office/drawing/2014/main" id="{D1D2EA27-7CA8-04E8-9347-ECD6B839687E}"/>
              </a:ext>
            </a:extLst>
          </p:cNvPr>
          <p:cNvSpPr>
            <a:spLocks noGrp="1"/>
          </p:cNvSpPr>
          <p:nvPr>
            <p:ph type="body" sz="quarter" idx="27" hasCustomPrompt="1"/>
          </p:nvPr>
        </p:nvSpPr>
        <p:spPr>
          <a:xfrm>
            <a:off x="206574" y="58653"/>
            <a:ext cx="8676477" cy="429768"/>
          </a:xfrm>
        </p:spPr>
        <p:txBody>
          <a:bodyPr anchor="ctr" anchorCtr="0"/>
          <a:lstStyle>
            <a:lvl1pPr marL="0" indent="0" rtl="0">
              <a:buNone/>
              <a:defRPr sz="1400" b="1">
                <a:solidFill>
                  <a:schemeClr val="bg1"/>
                </a:solidFill>
              </a:defRPr>
            </a:lvl1pPr>
          </a:lstStyle>
          <a:p>
            <a:pPr marL="0" marR="0" lvl="0" indent="0" algn="l" defTabSz="10728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slide shows a section tracker based on numbers</a:t>
            </a:r>
          </a:p>
        </p:txBody>
      </p:sp>
      <p:sp>
        <p:nvSpPr>
          <p:cNvPr id="17" name="Slide Number Placeholder 5">
            <a:extLst>
              <a:ext uri="{FF2B5EF4-FFF2-40B4-BE49-F238E27FC236}">
                <a16:creationId xmlns:a16="http://schemas.microsoft.com/office/drawing/2014/main" id="{521F7AAD-9078-B5B4-0558-E8D0362AF267}"/>
              </a:ext>
            </a:extLst>
          </p:cNvPr>
          <p:cNvSpPr>
            <a:spLocks noGrp="1"/>
          </p:cNvSpPr>
          <p:nvPr>
            <p:ph type="sldNum" sz="quarter" idx="4294967295"/>
          </p:nvPr>
        </p:nvSpPr>
        <p:spPr>
          <a:xfrm>
            <a:off x="8729560" y="4911474"/>
            <a:ext cx="342581" cy="96296"/>
          </a:xfrm>
          <a:prstGeom prst="rect">
            <a:avLst/>
          </a:prstGeom>
        </p:spPr>
        <p:txBody>
          <a:bodyPr anchor="ctr" anchorCtr="0"/>
          <a:lstStyle>
            <a:lvl1pPr rtl="0">
              <a:defRPr>
                <a:solidFill>
                  <a:schemeClr val="tx1"/>
                </a:solidFill>
              </a:defRPr>
            </a:lvl1pPr>
          </a:lstStyle>
          <a:p>
            <a:fld id="{A90607E6-BCED-4FC1-A345-AB2A307AB80F}" type="slidenum">
              <a:rPr lang="en-US" sz="700" b="1" smtClean="0"/>
              <a:pPr/>
              <a:t>‹#›</a:t>
            </a:fld>
            <a:endParaRPr lang="en-US" b="1"/>
          </a:p>
        </p:txBody>
      </p:sp>
    </p:spTree>
    <p:extLst>
      <p:ext uri="{BB962C8B-B14F-4D97-AF65-F5344CB8AC3E}">
        <p14:creationId xmlns:p14="http://schemas.microsoft.com/office/powerpoint/2010/main" val="3669532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7501DB0-98D4-4D5D-96E5-4FF12B9D4946}"/>
              </a:ext>
            </a:extLst>
          </p:cNvPr>
          <p:cNvGraphicFramePr>
            <a:graphicFrameLocks noChangeAspect="1"/>
          </p:cNvGraphicFramePr>
          <p:nvPr>
            <p:custDataLst>
              <p:tags r:id="rId1"/>
            </p:custDataLst>
            <p:extLst>
              <p:ext uri="{D42A27DB-BD31-4B8C-83A1-F6EECF244321}">
                <p14:modId xmlns:p14="http://schemas.microsoft.com/office/powerpoint/2010/main" val="1554159411"/>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E7501DB0-98D4-4D5D-96E5-4FF12B9D494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3B1906-C91E-41C5-843F-FA6E7723B624}"/>
              </a:ext>
            </a:extLst>
          </p:cNvPr>
          <p:cNvSpPr>
            <a:spLocks noGrp="1"/>
          </p:cNvSpPr>
          <p:nvPr>
            <p:ph type="title"/>
          </p:nvPr>
        </p:nvSpPr>
        <p:spPr>
          <a:xfrm>
            <a:off x="623888" y="1282305"/>
            <a:ext cx="7886700" cy="2139553"/>
          </a:xfrm>
        </p:spPr>
        <p:txBody>
          <a:bodyPr vert="horz"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30B04FF6-E014-4E2E-9D1E-199DA761983A}"/>
              </a:ext>
            </a:extLst>
          </p:cNvPr>
          <p:cNvSpPr>
            <a:spLocks noGrp="1"/>
          </p:cNvSpPr>
          <p:nvPr>
            <p:ph type="body" idx="1"/>
          </p:nvPr>
        </p:nvSpPr>
        <p:spPr>
          <a:xfrm>
            <a:off x="623888" y="3442099"/>
            <a:ext cx="7886700" cy="1125140"/>
          </a:xfrm>
        </p:spPr>
        <p:txBody>
          <a:bodyPr/>
          <a:lstStyle>
            <a:lvl1pPr marL="0" indent="0">
              <a:buNone/>
              <a:defRPr sz="1800">
                <a:solidFill>
                  <a:schemeClr val="tx1">
                    <a:tint val="75000"/>
                  </a:schemeClr>
                </a:solidFill>
              </a:defRPr>
            </a:lvl1pPr>
            <a:lvl2pPr marL="342892" indent="0">
              <a:buNone/>
              <a:defRPr sz="1500">
                <a:solidFill>
                  <a:schemeClr val="tx1">
                    <a:tint val="75000"/>
                  </a:schemeClr>
                </a:solidFill>
              </a:defRPr>
            </a:lvl2pPr>
            <a:lvl3pPr marL="685783"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7A6508E-1A60-44F5-B17B-D8BC8D0F1D1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CD309AB-C928-45A4-A6A3-C2985DF1DE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18E9A4-C9FD-47E1-89EF-46BC191E6BC5}"/>
              </a:ext>
            </a:extLst>
          </p:cNvPr>
          <p:cNvSpPr>
            <a:spLocks noGrp="1"/>
          </p:cNvSpPr>
          <p:nvPr>
            <p:ph type="sldNum" sz="quarter" idx="12"/>
          </p:nvPr>
        </p:nvSpPr>
        <p:spPr/>
        <p:txBody>
          <a:bodyPr/>
          <a:lstStyle/>
          <a:p>
            <a:fld id="{A90607E6-BCED-4FC1-A345-AB2A307AB80F}" type="slidenum">
              <a:rPr lang="en-US" sz="700" b="1" smtClean="0"/>
              <a:pPr/>
              <a:t>‹#›</a:t>
            </a:fld>
            <a:endParaRPr lang="en-US" b="1"/>
          </a:p>
        </p:txBody>
      </p:sp>
    </p:spTree>
    <p:extLst>
      <p:ext uri="{BB962C8B-B14F-4D97-AF65-F5344CB8AC3E}">
        <p14:creationId xmlns:p14="http://schemas.microsoft.com/office/powerpoint/2010/main" val="5958477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F1D8909-BE00-4C82-AD0E-37E2BCE62E80}"/>
              </a:ext>
            </a:extLst>
          </p:cNvPr>
          <p:cNvGraphicFramePr>
            <a:graphicFrameLocks noChangeAspect="1"/>
          </p:cNvGraphicFramePr>
          <p:nvPr>
            <p:custDataLst>
              <p:tags r:id="rId1"/>
            </p:custDataLst>
            <p:extLst>
              <p:ext uri="{D42A27DB-BD31-4B8C-83A1-F6EECF244321}">
                <p14:modId xmlns:p14="http://schemas.microsoft.com/office/powerpoint/2010/main" val="1320985589"/>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BF1D8909-BE00-4C82-AD0E-37E2BCE62E80}"/>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6726C7-E2CB-4718-9AAA-4B8F82750606}"/>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DC3E2CD6-8A0E-41FB-A7F7-BD6601FD7D76}"/>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CFB5030-1EF9-43AE-A740-11730C7CCF37}"/>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6FC4477-14B3-4C94-86C2-AE5B2553BC9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A4A138EE-CB32-4AC3-96F5-7D7CC812D7C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E95BA7-654C-44FC-BA29-C2C5C396B604}"/>
              </a:ext>
            </a:extLst>
          </p:cNvPr>
          <p:cNvSpPr>
            <a:spLocks noGrp="1"/>
          </p:cNvSpPr>
          <p:nvPr>
            <p:ph type="sldNum" sz="quarter" idx="12"/>
          </p:nvPr>
        </p:nvSpPr>
        <p:spPr/>
        <p:txBody>
          <a:bodyPr/>
          <a:lstStyle/>
          <a:p>
            <a:fld id="{A90607E6-BCED-4FC1-A345-AB2A307AB80F}" type="slidenum">
              <a:rPr lang="en-US" sz="700" b="1" smtClean="0"/>
              <a:pPr/>
              <a:t>‹#›</a:t>
            </a:fld>
            <a:endParaRPr lang="en-US" b="1"/>
          </a:p>
        </p:txBody>
      </p:sp>
    </p:spTree>
    <p:extLst>
      <p:ext uri="{BB962C8B-B14F-4D97-AF65-F5344CB8AC3E}">
        <p14:creationId xmlns:p14="http://schemas.microsoft.com/office/powerpoint/2010/main" val="1897770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2276356-DB55-42A8-B5A2-D723C1DD4D68}"/>
              </a:ext>
            </a:extLst>
          </p:cNvPr>
          <p:cNvGraphicFramePr>
            <a:graphicFrameLocks noChangeAspect="1"/>
          </p:cNvGraphicFramePr>
          <p:nvPr>
            <p:custDataLst>
              <p:tags r:id="rId1"/>
            </p:custDataLst>
            <p:extLst>
              <p:ext uri="{D42A27DB-BD31-4B8C-83A1-F6EECF244321}">
                <p14:modId xmlns:p14="http://schemas.microsoft.com/office/powerpoint/2010/main" val="196399738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1" name="Object 10" hidden="1">
                        <a:extLst>
                          <a:ext uri="{FF2B5EF4-FFF2-40B4-BE49-F238E27FC236}">
                            <a16:creationId xmlns:a16="http://schemas.microsoft.com/office/drawing/2014/main" id="{22276356-DB55-42A8-B5A2-D723C1DD4D68}"/>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7BC32E-FB9B-465C-85F8-8FF685A70477}"/>
              </a:ext>
            </a:extLst>
          </p:cNvPr>
          <p:cNvSpPr>
            <a:spLocks noGrp="1"/>
          </p:cNvSpPr>
          <p:nvPr>
            <p:ph type="title"/>
          </p:nvPr>
        </p:nvSpPr>
        <p:spPr>
          <a:xfrm>
            <a:off x="629841" y="273844"/>
            <a:ext cx="7886700" cy="994172"/>
          </a:xfrm>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EE60F4C2-3DF2-4395-91C4-DFA7F6A86AA6}"/>
              </a:ext>
            </a:extLst>
          </p:cNvPr>
          <p:cNvSpPr>
            <a:spLocks noGrp="1"/>
          </p:cNvSpPr>
          <p:nvPr>
            <p:ph type="body" idx="1"/>
          </p:nvPr>
        </p:nvSpPr>
        <p:spPr>
          <a:xfrm>
            <a:off x="629842" y="1260872"/>
            <a:ext cx="3868340" cy="617934"/>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EC1A6FA4-E267-4598-B7BC-3333869FA96F}"/>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7BE43F6-47DC-4B71-AD24-023435F8E27A}"/>
              </a:ext>
            </a:extLst>
          </p:cNvPr>
          <p:cNvSpPr>
            <a:spLocks noGrp="1"/>
          </p:cNvSpPr>
          <p:nvPr>
            <p:ph type="body" sz="quarter" idx="3"/>
          </p:nvPr>
        </p:nvSpPr>
        <p:spPr>
          <a:xfrm>
            <a:off x="4629151" y="1260872"/>
            <a:ext cx="3887391" cy="617934"/>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257F35F6-7F7C-4EF7-8071-6013FBD37D7C}"/>
              </a:ext>
            </a:extLst>
          </p:cNvPr>
          <p:cNvSpPr>
            <a:spLocks noGrp="1"/>
          </p:cNvSpPr>
          <p:nvPr>
            <p:ph sz="quarter" idx="4"/>
          </p:nvPr>
        </p:nvSpPr>
        <p:spPr>
          <a:xfrm>
            <a:off x="4629151"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46BEF32-5FDC-4B58-B330-611611DEB234}"/>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17219FB1-5B7F-439B-A5CB-67157A324F2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9541FD4-61FA-42A9-81B0-579AE002AABD}"/>
              </a:ext>
            </a:extLst>
          </p:cNvPr>
          <p:cNvSpPr>
            <a:spLocks noGrp="1"/>
          </p:cNvSpPr>
          <p:nvPr>
            <p:ph type="sldNum" sz="quarter" idx="12"/>
          </p:nvPr>
        </p:nvSpPr>
        <p:spPr/>
        <p:txBody>
          <a:bodyPr/>
          <a:lstStyle/>
          <a:p>
            <a:fld id="{A90607E6-BCED-4FC1-A345-AB2A307AB80F}" type="slidenum">
              <a:rPr lang="en-US" sz="700" b="1" smtClean="0"/>
              <a:pPr/>
              <a:t>‹#›</a:t>
            </a:fld>
            <a:endParaRPr lang="en-US" b="1"/>
          </a:p>
        </p:txBody>
      </p:sp>
    </p:spTree>
    <p:extLst>
      <p:ext uri="{BB962C8B-B14F-4D97-AF65-F5344CB8AC3E}">
        <p14:creationId xmlns:p14="http://schemas.microsoft.com/office/powerpoint/2010/main" val="149928599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B6E614-B5A4-4D43-A4FE-982C4C82491A}"/>
              </a:ext>
            </a:extLst>
          </p:cNvPr>
          <p:cNvGraphicFramePr>
            <a:graphicFrameLocks noChangeAspect="1"/>
          </p:cNvGraphicFramePr>
          <p:nvPr>
            <p:custDataLst>
              <p:tags r:id="rId47"/>
            </p:custDataLst>
            <p:extLst>
              <p:ext uri="{D42A27DB-BD31-4B8C-83A1-F6EECF244321}">
                <p14:modId xmlns:p14="http://schemas.microsoft.com/office/powerpoint/2010/main" val="2512364995"/>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8" imgW="592" imgH="595" progId="TCLayout.ActiveDocument.1">
                  <p:embed/>
                </p:oleObj>
              </mc:Choice>
              <mc:Fallback>
                <p:oleObj name="think-cell Slide" r:id="rId48" imgW="592" imgH="595" progId="TCLayout.ActiveDocument.1">
                  <p:embed/>
                  <p:pic>
                    <p:nvPicPr>
                      <p:cNvPr id="8" name="Object 7" hidden="1">
                        <a:extLst>
                          <a:ext uri="{FF2B5EF4-FFF2-40B4-BE49-F238E27FC236}">
                            <a16:creationId xmlns:a16="http://schemas.microsoft.com/office/drawing/2014/main" id="{CDB6E614-B5A4-4D43-A4FE-982C4C82491A}"/>
                          </a:ext>
                        </a:extLst>
                      </p:cNvPr>
                      <p:cNvPicPr/>
                      <p:nvPr/>
                    </p:nvPicPr>
                    <p:blipFill>
                      <a:blip r:embed="rId49"/>
                      <a:stretch>
                        <a:fillRect/>
                      </a:stretch>
                    </p:blipFill>
                    <p:spPr>
                      <a:xfrm>
                        <a:off x="1192" y="1192"/>
                        <a:ext cx="1191" cy="1191"/>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D0A6BA6-43FC-41F0-A736-189FFDD01298}"/>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48EC337-396B-446E-885A-09F3CFD2A9BA}"/>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6654CD-F122-4618-A88A-B2ADE015D0A8}"/>
              </a:ext>
            </a:extLst>
          </p:cNvPr>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498D8DEF-C010-478D-9372-A22BCA73E659}"/>
              </a:ext>
            </a:extLst>
          </p:cNvPr>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C014A8E-14B0-4591-90BA-AA4AA2A2E296}"/>
              </a:ext>
            </a:extLst>
          </p:cNvPr>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A90607E6-BCED-4FC1-A345-AB2A307AB80F}" type="slidenum">
              <a:rPr lang="en-US" sz="700" b="1" smtClean="0"/>
              <a:pPr/>
              <a:t>‹#›</a:t>
            </a:fld>
            <a:endParaRPr lang="en-US" b="1"/>
          </a:p>
        </p:txBody>
      </p:sp>
    </p:spTree>
    <p:extLst>
      <p:ext uri="{BB962C8B-B14F-4D97-AF65-F5344CB8AC3E}">
        <p14:creationId xmlns:p14="http://schemas.microsoft.com/office/powerpoint/2010/main" val="1017241721"/>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82" r:id="rId3"/>
    <p:sldLayoutId id="2147483779" r:id="rId4"/>
    <p:sldLayoutId id="2147483780" r:id="rId5"/>
    <p:sldLayoutId id="2147483781"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648" r:id="rId16"/>
    <p:sldLayoutId id="2147483655" r:id="rId17"/>
    <p:sldLayoutId id="2147483652" r:id="rId18"/>
    <p:sldLayoutId id="2147483658" r:id="rId19"/>
    <p:sldLayoutId id="2147483665" r:id="rId20"/>
    <p:sldLayoutId id="2147483673" r:id="rId21"/>
    <p:sldLayoutId id="2147483678" r:id="rId22"/>
    <p:sldLayoutId id="2147483679" r:id="rId23"/>
    <p:sldLayoutId id="2147483680" r:id="rId24"/>
    <p:sldLayoutId id="2147483681" r:id="rId25"/>
    <p:sldLayoutId id="2147483682" r:id="rId26"/>
    <p:sldLayoutId id="2147483683" r:id="rId27"/>
    <p:sldLayoutId id="2147483684" r:id="rId28"/>
    <p:sldLayoutId id="2147483745" r:id="rId29"/>
    <p:sldLayoutId id="2147483746" r:id="rId30"/>
    <p:sldLayoutId id="2147483747" r:id="rId31"/>
    <p:sldLayoutId id="2147483685" r:id="rId32"/>
    <p:sldLayoutId id="2147483686" r:id="rId33"/>
    <p:sldLayoutId id="2147483687" r:id="rId34"/>
    <p:sldLayoutId id="2147483757" r:id="rId35"/>
    <p:sldLayoutId id="2147483760" r:id="rId36"/>
    <p:sldLayoutId id="2147483758" r:id="rId37"/>
    <p:sldLayoutId id="2147483759" r:id="rId38"/>
    <p:sldLayoutId id="2147483752" r:id="rId39"/>
    <p:sldLayoutId id="2147483719" r:id="rId40"/>
    <p:sldLayoutId id="2147483720" r:id="rId41"/>
    <p:sldLayoutId id="2147483721" r:id="rId42"/>
    <p:sldLayoutId id="2147483722" r:id="rId43"/>
    <p:sldLayoutId id="2147483723" r:id="rId44"/>
    <p:sldLayoutId id="2147483783" r:id="rId45"/>
  </p:sldLayoutIdLst>
  <p:hf hdr="0" ftr="0" dt="0"/>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18.xml"/><Relationship Id="rId1" Type="http://schemas.openxmlformats.org/officeDocument/2006/relationships/tags" Target="../tags/tag47.xml"/><Relationship Id="rId4" Type="http://schemas.openxmlformats.org/officeDocument/2006/relationships/image" Target="../media/image176.emf"/></Relationships>
</file>

<file path=ppt/slides/_rels/slide10.xml.rels><?xml version="1.0" encoding="UTF-8" standalone="yes"?>
<Relationships xmlns="http://schemas.openxmlformats.org/package/2006/relationships"><Relationship Id="rId2" Type="http://schemas.openxmlformats.org/officeDocument/2006/relationships/image" Target="../media/image20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3" Type="http://schemas.openxmlformats.org/officeDocument/2006/relationships/image" Target="../media/image184.png"/><Relationship Id="rId18" Type="http://schemas.openxmlformats.org/officeDocument/2006/relationships/image" Target="../media/image189.jpeg"/><Relationship Id="rId26" Type="http://schemas.openxmlformats.org/officeDocument/2006/relationships/image" Target="../media/image197.jpeg"/><Relationship Id="rId3" Type="http://schemas.openxmlformats.org/officeDocument/2006/relationships/oleObject" Target="../embeddings/oleObject41.bin"/><Relationship Id="rId21" Type="http://schemas.openxmlformats.org/officeDocument/2006/relationships/image" Target="../media/image192.jpeg"/><Relationship Id="rId34" Type="http://schemas.openxmlformats.org/officeDocument/2006/relationships/image" Target="../media/image205.jpeg"/><Relationship Id="rId7" Type="http://schemas.openxmlformats.org/officeDocument/2006/relationships/image" Target="../media/image178.svg"/><Relationship Id="rId12" Type="http://schemas.openxmlformats.org/officeDocument/2006/relationships/image" Target="../media/image183.jpeg"/><Relationship Id="rId17" Type="http://schemas.openxmlformats.org/officeDocument/2006/relationships/image" Target="../media/image188.png"/><Relationship Id="rId25" Type="http://schemas.openxmlformats.org/officeDocument/2006/relationships/image" Target="../media/image196.png"/><Relationship Id="rId33" Type="http://schemas.openxmlformats.org/officeDocument/2006/relationships/image" Target="../media/image204.png"/><Relationship Id="rId2" Type="http://schemas.openxmlformats.org/officeDocument/2006/relationships/slideLayout" Target="../slideLayouts/slideLayout2.xml"/><Relationship Id="rId16" Type="http://schemas.openxmlformats.org/officeDocument/2006/relationships/image" Target="../media/image187.png"/><Relationship Id="rId20" Type="http://schemas.openxmlformats.org/officeDocument/2006/relationships/image" Target="../media/image191.jpeg"/><Relationship Id="rId29" Type="http://schemas.openxmlformats.org/officeDocument/2006/relationships/image" Target="../media/image200.png"/><Relationship Id="rId1" Type="http://schemas.openxmlformats.org/officeDocument/2006/relationships/tags" Target="../tags/tag48.xml"/><Relationship Id="rId6" Type="http://schemas.microsoft.com/office/2007/relationships/hdphoto" Target="../media/hdphoto1.wdp"/><Relationship Id="rId11" Type="http://schemas.openxmlformats.org/officeDocument/2006/relationships/image" Target="../media/image182.png"/><Relationship Id="rId24" Type="http://schemas.openxmlformats.org/officeDocument/2006/relationships/image" Target="../media/image195.png"/><Relationship Id="rId32" Type="http://schemas.openxmlformats.org/officeDocument/2006/relationships/image" Target="../media/image203.png"/><Relationship Id="rId5" Type="http://schemas.openxmlformats.org/officeDocument/2006/relationships/image" Target="../media/image177.png"/><Relationship Id="rId15" Type="http://schemas.openxmlformats.org/officeDocument/2006/relationships/image" Target="../media/image186.png"/><Relationship Id="rId23" Type="http://schemas.openxmlformats.org/officeDocument/2006/relationships/image" Target="../media/image194.png"/><Relationship Id="rId28" Type="http://schemas.openxmlformats.org/officeDocument/2006/relationships/image" Target="../media/image199.png"/><Relationship Id="rId10" Type="http://schemas.openxmlformats.org/officeDocument/2006/relationships/image" Target="../media/image181.jpeg"/><Relationship Id="rId19" Type="http://schemas.openxmlformats.org/officeDocument/2006/relationships/image" Target="../media/image190.jpeg"/><Relationship Id="rId31" Type="http://schemas.openxmlformats.org/officeDocument/2006/relationships/image" Target="../media/image202.png"/><Relationship Id="rId4" Type="http://schemas.openxmlformats.org/officeDocument/2006/relationships/image" Target="../media/image176.emf"/><Relationship Id="rId9" Type="http://schemas.openxmlformats.org/officeDocument/2006/relationships/image" Target="../media/image180.png"/><Relationship Id="rId14" Type="http://schemas.openxmlformats.org/officeDocument/2006/relationships/image" Target="../media/image185.png"/><Relationship Id="rId22" Type="http://schemas.openxmlformats.org/officeDocument/2006/relationships/image" Target="../media/image193.png"/><Relationship Id="rId27" Type="http://schemas.openxmlformats.org/officeDocument/2006/relationships/image" Target="../media/image198.png"/><Relationship Id="rId30" Type="http://schemas.openxmlformats.org/officeDocument/2006/relationships/image" Target="../media/image201.png"/><Relationship Id="rId35" Type="http://schemas.openxmlformats.org/officeDocument/2006/relationships/image" Target="../media/image206.jpeg"/><Relationship Id="rId8" Type="http://schemas.openxmlformats.org/officeDocument/2006/relationships/image" Target="../media/image179.png"/></Relationships>
</file>

<file path=ppt/slides/_rels/slide3.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notesSlide" Target="../notesSlides/notesSlide1.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slideLayout" Target="../slideLayouts/slideLayout4.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image" Target="../media/image203.png"/><Relationship Id="rId10" Type="http://schemas.openxmlformats.org/officeDocument/2006/relationships/tags" Target="../tags/tag58.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chart" Target="../charts/chart1.xml"/></Relationships>
</file>

<file path=ppt/slides/_rels/slide4.xml.rels><?xml version="1.0" encoding="UTF-8" standalone="yes"?>
<Relationships xmlns="http://schemas.openxmlformats.org/package/2006/relationships"><Relationship Id="rId8" Type="http://schemas.openxmlformats.org/officeDocument/2006/relationships/image" Target="../media/image209.svg"/><Relationship Id="rId13" Type="http://schemas.openxmlformats.org/officeDocument/2006/relationships/image" Target="../media/image214.png"/><Relationship Id="rId3" Type="http://schemas.openxmlformats.org/officeDocument/2006/relationships/oleObject" Target="../embeddings/oleObject42.bin"/><Relationship Id="rId7" Type="http://schemas.openxmlformats.org/officeDocument/2006/relationships/image" Target="../media/image208.svg"/><Relationship Id="rId12" Type="http://schemas.openxmlformats.org/officeDocument/2006/relationships/image" Target="../media/image213.svg"/><Relationship Id="rId2" Type="http://schemas.openxmlformats.org/officeDocument/2006/relationships/slideLayout" Target="../slideLayouts/slideLayout5.xml"/><Relationship Id="rId1" Type="http://schemas.openxmlformats.org/officeDocument/2006/relationships/tags" Target="../tags/tag60.xml"/><Relationship Id="rId6" Type="http://schemas.openxmlformats.org/officeDocument/2006/relationships/image" Target="../media/image207.svg"/><Relationship Id="rId11" Type="http://schemas.openxmlformats.org/officeDocument/2006/relationships/image" Target="../media/image212.svg"/><Relationship Id="rId5" Type="http://schemas.openxmlformats.org/officeDocument/2006/relationships/image" Target="../media/image203.png"/><Relationship Id="rId10" Type="http://schemas.openxmlformats.org/officeDocument/2006/relationships/image" Target="../media/image211.svg"/><Relationship Id="rId4" Type="http://schemas.openxmlformats.org/officeDocument/2006/relationships/image" Target="../media/image176.emf"/><Relationship Id="rId9" Type="http://schemas.openxmlformats.org/officeDocument/2006/relationships/image" Target="../media/image210.sv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3.bin"/><Relationship Id="rId7" Type="http://schemas.openxmlformats.org/officeDocument/2006/relationships/image" Target="../media/image203.png"/><Relationship Id="rId2" Type="http://schemas.openxmlformats.org/officeDocument/2006/relationships/slideLayout" Target="../slideLayouts/slideLayout5.xml"/><Relationship Id="rId1" Type="http://schemas.openxmlformats.org/officeDocument/2006/relationships/tags" Target="../tags/tag61.xml"/><Relationship Id="rId6" Type="http://schemas.openxmlformats.org/officeDocument/2006/relationships/image" Target="../media/image216.svg"/><Relationship Id="rId5" Type="http://schemas.openxmlformats.org/officeDocument/2006/relationships/image" Target="../media/image215.svg"/><Relationship Id="rId4" Type="http://schemas.openxmlformats.org/officeDocument/2006/relationships/image" Target="../media/image176.emf"/></Relationships>
</file>

<file path=ppt/slides/_rels/slide6.xml.rels><?xml version="1.0" encoding="UTF-8" standalone="yes"?>
<Relationships xmlns="http://schemas.openxmlformats.org/package/2006/relationships"><Relationship Id="rId8" Type="http://schemas.openxmlformats.org/officeDocument/2006/relationships/image" Target="../media/image219.svg"/><Relationship Id="rId3" Type="http://schemas.openxmlformats.org/officeDocument/2006/relationships/notesSlide" Target="../notesSlides/notesSlide2.xml"/><Relationship Id="rId7" Type="http://schemas.openxmlformats.org/officeDocument/2006/relationships/image" Target="../media/image218.svg"/><Relationship Id="rId2" Type="http://schemas.openxmlformats.org/officeDocument/2006/relationships/slideLayout" Target="../slideLayouts/slideLayout6.xml"/><Relationship Id="rId1" Type="http://schemas.openxmlformats.org/officeDocument/2006/relationships/tags" Target="../tags/tag62.xml"/><Relationship Id="rId6" Type="http://schemas.openxmlformats.org/officeDocument/2006/relationships/image" Target="../media/image217.svg"/><Relationship Id="rId5" Type="http://schemas.openxmlformats.org/officeDocument/2006/relationships/image" Target="../media/image176.emf"/><Relationship Id="rId10" Type="http://schemas.openxmlformats.org/officeDocument/2006/relationships/image" Target="../media/image220.png"/><Relationship Id="rId4" Type="http://schemas.openxmlformats.org/officeDocument/2006/relationships/oleObject" Target="../embeddings/oleObject44.bin"/><Relationship Id="rId9" Type="http://schemas.openxmlformats.org/officeDocument/2006/relationships/image" Target="../media/image203.png"/></Relationships>
</file>

<file path=ppt/slides/_rels/slide7.xml.rels><?xml version="1.0" encoding="UTF-8" standalone="yes"?>
<Relationships xmlns="http://schemas.openxmlformats.org/package/2006/relationships"><Relationship Id="rId8" Type="http://schemas.openxmlformats.org/officeDocument/2006/relationships/image" Target="../media/image222.svg"/><Relationship Id="rId3" Type="http://schemas.openxmlformats.org/officeDocument/2006/relationships/notesSlide" Target="../notesSlides/notesSlide3.xml"/><Relationship Id="rId7" Type="http://schemas.openxmlformats.org/officeDocument/2006/relationships/image" Target="../media/image221.svg"/><Relationship Id="rId2" Type="http://schemas.openxmlformats.org/officeDocument/2006/relationships/slideLayout" Target="../slideLayouts/slideLayout45.xml"/><Relationship Id="rId1" Type="http://schemas.openxmlformats.org/officeDocument/2006/relationships/tags" Target="../tags/tag63.xml"/><Relationship Id="rId6" Type="http://schemas.openxmlformats.org/officeDocument/2006/relationships/image" Target="../media/image203.png"/><Relationship Id="rId5" Type="http://schemas.openxmlformats.org/officeDocument/2006/relationships/image" Target="../media/image176.emf"/><Relationship Id="rId4" Type="http://schemas.openxmlformats.org/officeDocument/2006/relationships/oleObject" Target="../embeddings/oleObject45.bin"/><Relationship Id="rId9" Type="http://schemas.openxmlformats.org/officeDocument/2006/relationships/image" Target="../media/image223.svg"/></Relationships>
</file>

<file path=ppt/slides/_rels/slide8.xml.rels><?xml version="1.0" encoding="UTF-8" standalone="yes"?>
<Relationships xmlns="http://schemas.openxmlformats.org/package/2006/relationships"><Relationship Id="rId8" Type="http://schemas.openxmlformats.org/officeDocument/2006/relationships/image" Target="../media/image225.png"/><Relationship Id="rId3" Type="http://schemas.openxmlformats.org/officeDocument/2006/relationships/notesSlide" Target="../notesSlides/notesSlide4.xml"/><Relationship Id="rId7" Type="http://schemas.openxmlformats.org/officeDocument/2006/relationships/image" Target="../media/image224.png"/><Relationship Id="rId2" Type="http://schemas.openxmlformats.org/officeDocument/2006/relationships/slideLayout" Target="../slideLayouts/slideLayout2.xml"/><Relationship Id="rId1" Type="http://schemas.openxmlformats.org/officeDocument/2006/relationships/tags" Target="../tags/tag64.xml"/><Relationship Id="rId6" Type="http://schemas.openxmlformats.org/officeDocument/2006/relationships/image" Target="../media/image203.png"/><Relationship Id="rId5" Type="http://schemas.openxmlformats.org/officeDocument/2006/relationships/image" Target="../media/image176.emf"/><Relationship Id="rId4" Type="http://schemas.openxmlformats.org/officeDocument/2006/relationships/oleObject" Target="../embeddings/oleObject46.bin"/><Relationship Id="rId9" Type="http://schemas.openxmlformats.org/officeDocument/2006/relationships/image" Target="../media/image226.png"/></Relationships>
</file>

<file path=ppt/slides/_rels/slide9.xml.rels><?xml version="1.0" encoding="UTF-8" standalone="yes"?>
<Relationships xmlns="http://schemas.openxmlformats.org/package/2006/relationships"><Relationship Id="rId8" Type="http://schemas.openxmlformats.org/officeDocument/2006/relationships/image" Target="../media/image229.svg"/><Relationship Id="rId3" Type="http://schemas.openxmlformats.org/officeDocument/2006/relationships/notesSlide" Target="../notesSlides/notesSlide5.xml"/><Relationship Id="rId7" Type="http://schemas.openxmlformats.org/officeDocument/2006/relationships/image" Target="../media/image228.svg"/><Relationship Id="rId2" Type="http://schemas.openxmlformats.org/officeDocument/2006/relationships/slideLayout" Target="../slideLayouts/slideLayout2.xml"/><Relationship Id="rId1" Type="http://schemas.openxmlformats.org/officeDocument/2006/relationships/tags" Target="../tags/tag65.xml"/><Relationship Id="rId6" Type="http://schemas.openxmlformats.org/officeDocument/2006/relationships/image" Target="../media/image227.svg"/><Relationship Id="rId11" Type="http://schemas.openxmlformats.org/officeDocument/2006/relationships/image" Target="../media/image203.png"/><Relationship Id="rId5" Type="http://schemas.openxmlformats.org/officeDocument/2006/relationships/image" Target="../media/image176.emf"/><Relationship Id="rId10" Type="http://schemas.openxmlformats.org/officeDocument/2006/relationships/image" Target="../media/image231.svg"/><Relationship Id="rId4" Type="http://schemas.openxmlformats.org/officeDocument/2006/relationships/oleObject" Target="../embeddings/oleObject47.bin"/><Relationship Id="rId9" Type="http://schemas.openxmlformats.org/officeDocument/2006/relationships/image" Target="../media/image23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AA9715D8-97C0-6679-209E-1F13DFA3074D}"/>
              </a:ext>
            </a:extLst>
          </p:cNvPr>
          <p:cNvGraphicFramePr>
            <a:graphicFrameLocks noChangeAspect="1"/>
          </p:cNvGraphicFramePr>
          <p:nvPr>
            <p:custDataLst>
              <p:tags r:id="rId1"/>
            </p:custDataLst>
            <p:extLst>
              <p:ext uri="{D42A27DB-BD31-4B8C-83A1-F6EECF244321}">
                <p14:modId xmlns:p14="http://schemas.microsoft.com/office/powerpoint/2010/main" val="2070927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18" name="think-cell data - do not delete" hidden="1">
                        <a:extLst>
                          <a:ext uri="{FF2B5EF4-FFF2-40B4-BE49-F238E27FC236}">
                            <a16:creationId xmlns:a16="http://schemas.microsoft.com/office/drawing/2014/main" id="{AA9715D8-97C0-6679-209E-1F13DFA307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0CFA3956-9DAE-B0CE-2171-F7C974059905}"/>
              </a:ext>
            </a:extLst>
          </p:cNvPr>
          <p:cNvSpPr/>
          <p:nvPr/>
        </p:nvSpPr>
        <p:spPr>
          <a:xfrm>
            <a:off x="14512" y="-1109"/>
            <a:ext cx="4557486" cy="2571750"/>
          </a:xfrm>
          <a:prstGeom prst="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9AB2809-A9E7-0872-DC9C-1638DA8E0959}"/>
              </a:ext>
            </a:extLst>
          </p:cNvPr>
          <p:cNvSpPr/>
          <p:nvPr/>
        </p:nvSpPr>
        <p:spPr>
          <a:xfrm>
            <a:off x="4572000" y="2570641"/>
            <a:ext cx="4557486" cy="2571750"/>
          </a:xfrm>
          <a:prstGeom prst="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F0EAC3E-B1A6-5BC1-F4DE-36328AAA8B6E}"/>
              </a:ext>
            </a:extLst>
          </p:cNvPr>
          <p:cNvSpPr/>
          <p:nvPr/>
        </p:nvSpPr>
        <p:spPr>
          <a:xfrm>
            <a:off x="4572001" y="-1109"/>
            <a:ext cx="4557486" cy="257175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F341259D-8F16-1AE4-09A3-964FB36E925A}"/>
              </a:ext>
            </a:extLst>
          </p:cNvPr>
          <p:cNvSpPr/>
          <p:nvPr/>
        </p:nvSpPr>
        <p:spPr>
          <a:xfrm>
            <a:off x="14511" y="2570641"/>
            <a:ext cx="4557486" cy="257175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5A7F5A57-3B3F-A772-FFFC-C00AC9935CA0}"/>
              </a:ext>
            </a:extLst>
          </p:cNvPr>
          <p:cNvSpPr>
            <a:spLocks noGrp="1"/>
          </p:cNvSpPr>
          <p:nvPr>
            <p:ph type="body" sz="quarter" idx="14"/>
          </p:nvPr>
        </p:nvSpPr>
        <p:spPr>
          <a:xfrm>
            <a:off x="1256997" y="668668"/>
            <a:ext cx="2886832" cy="367697"/>
          </a:xfrm>
        </p:spPr>
        <p:txBody>
          <a:bodyPr>
            <a:normAutofit fontScale="92500"/>
          </a:bodyPr>
          <a:lstStyle/>
          <a:p>
            <a:r>
              <a:rPr lang="es-MX" err="1">
                <a:solidFill>
                  <a:schemeClr val="bg1"/>
                </a:solidFill>
              </a:rPr>
              <a:t>Introduction</a:t>
            </a:r>
            <a:r>
              <a:rPr lang="es-MX">
                <a:solidFill>
                  <a:schemeClr val="bg1"/>
                </a:solidFill>
              </a:rPr>
              <a:t> </a:t>
            </a:r>
            <a:r>
              <a:rPr lang="es-MX" err="1">
                <a:solidFill>
                  <a:schemeClr val="bg1"/>
                </a:solidFill>
              </a:rPr>
              <a:t>by</a:t>
            </a:r>
            <a:r>
              <a:rPr lang="es-MX">
                <a:solidFill>
                  <a:schemeClr val="bg1"/>
                </a:solidFill>
              </a:rPr>
              <a:t> </a:t>
            </a:r>
            <a:r>
              <a:rPr lang="es-MX" err="1">
                <a:solidFill>
                  <a:schemeClr val="bg1"/>
                </a:solidFill>
              </a:rPr>
              <a:t>We</a:t>
            </a:r>
            <a:r>
              <a:rPr lang="es-MX">
                <a:solidFill>
                  <a:schemeClr val="bg1"/>
                </a:solidFill>
              </a:rPr>
              <a:t>-Fi</a:t>
            </a:r>
          </a:p>
        </p:txBody>
      </p:sp>
      <p:sp>
        <p:nvSpPr>
          <p:cNvPr id="3" name="Text Placeholder 2">
            <a:extLst>
              <a:ext uri="{FF2B5EF4-FFF2-40B4-BE49-F238E27FC236}">
                <a16:creationId xmlns:a16="http://schemas.microsoft.com/office/drawing/2014/main" id="{53297468-DA2C-B5A0-094C-47EDEAC3E3F0}"/>
              </a:ext>
            </a:extLst>
          </p:cNvPr>
          <p:cNvSpPr>
            <a:spLocks noGrp="1"/>
          </p:cNvSpPr>
          <p:nvPr>
            <p:ph type="body" sz="quarter" idx="15"/>
          </p:nvPr>
        </p:nvSpPr>
        <p:spPr/>
        <p:txBody>
          <a:bodyPr>
            <a:normAutofit fontScale="92500" lnSpcReduction="20000"/>
          </a:bodyPr>
          <a:lstStyle/>
          <a:p>
            <a:r>
              <a:rPr lang="es-MX">
                <a:solidFill>
                  <a:schemeClr val="bg1"/>
                </a:solidFill>
              </a:rPr>
              <a:t>Panel </a:t>
            </a:r>
            <a:r>
              <a:rPr lang="es-MX" err="1">
                <a:solidFill>
                  <a:schemeClr val="bg1"/>
                </a:solidFill>
              </a:rPr>
              <a:t>Discussion</a:t>
            </a:r>
            <a:endParaRPr lang="es-MX">
              <a:solidFill>
                <a:schemeClr val="bg1"/>
              </a:solidFill>
            </a:endParaRPr>
          </a:p>
        </p:txBody>
      </p:sp>
      <p:sp>
        <p:nvSpPr>
          <p:cNvPr id="4" name="Text Placeholder 3">
            <a:extLst>
              <a:ext uri="{FF2B5EF4-FFF2-40B4-BE49-F238E27FC236}">
                <a16:creationId xmlns:a16="http://schemas.microsoft.com/office/drawing/2014/main" id="{F74F4C24-4BB8-2237-1BCA-CC05F553201B}"/>
              </a:ext>
            </a:extLst>
          </p:cNvPr>
          <p:cNvSpPr>
            <a:spLocks noGrp="1"/>
          </p:cNvSpPr>
          <p:nvPr>
            <p:ph type="body" sz="quarter" idx="16"/>
          </p:nvPr>
        </p:nvSpPr>
        <p:spPr/>
        <p:txBody>
          <a:bodyPr>
            <a:normAutofit fontScale="92500" lnSpcReduction="20000"/>
          </a:bodyPr>
          <a:lstStyle/>
          <a:p>
            <a:r>
              <a:rPr lang="es-MX">
                <a:solidFill>
                  <a:schemeClr val="bg1"/>
                </a:solidFill>
              </a:rPr>
              <a:t>Q&amp;A</a:t>
            </a:r>
          </a:p>
        </p:txBody>
      </p:sp>
      <p:sp>
        <p:nvSpPr>
          <p:cNvPr id="5" name="Text Placeholder 4">
            <a:extLst>
              <a:ext uri="{FF2B5EF4-FFF2-40B4-BE49-F238E27FC236}">
                <a16:creationId xmlns:a16="http://schemas.microsoft.com/office/drawing/2014/main" id="{908893BD-7969-F9AB-92CB-FBAC77523461}"/>
              </a:ext>
            </a:extLst>
          </p:cNvPr>
          <p:cNvSpPr>
            <a:spLocks noGrp="1"/>
          </p:cNvSpPr>
          <p:nvPr>
            <p:ph type="body" sz="quarter" idx="17"/>
          </p:nvPr>
        </p:nvSpPr>
        <p:spPr>
          <a:xfrm>
            <a:off x="5943297" y="558803"/>
            <a:ext cx="2990246" cy="585352"/>
          </a:xfrm>
        </p:spPr>
        <p:txBody>
          <a:bodyPr>
            <a:normAutofit/>
          </a:bodyPr>
          <a:lstStyle/>
          <a:p>
            <a:r>
              <a:rPr lang="es-MX" sz="1400" err="1">
                <a:solidFill>
                  <a:schemeClr val="bg1"/>
                </a:solidFill>
              </a:rPr>
              <a:t>Introduction</a:t>
            </a:r>
            <a:r>
              <a:rPr lang="es-MX" sz="1400">
                <a:solidFill>
                  <a:schemeClr val="bg1"/>
                </a:solidFill>
              </a:rPr>
              <a:t> </a:t>
            </a:r>
            <a:r>
              <a:rPr lang="es-MX" sz="1400" err="1">
                <a:solidFill>
                  <a:schemeClr val="bg1"/>
                </a:solidFill>
              </a:rPr>
              <a:t>to</a:t>
            </a:r>
            <a:r>
              <a:rPr lang="es-MX" sz="1400">
                <a:solidFill>
                  <a:schemeClr val="bg1"/>
                </a:solidFill>
              </a:rPr>
              <a:t> INVEST and WSME </a:t>
            </a:r>
            <a:r>
              <a:rPr lang="es-MX" sz="1400" err="1">
                <a:solidFill>
                  <a:schemeClr val="bg1"/>
                </a:solidFill>
              </a:rPr>
              <a:t>toolkit</a:t>
            </a:r>
            <a:endParaRPr lang="es-MX" sz="1400">
              <a:solidFill>
                <a:schemeClr val="bg1"/>
              </a:solidFill>
            </a:endParaRPr>
          </a:p>
        </p:txBody>
      </p:sp>
      <p:sp>
        <p:nvSpPr>
          <p:cNvPr id="6" name="Text Placeholder 5">
            <a:extLst>
              <a:ext uri="{FF2B5EF4-FFF2-40B4-BE49-F238E27FC236}">
                <a16:creationId xmlns:a16="http://schemas.microsoft.com/office/drawing/2014/main" id="{B19CBE69-C4F8-1AAC-4CB4-B72CF267CF92}"/>
              </a:ext>
            </a:extLst>
          </p:cNvPr>
          <p:cNvSpPr>
            <a:spLocks noGrp="1"/>
          </p:cNvSpPr>
          <p:nvPr>
            <p:ph type="body" sz="quarter" idx="22"/>
          </p:nvPr>
        </p:nvSpPr>
        <p:spPr>
          <a:xfrm>
            <a:off x="1256998" y="1166991"/>
            <a:ext cx="2386212" cy="396782"/>
          </a:xfrm>
        </p:spPr>
        <p:txBody>
          <a:bodyPr/>
          <a:lstStyle/>
          <a:p>
            <a:r>
              <a:rPr lang="es-MX"/>
              <a:t>3 </a:t>
            </a:r>
            <a:r>
              <a:rPr lang="es-MX" err="1"/>
              <a:t>mins</a:t>
            </a:r>
            <a:endParaRPr lang="es-MX"/>
          </a:p>
        </p:txBody>
      </p:sp>
      <p:sp>
        <p:nvSpPr>
          <p:cNvPr id="7" name="Text Placeholder 6">
            <a:extLst>
              <a:ext uri="{FF2B5EF4-FFF2-40B4-BE49-F238E27FC236}">
                <a16:creationId xmlns:a16="http://schemas.microsoft.com/office/drawing/2014/main" id="{9C671EC1-8853-54A7-78B7-79B47210FF0D}"/>
              </a:ext>
            </a:extLst>
          </p:cNvPr>
          <p:cNvSpPr>
            <a:spLocks noGrp="1"/>
          </p:cNvSpPr>
          <p:nvPr>
            <p:ph type="body" sz="quarter" idx="23"/>
          </p:nvPr>
        </p:nvSpPr>
        <p:spPr>
          <a:xfrm>
            <a:off x="5943298" y="1154291"/>
            <a:ext cx="2386212" cy="396782"/>
          </a:xfrm>
        </p:spPr>
        <p:txBody>
          <a:bodyPr/>
          <a:lstStyle/>
          <a:p>
            <a:r>
              <a:rPr lang="es-MX"/>
              <a:t>10 minutes</a:t>
            </a:r>
          </a:p>
        </p:txBody>
      </p:sp>
      <p:sp>
        <p:nvSpPr>
          <p:cNvPr id="8" name="Text Placeholder 7">
            <a:extLst>
              <a:ext uri="{FF2B5EF4-FFF2-40B4-BE49-F238E27FC236}">
                <a16:creationId xmlns:a16="http://schemas.microsoft.com/office/drawing/2014/main" id="{400D9838-E0F9-0E93-9490-29755068890B}"/>
              </a:ext>
            </a:extLst>
          </p:cNvPr>
          <p:cNvSpPr>
            <a:spLocks noGrp="1"/>
          </p:cNvSpPr>
          <p:nvPr>
            <p:ph type="body" sz="quarter" idx="24"/>
          </p:nvPr>
        </p:nvSpPr>
        <p:spPr/>
        <p:txBody>
          <a:bodyPr/>
          <a:lstStyle/>
          <a:p>
            <a:r>
              <a:rPr lang="es-MX"/>
              <a:t>10 minutes</a:t>
            </a:r>
          </a:p>
        </p:txBody>
      </p:sp>
      <p:sp>
        <p:nvSpPr>
          <p:cNvPr id="9" name="Text Placeholder 8">
            <a:extLst>
              <a:ext uri="{FF2B5EF4-FFF2-40B4-BE49-F238E27FC236}">
                <a16:creationId xmlns:a16="http://schemas.microsoft.com/office/drawing/2014/main" id="{7724D316-4D01-34E9-7CA2-03E662DB44D0}"/>
              </a:ext>
            </a:extLst>
          </p:cNvPr>
          <p:cNvSpPr>
            <a:spLocks noGrp="1"/>
          </p:cNvSpPr>
          <p:nvPr>
            <p:ph type="body" sz="quarter" idx="25"/>
          </p:nvPr>
        </p:nvSpPr>
        <p:spPr/>
        <p:txBody>
          <a:bodyPr/>
          <a:lstStyle/>
          <a:p>
            <a:r>
              <a:rPr lang="es-MX"/>
              <a:t>35 minutes</a:t>
            </a:r>
          </a:p>
        </p:txBody>
      </p:sp>
      <p:sp>
        <p:nvSpPr>
          <p:cNvPr id="14" name="Text Placeholder 13">
            <a:extLst>
              <a:ext uri="{FF2B5EF4-FFF2-40B4-BE49-F238E27FC236}">
                <a16:creationId xmlns:a16="http://schemas.microsoft.com/office/drawing/2014/main" id="{40EE256E-6685-18D8-D0CF-FA6E06BC9DBC}"/>
              </a:ext>
            </a:extLst>
          </p:cNvPr>
          <p:cNvSpPr>
            <a:spLocks noGrp="1"/>
          </p:cNvSpPr>
          <p:nvPr>
            <p:ph type="body" sz="quarter" idx="34"/>
          </p:nvPr>
        </p:nvSpPr>
        <p:spPr>
          <a:solidFill>
            <a:schemeClr val="accent2"/>
          </a:solidFill>
        </p:spPr>
        <p:txBody>
          <a:bodyPr>
            <a:normAutofit/>
          </a:bodyPr>
          <a:lstStyle/>
          <a:p>
            <a:r>
              <a:rPr lang="es-MX" sz="1600"/>
              <a:t>1</a:t>
            </a:r>
          </a:p>
        </p:txBody>
      </p:sp>
      <p:sp>
        <p:nvSpPr>
          <p:cNvPr id="15" name="Text Placeholder 14">
            <a:extLst>
              <a:ext uri="{FF2B5EF4-FFF2-40B4-BE49-F238E27FC236}">
                <a16:creationId xmlns:a16="http://schemas.microsoft.com/office/drawing/2014/main" id="{2A8D4FEB-A1C4-66C5-CBFC-AF584B339E28}"/>
              </a:ext>
            </a:extLst>
          </p:cNvPr>
          <p:cNvSpPr>
            <a:spLocks noGrp="1"/>
          </p:cNvSpPr>
          <p:nvPr>
            <p:ph type="body" sz="quarter" idx="35"/>
          </p:nvPr>
        </p:nvSpPr>
        <p:spPr>
          <a:solidFill>
            <a:schemeClr val="accent2"/>
          </a:solidFill>
        </p:spPr>
        <p:txBody>
          <a:bodyPr>
            <a:normAutofit/>
          </a:bodyPr>
          <a:lstStyle/>
          <a:p>
            <a:r>
              <a:rPr lang="es-MX" sz="1600"/>
              <a:t>2</a:t>
            </a:r>
          </a:p>
        </p:txBody>
      </p:sp>
      <p:sp>
        <p:nvSpPr>
          <p:cNvPr id="16" name="Text Placeholder 15">
            <a:extLst>
              <a:ext uri="{FF2B5EF4-FFF2-40B4-BE49-F238E27FC236}">
                <a16:creationId xmlns:a16="http://schemas.microsoft.com/office/drawing/2014/main" id="{7540F541-C5E5-5FB6-1B50-EA058B06FDD2}"/>
              </a:ext>
            </a:extLst>
          </p:cNvPr>
          <p:cNvSpPr>
            <a:spLocks noGrp="1"/>
          </p:cNvSpPr>
          <p:nvPr>
            <p:ph type="body" sz="quarter" idx="36"/>
          </p:nvPr>
        </p:nvSpPr>
        <p:spPr>
          <a:solidFill>
            <a:schemeClr val="accent2"/>
          </a:solidFill>
        </p:spPr>
        <p:txBody>
          <a:bodyPr>
            <a:normAutofit/>
          </a:bodyPr>
          <a:lstStyle/>
          <a:p>
            <a:r>
              <a:rPr lang="es-MX" sz="1600"/>
              <a:t>3</a:t>
            </a:r>
          </a:p>
        </p:txBody>
      </p:sp>
      <p:sp>
        <p:nvSpPr>
          <p:cNvPr id="17" name="Text Placeholder 16">
            <a:extLst>
              <a:ext uri="{FF2B5EF4-FFF2-40B4-BE49-F238E27FC236}">
                <a16:creationId xmlns:a16="http://schemas.microsoft.com/office/drawing/2014/main" id="{62F48B6F-6D05-9E5D-FFCD-4FB57C264282}"/>
              </a:ext>
            </a:extLst>
          </p:cNvPr>
          <p:cNvSpPr>
            <a:spLocks noGrp="1"/>
          </p:cNvSpPr>
          <p:nvPr>
            <p:ph type="body" sz="quarter" idx="37"/>
          </p:nvPr>
        </p:nvSpPr>
        <p:spPr>
          <a:solidFill>
            <a:schemeClr val="accent2"/>
          </a:solidFill>
        </p:spPr>
        <p:txBody>
          <a:bodyPr>
            <a:normAutofit/>
          </a:bodyPr>
          <a:lstStyle/>
          <a:p>
            <a:r>
              <a:rPr lang="es-MX" sz="1600"/>
              <a:t>4</a:t>
            </a:r>
          </a:p>
        </p:txBody>
      </p:sp>
    </p:spTree>
    <p:extLst>
      <p:ext uri="{BB962C8B-B14F-4D97-AF65-F5344CB8AC3E}">
        <p14:creationId xmlns:p14="http://schemas.microsoft.com/office/powerpoint/2010/main" val="27035941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D023347-A6DC-80E3-32CD-0593887A98E5}"/>
              </a:ext>
            </a:extLst>
          </p:cNvPr>
          <p:cNvSpPr>
            <a:spLocks noGrp="1"/>
          </p:cNvSpPr>
          <p:nvPr>
            <p:ph type="body" sz="quarter" idx="27"/>
          </p:nvPr>
        </p:nvSpPr>
        <p:spPr/>
        <p:txBody>
          <a:bodyPr/>
          <a:lstStyle/>
          <a:p>
            <a:r>
              <a:rPr lang="en-US"/>
              <a:t>Rethinking how financial institutions serve WSMEs</a:t>
            </a:r>
          </a:p>
        </p:txBody>
      </p:sp>
      <p:sp>
        <p:nvSpPr>
          <p:cNvPr id="4" name="Slide Number Placeholder 3">
            <a:extLst>
              <a:ext uri="{FF2B5EF4-FFF2-40B4-BE49-F238E27FC236}">
                <a16:creationId xmlns:a16="http://schemas.microsoft.com/office/drawing/2014/main" id="{F7FC7D97-7105-3356-F4DF-1755833CDF4C}"/>
              </a:ext>
            </a:extLst>
          </p:cNvPr>
          <p:cNvSpPr>
            <a:spLocks noGrp="1"/>
          </p:cNvSpPr>
          <p:nvPr>
            <p:ph type="sldNum" sz="quarter" idx="4294967295"/>
          </p:nvPr>
        </p:nvSpPr>
        <p:spPr>
          <a:xfrm>
            <a:off x="8729560" y="4911474"/>
            <a:ext cx="342581" cy="96296"/>
          </a:xfrm>
        </p:spPr>
        <p:txBody>
          <a:bodyPr/>
          <a:lstStyle/>
          <a:p>
            <a:fld id="{A90607E6-BCED-4FC1-A345-AB2A307AB80F}" type="slidenum">
              <a:rPr lang="en-US" sz="700" b="1" smtClean="0"/>
              <a:pPr/>
              <a:t>9</a:t>
            </a:fld>
            <a:endParaRPr lang="en-US" b="1"/>
          </a:p>
        </p:txBody>
      </p:sp>
      <p:cxnSp>
        <p:nvCxnSpPr>
          <p:cNvPr id="8" name="Straight Connector 7">
            <a:extLst>
              <a:ext uri="{FF2B5EF4-FFF2-40B4-BE49-F238E27FC236}">
                <a16:creationId xmlns:a16="http://schemas.microsoft.com/office/drawing/2014/main" id="{C41634D9-A776-CBC5-21F5-D3E4DE1C3069}"/>
              </a:ext>
            </a:extLst>
          </p:cNvPr>
          <p:cNvCxnSpPr>
            <a:cxnSpLocks/>
          </p:cNvCxnSpPr>
          <p:nvPr/>
        </p:nvCxnSpPr>
        <p:spPr>
          <a:xfrm>
            <a:off x="816186" y="1064183"/>
            <a:ext cx="7387871"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2FEEEFA-F38C-36FA-6956-03215E569B0F}"/>
              </a:ext>
            </a:extLst>
          </p:cNvPr>
          <p:cNvSpPr txBox="1"/>
          <p:nvPr/>
        </p:nvSpPr>
        <p:spPr>
          <a:xfrm>
            <a:off x="816186" y="691286"/>
            <a:ext cx="3239347" cy="307777"/>
          </a:xfrm>
          <a:prstGeom prst="rect">
            <a:avLst/>
          </a:prstGeom>
          <a:noFill/>
        </p:spPr>
        <p:txBody>
          <a:bodyPr wrap="square" rtlCol="0">
            <a:spAutoFit/>
          </a:bodyPr>
          <a:lstStyle/>
          <a:p>
            <a:pPr algn="ctr"/>
            <a:r>
              <a:rPr lang="en-US" sz="1400" b="1" i="1"/>
              <a:t>Key insights from the process</a:t>
            </a:r>
          </a:p>
        </p:txBody>
      </p:sp>
      <p:pic>
        <p:nvPicPr>
          <p:cNvPr id="2" name="Imagen 148">
            <a:extLst>
              <a:ext uri="{FF2B5EF4-FFF2-40B4-BE49-F238E27FC236}">
                <a16:creationId xmlns:a16="http://schemas.microsoft.com/office/drawing/2014/main" id="{81E5793C-40F7-A5E6-2370-3527E0817372}"/>
              </a:ext>
            </a:extLst>
          </p:cNvPr>
          <p:cNvPicPr>
            <a:picLocks noChangeAspect="1"/>
          </p:cNvPicPr>
          <p:nvPr/>
        </p:nvPicPr>
        <p:blipFill>
          <a:blip r:embed="rId2"/>
          <a:srcRect r="66185" b="5269"/>
          <a:stretch>
            <a:fillRect/>
          </a:stretch>
        </p:blipFill>
        <p:spPr>
          <a:xfrm>
            <a:off x="8601679" y="4778619"/>
            <a:ext cx="255761" cy="263364"/>
          </a:xfrm>
          <a:prstGeom prst="rect">
            <a:avLst/>
          </a:prstGeom>
        </p:spPr>
      </p:pic>
      <p:sp>
        <p:nvSpPr>
          <p:cNvPr id="12" name="Rectangle 2">
            <a:extLst>
              <a:ext uri="{FF2B5EF4-FFF2-40B4-BE49-F238E27FC236}">
                <a16:creationId xmlns:a16="http://schemas.microsoft.com/office/drawing/2014/main" id="{D2AAB653-4775-AF29-C05D-9DB7EE5BD7BF}"/>
              </a:ext>
            </a:extLst>
          </p:cNvPr>
          <p:cNvSpPr>
            <a:spLocks noChangeArrowheads="1"/>
          </p:cNvSpPr>
          <p:nvPr/>
        </p:nvSpPr>
        <p:spPr bwMode="auto">
          <a:xfrm>
            <a:off x="677788" y="1277005"/>
            <a:ext cx="3808841" cy="3062377"/>
          </a:xfrm>
          <a:prstGeom prst="rect">
            <a:avLst/>
          </a:prstGeom>
          <a:noFill/>
        </p:spPr>
        <p:txBody>
          <a:bodyPr wrap="square" lIns="91440" tIns="45720" rIns="91440" bIns="45720" rtlCol="0" anchor="t">
            <a:spAutoFit/>
          </a:bodyPr>
          <a:lstStyle/>
          <a:p>
            <a:pPr marL="171450" indent="-171450" eaLnBrk="0" fontAlgn="base" hangingPunct="0">
              <a:spcBef>
                <a:spcPts val="800"/>
              </a:spcBef>
              <a:spcAft>
                <a:spcPts val="800"/>
              </a:spcAft>
              <a:buFont typeface="Arial" panose="020B0604020202020204" pitchFamily="34" charset="0"/>
              <a:buChar char="•"/>
            </a:pPr>
            <a:r>
              <a:rPr lang="en-US" altLang="en-US" sz="1200" b="1">
                <a:solidFill>
                  <a:schemeClr val="accent1"/>
                </a:solidFill>
              </a:rPr>
              <a:t>Diversity of design: </a:t>
            </a:r>
            <a:r>
              <a:rPr lang="en-US" sz="1050"/>
              <a:t>Products range from highly tailored, gender-intentional offers to lightly adapted SME products, with </a:t>
            </a:r>
            <a:r>
              <a:rPr lang="en-US" sz="1050" b="1"/>
              <a:t>most examples showing only partial adaptation </a:t>
            </a:r>
            <a:r>
              <a:rPr lang="en-US" sz="1050"/>
              <a:t>rather than fully fit-for-purpose design.</a:t>
            </a:r>
            <a:endParaRPr lang="en-US" altLang="en-US" sz="1050"/>
          </a:p>
          <a:p>
            <a:pPr marL="171450" indent="-171450" eaLnBrk="0" fontAlgn="base" hangingPunct="0">
              <a:spcBef>
                <a:spcPts val="800"/>
              </a:spcBef>
              <a:spcAft>
                <a:spcPts val="800"/>
              </a:spcAft>
              <a:buFont typeface="Arial" panose="020B0604020202020204" pitchFamily="34" charset="0"/>
              <a:buChar char="•"/>
            </a:pPr>
            <a:r>
              <a:rPr lang="en-US" altLang="en-US" sz="1200" b="1">
                <a:solidFill>
                  <a:schemeClr val="accent1"/>
                </a:solidFill>
              </a:rPr>
              <a:t>Persistent gaps: </a:t>
            </a:r>
            <a:r>
              <a:rPr lang="en-US" sz="1050"/>
              <a:t>Few offerings exist in the </a:t>
            </a:r>
            <a:r>
              <a:rPr lang="en-US" sz="1050" b="1"/>
              <a:t>scaling stage</a:t>
            </a:r>
            <a:r>
              <a:rPr lang="en-US" sz="1050"/>
              <a:t>, with very limited examples of solutions such as </a:t>
            </a:r>
            <a:r>
              <a:rPr lang="en-US" sz="1050" b="1"/>
              <a:t>trade finance or growth capital for WSMEs</a:t>
            </a:r>
          </a:p>
          <a:p>
            <a:pPr marL="171450" indent="-171450" eaLnBrk="0" fontAlgn="base" hangingPunct="0">
              <a:spcBef>
                <a:spcPts val="800"/>
              </a:spcBef>
              <a:spcAft>
                <a:spcPts val="800"/>
              </a:spcAft>
              <a:buFont typeface="Arial" panose="020B0604020202020204" pitchFamily="34" charset="0"/>
              <a:buChar char="•"/>
            </a:pPr>
            <a:r>
              <a:rPr lang="en-US" altLang="en-US" sz="1200" b="1">
                <a:solidFill>
                  <a:schemeClr val="accent1"/>
                </a:solidFill>
              </a:rPr>
              <a:t>Non-financial services matter: </a:t>
            </a:r>
            <a:r>
              <a:rPr lang="en-US" sz="1050"/>
              <a:t>Many strong solutions combine finance with training, mentorship, or visibility, with a significant share of ‘</a:t>
            </a:r>
            <a:r>
              <a:rPr lang="en-US" sz="1050" b="1"/>
              <a:t>good-practices’ examples offering bundled services.</a:t>
            </a:r>
          </a:p>
          <a:p>
            <a:pPr marL="171450" indent="-171450" eaLnBrk="0" fontAlgn="base" hangingPunct="0">
              <a:spcBef>
                <a:spcPts val="800"/>
              </a:spcBef>
              <a:spcAft>
                <a:spcPts val="800"/>
              </a:spcAft>
              <a:buFont typeface="Arial" panose="020B0604020202020204" pitchFamily="34" charset="0"/>
              <a:buChar char="•"/>
            </a:pPr>
            <a:r>
              <a:rPr lang="en-US" altLang="en-US" sz="1200" b="1">
                <a:solidFill>
                  <a:schemeClr val="accent1"/>
                </a:solidFill>
              </a:rPr>
              <a:t>Segmentation is a must: </a:t>
            </a:r>
            <a:r>
              <a:rPr lang="en-US" sz="1050"/>
              <a:t>WSMEs face distinct barriers across segments </a:t>
            </a:r>
            <a:r>
              <a:rPr lang="en-US" sz="1050" b="1"/>
              <a:t>(e.g., collateral constraints vs. capability gaps)</a:t>
            </a:r>
            <a:r>
              <a:rPr lang="en-US" sz="1050"/>
              <a:t>, requiring tailored solutions.</a:t>
            </a:r>
            <a:endParaRPr lang="en-US" altLang="en-US" sz="1050"/>
          </a:p>
        </p:txBody>
      </p:sp>
      <p:sp>
        <p:nvSpPr>
          <p:cNvPr id="13" name="Rectangle 3">
            <a:extLst>
              <a:ext uri="{FF2B5EF4-FFF2-40B4-BE49-F238E27FC236}">
                <a16:creationId xmlns:a16="http://schemas.microsoft.com/office/drawing/2014/main" id="{CD82B66A-5559-5C41-D70D-9364CAFEC793}"/>
              </a:ext>
            </a:extLst>
          </p:cNvPr>
          <p:cNvSpPr>
            <a:spLocks noChangeArrowheads="1"/>
          </p:cNvSpPr>
          <p:nvPr/>
        </p:nvSpPr>
        <p:spPr bwMode="auto">
          <a:xfrm>
            <a:off x="4852747" y="1277005"/>
            <a:ext cx="3613465" cy="2739211"/>
          </a:xfrm>
          <a:prstGeom prst="rect">
            <a:avLst/>
          </a:prstGeom>
          <a:noFill/>
        </p:spPr>
        <p:txBody>
          <a:bodyPr wrap="square" rtlCol="0">
            <a:spAutoFit/>
          </a:bodyPr>
          <a:lstStyle/>
          <a:p>
            <a:pPr marL="171450" indent="-171450" eaLnBrk="0" fontAlgn="base" hangingPunct="0">
              <a:spcBef>
                <a:spcPts val="800"/>
              </a:spcBef>
              <a:spcAft>
                <a:spcPts val="800"/>
              </a:spcAft>
              <a:buFont typeface="Arial" panose="020B0604020202020204" pitchFamily="34" charset="0"/>
              <a:buChar char="•"/>
            </a:pPr>
            <a:r>
              <a:rPr lang="en-US" altLang="en-US" sz="1200" b="1">
                <a:solidFill>
                  <a:schemeClr val="accent1"/>
                </a:solidFill>
              </a:rPr>
              <a:t>Move beyond adaptation: </a:t>
            </a:r>
            <a:r>
              <a:rPr lang="en-US" altLang="en-US" sz="1050"/>
              <a:t>designing effective solutions requires intentional, data-driven product development, not minor tweaks.</a:t>
            </a:r>
          </a:p>
          <a:p>
            <a:pPr marL="171450" indent="-171450" eaLnBrk="0" fontAlgn="base" hangingPunct="0">
              <a:spcBef>
                <a:spcPts val="800"/>
              </a:spcBef>
              <a:spcAft>
                <a:spcPts val="800"/>
              </a:spcAft>
              <a:buFont typeface="Arial" panose="020B0604020202020204" pitchFamily="34" charset="0"/>
              <a:buChar char="•"/>
            </a:pPr>
            <a:r>
              <a:rPr lang="en-US" altLang="en-US" sz="1200" b="1">
                <a:solidFill>
                  <a:schemeClr val="accent1"/>
                </a:solidFill>
              </a:rPr>
              <a:t>Focus on underserved stages: </a:t>
            </a:r>
            <a:r>
              <a:rPr lang="en-US" altLang="en-US" sz="1050"/>
              <a:t>there is a clear opportunity to develop solutions for scaling and growth-stage WSMEs.</a:t>
            </a:r>
          </a:p>
          <a:p>
            <a:pPr marL="171450" indent="-171450" eaLnBrk="0" fontAlgn="base" hangingPunct="0">
              <a:spcBef>
                <a:spcPts val="800"/>
              </a:spcBef>
              <a:spcAft>
                <a:spcPts val="800"/>
              </a:spcAft>
              <a:buFont typeface="Arial" panose="020B0604020202020204" pitchFamily="34" charset="0"/>
              <a:buChar char="•"/>
            </a:pPr>
            <a:r>
              <a:rPr lang="en-US" altLang="en-US" sz="1200" b="1">
                <a:solidFill>
                  <a:schemeClr val="accent1"/>
                </a:solidFill>
              </a:rPr>
              <a:t>Design integrated value propositions: </a:t>
            </a:r>
            <a:r>
              <a:rPr lang="en-US" altLang="en-US" sz="1050"/>
              <a:t>combining financial and non-financial services is critical to drive uptake and impact.</a:t>
            </a:r>
          </a:p>
          <a:p>
            <a:pPr marL="171450" indent="-171450" eaLnBrk="0" fontAlgn="base" hangingPunct="0">
              <a:spcBef>
                <a:spcPts val="800"/>
              </a:spcBef>
              <a:spcAft>
                <a:spcPts val="800"/>
              </a:spcAft>
              <a:buFont typeface="Arial" panose="020B0604020202020204" pitchFamily="34" charset="0"/>
              <a:buChar char="•"/>
            </a:pPr>
            <a:r>
              <a:rPr lang="en-US" altLang="en-US" sz="1200" b="1">
                <a:solidFill>
                  <a:schemeClr val="accent1"/>
                </a:solidFill>
              </a:rPr>
              <a:t>Start with segmentation: </a:t>
            </a:r>
            <a:r>
              <a:rPr lang="en-US" altLang="en-US" sz="1050"/>
              <a:t>tailoring solutions to different WSME profiles is essential to achieve product-market fit.</a:t>
            </a:r>
          </a:p>
        </p:txBody>
      </p:sp>
      <p:sp>
        <p:nvSpPr>
          <p:cNvPr id="14" name="TextBox 13">
            <a:extLst>
              <a:ext uri="{FF2B5EF4-FFF2-40B4-BE49-F238E27FC236}">
                <a16:creationId xmlns:a16="http://schemas.microsoft.com/office/drawing/2014/main" id="{C57CEBCB-D016-ADC0-FC31-E40701D09D36}"/>
              </a:ext>
            </a:extLst>
          </p:cNvPr>
          <p:cNvSpPr txBox="1"/>
          <p:nvPr/>
        </p:nvSpPr>
        <p:spPr>
          <a:xfrm>
            <a:off x="4964710" y="691286"/>
            <a:ext cx="3239347" cy="307777"/>
          </a:xfrm>
          <a:prstGeom prst="rect">
            <a:avLst/>
          </a:prstGeom>
          <a:noFill/>
        </p:spPr>
        <p:txBody>
          <a:bodyPr wrap="square" rtlCol="0">
            <a:spAutoFit/>
          </a:bodyPr>
          <a:lstStyle/>
          <a:p>
            <a:pPr algn="ctr"/>
            <a:r>
              <a:rPr lang="en-US" sz="1400" b="1" i="1"/>
              <a:t>Implications for solution design</a:t>
            </a:r>
          </a:p>
        </p:txBody>
      </p:sp>
      <p:sp>
        <p:nvSpPr>
          <p:cNvPr id="15" name="Arrow">
            <a:extLst>
              <a:ext uri="{FF2B5EF4-FFF2-40B4-BE49-F238E27FC236}">
                <a16:creationId xmlns:a16="http://schemas.microsoft.com/office/drawing/2014/main" id="{888A4D36-7029-DED4-BA14-CD1677868363}"/>
              </a:ext>
            </a:extLst>
          </p:cNvPr>
          <p:cNvSpPr/>
          <p:nvPr/>
        </p:nvSpPr>
        <p:spPr>
          <a:xfrm rot="5400000">
            <a:off x="3239243" y="2678981"/>
            <a:ext cx="2860247" cy="177800"/>
          </a:xfrm>
          <a:prstGeom prst="triangle">
            <a:avLst>
              <a:gd name="adj" fmla="val 47009"/>
            </a:avLst>
          </a:prstGeom>
          <a:solidFill>
            <a:schemeClr val="accent2">
              <a:lumMod val="60000"/>
              <a:lumOff val="4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260097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hink-cell data - do not delete" hidden="1">
            <a:extLst>
              <a:ext uri="{FF2B5EF4-FFF2-40B4-BE49-F238E27FC236}">
                <a16:creationId xmlns:a16="http://schemas.microsoft.com/office/drawing/2014/main" id="{8F13BBA5-78CE-7B81-0997-F044F49A34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36" name="think-cell data - do not delete" hidden="1">
                        <a:extLst>
                          <a:ext uri="{FF2B5EF4-FFF2-40B4-BE49-F238E27FC236}">
                            <a16:creationId xmlns:a16="http://schemas.microsoft.com/office/drawing/2014/main" id="{8F13BBA5-78CE-7B81-0997-F044F49A34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B304D82B-09BB-EE30-BC94-67F70DCFE3FE}"/>
              </a:ext>
            </a:extLst>
          </p:cNvPr>
          <p:cNvSpPr>
            <a:spLocks noGrp="1"/>
          </p:cNvSpPr>
          <p:nvPr>
            <p:ph type="body" sz="quarter" idx="27"/>
          </p:nvPr>
        </p:nvSpPr>
        <p:spPr/>
        <p:txBody>
          <a:bodyPr>
            <a:noAutofit/>
          </a:bodyPr>
          <a:lstStyle/>
          <a:p>
            <a:r>
              <a:rPr lang="en-US" i="1"/>
              <a:t>We extend our gratitude to all partner institutions, funders, and banks whose collaboration and insights made this work possible</a:t>
            </a:r>
            <a:endParaRPr lang="en-US"/>
          </a:p>
        </p:txBody>
      </p:sp>
      <p:sp>
        <p:nvSpPr>
          <p:cNvPr id="47" name="Rectangle 46">
            <a:extLst>
              <a:ext uri="{FF2B5EF4-FFF2-40B4-BE49-F238E27FC236}">
                <a16:creationId xmlns:a16="http://schemas.microsoft.com/office/drawing/2014/main" id="{DD93DC36-B3BE-E0F1-B4E9-FFB127364B3E}"/>
              </a:ext>
            </a:extLst>
          </p:cNvPr>
          <p:cNvSpPr/>
          <p:nvPr/>
        </p:nvSpPr>
        <p:spPr>
          <a:xfrm>
            <a:off x="377405" y="755195"/>
            <a:ext cx="2139019" cy="16844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b="1" noProof="0">
                <a:solidFill>
                  <a:schemeClr val="accent1"/>
                </a:solidFill>
              </a:rPr>
              <a:t>Consortium partners</a:t>
            </a:r>
          </a:p>
        </p:txBody>
      </p:sp>
      <p:sp>
        <p:nvSpPr>
          <p:cNvPr id="48" name="Rectangle 47">
            <a:extLst>
              <a:ext uri="{FF2B5EF4-FFF2-40B4-BE49-F238E27FC236}">
                <a16:creationId xmlns:a16="http://schemas.microsoft.com/office/drawing/2014/main" id="{C5A16688-B36A-38CA-F86B-BEB6AE479BC9}"/>
              </a:ext>
            </a:extLst>
          </p:cNvPr>
          <p:cNvSpPr/>
          <p:nvPr/>
        </p:nvSpPr>
        <p:spPr>
          <a:xfrm>
            <a:off x="377405" y="1889570"/>
            <a:ext cx="2847034" cy="16844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b="1" noProof="0">
                <a:solidFill>
                  <a:schemeClr val="accent1"/>
                </a:solidFill>
              </a:rPr>
              <a:t>Participating institutions / banks</a:t>
            </a:r>
          </a:p>
        </p:txBody>
      </p:sp>
      <p:pic>
        <p:nvPicPr>
          <p:cNvPr id="50" name="Picture 4" descr="logo">
            <a:extLst>
              <a:ext uri="{FF2B5EF4-FFF2-40B4-BE49-F238E27FC236}">
                <a16:creationId xmlns:a16="http://schemas.microsoft.com/office/drawing/2014/main" id="{C7A7EC0C-5FE9-EBB7-B95B-5C3518778263}"/>
              </a:ext>
            </a:extLst>
          </p:cNvPr>
          <p:cNvPicPr>
            <a:picLocks noChangeAspect="1" noChangeArrowheads="1"/>
          </p:cNvPicPr>
          <p:nvPr/>
        </p:nvPicPr>
        <p:blipFill>
          <a:blip r:embed="rId5">
            <a:duotone>
              <a:prstClr val="black"/>
              <a:schemeClr val="tx1">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569149" y="1094403"/>
            <a:ext cx="1355864" cy="587010"/>
          </a:xfrm>
          <a:prstGeom prst="rect">
            <a:avLst/>
          </a:prstGeom>
          <a:noFill/>
          <a:extLst>
            <a:ext uri="{909E8E84-426E-40DD-AFC4-6F175D3DCCD1}">
              <a14:hiddenFill xmlns:a14="http://schemas.microsoft.com/office/drawing/2010/main">
                <a:solidFill>
                  <a:srgbClr val="FFFFFF"/>
                </a:solidFill>
              </a14:hiddenFill>
            </a:ext>
          </a:extLst>
        </p:spPr>
      </p:pic>
      <p:pic>
        <p:nvPicPr>
          <p:cNvPr id="51" name="Graphic 22">
            <a:extLst>
              <a:ext uri="{FF2B5EF4-FFF2-40B4-BE49-F238E27FC236}">
                <a16:creationId xmlns:a16="http://schemas.microsoft.com/office/drawing/2014/main" id="{FFC6390E-4B86-562E-843F-C371EE211673}"/>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932431" y="1231429"/>
            <a:ext cx="1093465" cy="326505"/>
          </a:xfrm>
          <a:prstGeom prst="rect">
            <a:avLst/>
          </a:prstGeom>
        </p:spPr>
      </p:pic>
      <p:pic>
        <p:nvPicPr>
          <p:cNvPr id="52" name="Picture 8" descr="GSG Global Impact Summit - Africa Impact Investing Group">
            <a:extLst>
              <a:ext uri="{FF2B5EF4-FFF2-40B4-BE49-F238E27FC236}">
                <a16:creationId xmlns:a16="http://schemas.microsoft.com/office/drawing/2014/main" id="{6A5B78AF-F0A6-4A1C-84B9-5423F51EBEC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3909" t="17560" r="13857" b="15302"/>
          <a:stretch/>
        </p:blipFill>
        <p:spPr bwMode="auto">
          <a:xfrm>
            <a:off x="7400047" y="1145341"/>
            <a:ext cx="944303" cy="485134"/>
          </a:xfrm>
          <a:prstGeom prst="rect">
            <a:avLst/>
          </a:prstGeom>
          <a:noFill/>
          <a:extLst>
            <a:ext uri="{909E8E84-426E-40DD-AFC4-6F175D3DCCD1}">
              <a14:hiddenFill xmlns:a14="http://schemas.microsoft.com/office/drawing/2010/main">
                <a:solidFill>
                  <a:srgbClr val="FFFFFF"/>
                </a:solidFill>
              </a14:hiddenFill>
            </a:ext>
          </a:extLst>
        </p:spPr>
      </p:pic>
      <p:pic>
        <p:nvPicPr>
          <p:cNvPr id="54" name="Afbeelding 13">
            <a:extLst>
              <a:ext uri="{FF2B5EF4-FFF2-40B4-BE49-F238E27FC236}">
                <a16:creationId xmlns:a16="http://schemas.microsoft.com/office/drawing/2014/main" id="{C81BA5B8-9245-2CA5-C6C5-555CC55BE7D5}"/>
              </a:ext>
            </a:extLst>
          </p:cNvPr>
          <p:cNvPicPr>
            <a:picLocks noChangeAspect="1"/>
          </p:cNvPicPr>
          <p:nvPr/>
        </p:nvPicPr>
        <p:blipFill>
          <a:blip r:embed="rId9"/>
          <a:srcRect/>
          <a:stretch/>
        </p:blipFill>
        <p:spPr>
          <a:xfrm>
            <a:off x="575723" y="1143844"/>
            <a:ext cx="1466036" cy="488128"/>
          </a:xfrm>
          <a:prstGeom prst="rect">
            <a:avLst/>
          </a:prstGeom>
        </p:spPr>
      </p:pic>
      <p:sp>
        <p:nvSpPr>
          <p:cNvPr id="5" name="AutoShape 2" descr="Home - Swiss Capacity Building Facility">
            <a:extLst>
              <a:ext uri="{FF2B5EF4-FFF2-40B4-BE49-F238E27FC236}">
                <a16:creationId xmlns:a16="http://schemas.microsoft.com/office/drawing/2014/main" id="{49E5CFC8-98CF-D5F4-A568-106A5CEB3D04}"/>
              </a:ext>
            </a:extLst>
          </p:cNvPr>
          <p:cNvSpPr>
            <a:spLocks noChangeAspect="1" noChangeArrowheads="1"/>
          </p:cNvSpPr>
          <p:nvPr/>
        </p:nvSpPr>
        <p:spPr bwMode="auto">
          <a:xfrm>
            <a:off x="4419600" y="24193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MX"/>
          </a:p>
        </p:txBody>
      </p:sp>
      <p:grpSp>
        <p:nvGrpSpPr>
          <p:cNvPr id="20" name="Group 19">
            <a:extLst>
              <a:ext uri="{FF2B5EF4-FFF2-40B4-BE49-F238E27FC236}">
                <a16:creationId xmlns:a16="http://schemas.microsoft.com/office/drawing/2014/main" id="{D4EDD265-C7B9-BB39-86E7-038A69933D4B}"/>
              </a:ext>
            </a:extLst>
          </p:cNvPr>
          <p:cNvGrpSpPr/>
          <p:nvPr/>
        </p:nvGrpSpPr>
        <p:grpSpPr>
          <a:xfrm>
            <a:off x="604762" y="4015770"/>
            <a:ext cx="7892691" cy="594563"/>
            <a:chOff x="488346" y="3232604"/>
            <a:chExt cx="7892691" cy="594563"/>
          </a:xfrm>
        </p:grpSpPr>
        <p:grpSp>
          <p:nvGrpSpPr>
            <p:cNvPr id="9" name="Group 8">
              <a:extLst>
                <a:ext uri="{FF2B5EF4-FFF2-40B4-BE49-F238E27FC236}">
                  <a16:creationId xmlns:a16="http://schemas.microsoft.com/office/drawing/2014/main" id="{9AB0AEC7-9A92-2B8C-418F-06418E985EA6}"/>
                </a:ext>
              </a:extLst>
            </p:cNvPr>
            <p:cNvGrpSpPr/>
            <p:nvPr/>
          </p:nvGrpSpPr>
          <p:grpSpPr>
            <a:xfrm>
              <a:off x="488346" y="3232604"/>
              <a:ext cx="7892691" cy="594563"/>
              <a:chOff x="488346" y="3232604"/>
              <a:chExt cx="7892691" cy="594563"/>
            </a:xfrm>
          </p:grpSpPr>
          <p:grpSp>
            <p:nvGrpSpPr>
              <p:cNvPr id="8" name="Group 7">
                <a:extLst>
                  <a:ext uri="{FF2B5EF4-FFF2-40B4-BE49-F238E27FC236}">
                    <a16:creationId xmlns:a16="http://schemas.microsoft.com/office/drawing/2014/main" id="{58EEB1E4-E87C-DC15-5157-C7BC577516FC}"/>
                  </a:ext>
                </a:extLst>
              </p:cNvPr>
              <p:cNvGrpSpPr/>
              <p:nvPr/>
            </p:nvGrpSpPr>
            <p:grpSpPr>
              <a:xfrm>
                <a:off x="1869680" y="3232604"/>
                <a:ext cx="6511357" cy="594563"/>
                <a:chOff x="1869680" y="3232604"/>
                <a:chExt cx="6511357" cy="594563"/>
              </a:xfrm>
            </p:grpSpPr>
            <p:grpSp>
              <p:nvGrpSpPr>
                <p:cNvPr id="56" name="Group 55">
                  <a:extLst>
                    <a:ext uri="{FF2B5EF4-FFF2-40B4-BE49-F238E27FC236}">
                      <a16:creationId xmlns:a16="http://schemas.microsoft.com/office/drawing/2014/main" id="{FD2FAE6F-53CA-491C-C0BF-B84E415DC299}"/>
                    </a:ext>
                  </a:extLst>
                </p:cNvPr>
                <p:cNvGrpSpPr/>
                <p:nvPr/>
              </p:nvGrpSpPr>
              <p:grpSpPr>
                <a:xfrm>
                  <a:off x="1869680" y="3232604"/>
                  <a:ext cx="6511357" cy="594563"/>
                  <a:chOff x="1869680" y="3186806"/>
                  <a:chExt cx="6511357" cy="594563"/>
                </a:xfrm>
              </p:grpSpPr>
              <p:pic>
                <p:nvPicPr>
                  <p:cNvPr id="18" name="Picture 30" descr="Deutsche Gesellschaft für Internationale Zusammenarbeit (GIZ) GmbH logo">
                    <a:extLst>
                      <a:ext uri="{FF2B5EF4-FFF2-40B4-BE49-F238E27FC236}">
                        <a16:creationId xmlns:a16="http://schemas.microsoft.com/office/drawing/2014/main" id="{409209DF-830D-AA90-EFCA-5EF2975496D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69680" y="3186806"/>
                    <a:ext cx="594563" cy="594563"/>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TechnoServe - Wikipedia">
                    <a:extLst>
                      <a:ext uri="{FF2B5EF4-FFF2-40B4-BE49-F238E27FC236}">
                        <a16:creationId xmlns:a16="http://schemas.microsoft.com/office/drawing/2014/main" id="{5A3F7AF1-9E05-6305-28F7-5DACAB6B78F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477816" y="3245986"/>
                    <a:ext cx="903221" cy="476203"/>
                  </a:xfrm>
                  <a:prstGeom prst="rect">
                    <a:avLst/>
                  </a:prstGeom>
                  <a:noFill/>
                  <a:extLst>
                    <a:ext uri="{909E8E84-426E-40DD-AFC4-6F175D3DCCD1}">
                      <a14:hiddenFill xmlns:a14="http://schemas.microsoft.com/office/drawing/2010/main">
                        <a:solidFill>
                          <a:srgbClr val="FFFFFF"/>
                        </a:solidFill>
                      </a14:hiddenFill>
                    </a:ext>
                  </a:extLst>
                </p:spPr>
              </p:pic>
            </p:grpSp>
            <p:pic>
              <p:nvPicPr>
                <p:cNvPr id="3078" name="Picture 6" descr="SCBF | LinkedIn">
                  <a:extLst>
                    <a:ext uri="{FF2B5EF4-FFF2-40B4-BE49-F238E27FC236}">
                      <a16:creationId xmlns:a16="http://schemas.microsoft.com/office/drawing/2014/main" id="{C50CA460-C43C-6791-DD7A-C794B31B276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41813" y="3232604"/>
                  <a:ext cx="594563" cy="594563"/>
                </a:xfrm>
                <a:prstGeom prst="rect">
                  <a:avLst/>
                </a:prstGeom>
                <a:noFill/>
                <a:extLst>
                  <a:ext uri="{909E8E84-426E-40DD-AFC4-6F175D3DCCD1}">
                    <a14:hiddenFill xmlns:a14="http://schemas.microsoft.com/office/drawing/2010/main">
                      <a:solidFill>
                        <a:srgbClr val="FFFFFF"/>
                      </a:solidFill>
                    </a14:hiddenFill>
                  </a:ext>
                </a:extLst>
              </p:spPr>
            </p:pic>
          </p:grpSp>
          <p:pic>
            <p:nvPicPr>
              <p:cNvPr id="3080" name="Picture 8" descr="Agencia Francesa para el Desarrollo - Wikipedia, la enciclopedia libre">
                <a:extLst>
                  <a:ext uri="{FF2B5EF4-FFF2-40B4-BE49-F238E27FC236}">
                    <a16:creationId xmlns:a16="http://schemas.microsoft.com/office/drawing/2014/main" id="{8E1B3BA6-C531-8A35-00F9-D5CEC9301F3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88346" y="3276733"/>
                <a:ext cx="1144101" cy="506305"/>
              </a:xfrm>
              <a:prstGeom prst="rect">
                <a:avLst/>
              </a:prstGeom>
              <a:noFill/>
              <a:extLst>
                <a:ext uri="{909E8E84-426E-40DD-AFC4-6F175D3DCCD1}">
                  <a14:hiddenFill xmlns:a14="http://schemas.microsoft.com/office/drawing/2010/main">
                    <a:solidFill>
                      <a:srgbClr val="FFFFFF"/>
                    </a:solidFill>
                  </a14:hiddenFill>
                </a:ext>
              </a:extLst>
            </p:spPr>
          </p:pic>
        </p:grpSp>
        <p:pic>
          <p:nvPicPr>
            <p:cNvPr id="3082" name="Picture 10" descr="Aceli Africa | Global Development Incubator">
              <a:extLst>
                <a:ext uri="{FF2B5EF4-FFF2-40B4-BE49-F238E27FC236}">
                  <a16:creationId xmlns:a16="http://schemas.microsoft.com/office/drawing/2014/main" id="{6D8A3010-F8BC-8A0F-E13F-625B277E757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811275" y="3378908"/>
              <a:ext cx="877971" cy="30195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3622829F-544B-B43D-F3EE-1B6E6BB7277B}"/>
                </a:ext>
              </a:extLst>
            </p:cNvPr>
            <p:cNvPicPr>
              <a:picLocks noChangeAspect="1"/>
            </p:cNvPicPr>
            <p:nvPr/>
          </p:nvPicPr>
          <p:blipFill>
            <a:blip r:embed="rId15"/>
            <a:stretch>
              <a:fillRect/>
            </a:stretch>
          </p:blipFill>
          <p:spPr>
            <a:xfrm>
              <a:off x="2680311" y="3322727"/>
              <a:ext cx="1089182" cy="414317"/>
            </a:xfrm>
            <a:prstGeom prst="rect">
              <a:avLst/>
            </a:prstGeom>
          </p:spPr>
        </p:pic>
        <p:pic>
          <p:nvPicPr>
            <p:cNvPr id="16" name="Picture 15">
              <a:extLst>
                <a:ext uri="{FF2B5EF4-FFF2-40B4-BE49-F238E27FC236}">
                  <a16:creationId xmlns:a16="http://schemas.microsoft.com/office/drawing/2014/main" id="{DCFDE05B-D829-5DC1-6190-B95B8714FB81}"/>
                </a:ext>
              </a:extLst>
            </p:cNvPr>
            <p:cNvPicPr>
              <a:picLocks noChangeAspect="1"/>
            </p:cNvPicPr>
            <p:nvPr/>
          </p:nvPicPr>
          <p:blipFill>
            <a:blip r:embed="rId16"/>
            <a:stretch>
              <a:fillRect/>
            </a:stretch>
          </p:blipFill>
          <p:spPr>
            <a:xfrm>
              <a:off x="5107392" y="3232604"/>
              <a:ext cx="419025" cy="594563"/>
            </a:xfrm>
            <a:prstGeom prst="rect">
              <a:avLst/>
            </a:prstGeom>
          </p:spPr>
        </p:pic>
      </p:grpSp>
      <p:grpSp>
        <p:nvGrpSpPr>
          <p:cNvPr id="19" name="Group 18">
            <a:extLst>
              <a:ext uri="{FF2B5EF4-FFF2-40B4-BE49-F238E27FC236}">
                <a16:creationId xmlns:a16="http://schemas.microsoft.com/office/drawing/2014/main" id="{D5C9E053-1E04-0AA7-5280-0AEFCC27F775}"/>
              </a:ext>
            </a:extLst>
          </p:cNvPr>
          <p:cNvGrpSpPr/>
          <p:nvPr/>
        </p:nvGrpSpPr>
        <p:grpSpPr>
          <a:xfrm>
            <a:off x="575723" y="2248623"/>
            <a:ext cx="7768627" cy="657828"/>
            <a:chOff x="575723" y="2248623"/>
            <a:chExt cx="7768627" cy="657828"/>
          </a:xfrm>
        </p:grpSpPr>
        <p:grpSp>
          <p:nvGrpSpPr>
            <p:cNvPr id="57" name="Group 56">
              <a:extLst>
                <a:ext uri="{FF2B5EF4-FFF2-40B4-BE49-F238E27FC236}">
                  <a16:creationId xmlns:a16="http://schemas.microsoft.com/office/drawing/2014/main" id="{949D8FAC-4128-33E3-C3F0-2BBF96C6B34A}"/>
                </a:ext>
              </a:extLst>
            </p:cNvPr>
            <p:cNvGrpSpPr/>
            <p:nvPr/>
          </p:nvGrpSpPr>
          <p:grpSpPr>
            <a:xfrm>
              <a:off x="575723" y="2248623"/>
              <a:ext cx="7768627" cy="657828"/>
              <a:chOff x="575723" y="2242836"/>
              <a:chExt cx="7768627" cy="657828"/>
            </a:xfrm>
          </p:grpSpPr>
          <p:pic>
            <p:nvPicPr>
              <p:cNvPr id="6" name="Picture 12">
                <a:extLst>
                  <a:ext uri="{FF2B5EF4-FFF2-40B4-BE49-F238E27FC236}">
                    <a16:creationId xmlns:a16="http://schemas.microsoft.com/office/drawing/2014/main" id="{08A710D0-BA30-0838-9063-C0BCCB910E0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p:blipFill>
            <p:spPr bwMode="auto">
              <a:xfrm>
                <a:off x="1300076" y="2390248"/>
                <a:ext cx="960120" cy="36300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2" descr="African Development Bank Group logo">
                <a:extLst>
                  <a:ext uri="{FF2B5EF4-FFF2-40B4-BE49-F238E27FC236}">
                    <a16:creationId xmlns:a16="http://schemas.microsoft.com/office/drawing/2014/main" id="{C6958D01-7E05-64AE-98B9-720B4A9D4889}"/>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t="24046" b="23987"/>
              <a:stretch>
                <a:fillRect/>
              </a:stretch>
            </p:blipFill>
            <p:spPr bwMode="auto">
              <a:xfrm>
                <a:off x="2384929" y="2274469"/>
                <a:ext cx="1144101" cy="59456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8" descr="FMO - Dutch entrepreneurial development bank logo">
                <a:extLst>
                  <a:ext uri="{FF2B5EF4-FFF2-40B4-BE49-F238E27FC236}">
                    <a16:creationId xmlns:a16="http://schemas.microsoft.com/office/drawing/2014/main" id="{3B08F86B-4F06-4417-E221-93F5C692FB7C}"/>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t="14184" b="18470"/>
              <a:stretch>
                <a:fillRect/>
              </a:stretch>
            </p:blipFill>
            <p:spPr bwMode="auto">
              <a:xfrm>
                <a:off x="3664346" y="2287876"/>
                <a:ext cx="843040" cy="56774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58" descr="SME Finance Forum, Managed by the IFC (International Finance Corporation) logo">
                <a:extLst>
                  <a:ext uri="{FF2B5EF4-FFF2-40B4-BE49-F238E27FC236}">
                    <a16:creationId xmlns:a16="http://schemas.microsoft.com/office/drawing/2014/main" id="{A9960CED-C703-1F98-AF8F-B88C78719FB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75723" y="2242836"/>
                <a:ext cx="657828" cy="65782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European Bank for Reconstruction and Development (EBRD) | Foro Económico  Mundial">
                <a:extLst>
                  <a:ext uri="{FF2B5EF4-FFF2-40B4-BE49-F238E27FC236}">
                    <a16:creationId xmlns:a16="http://schemas.microsoft.com/office/drawing/2014/main" id="{88D05E44-599D-A798-5D40-8DE793C2303C}"/>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420577" y="2294013"/>
                <a:ext cx="999855" cy="555475"/>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IFC Logo - PNG y Vector">
                <a:extLst>
                  <a:ext uri="{FF2B5EF4-FFF2-40B4-BE49-F238E27FC236}">
                    <a16:creationId xmlns:a16="http://schemas.microsoft.com/office/drawing/2014/main" id="{EF1BE3FA-AABD-EC7B-DCB6-029A8F5B9AA4}"/>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13821" t="34205" r="13415" b="33614"/>
              <a:stretch>
                <a:fillRect/>
              </a:stretch>
            </p:blipFill>
            <p:spPr bwMode="auto">
              <a:xfrm>
                <a:off x="7400047" y="2362938"/>
                <a:ext cx="944303" cy="417625"/>
              </a:xfrm>
              <a:prstGeom prst="rect">
                <a:avLst/>
              </a:prstGeom>
              <a:noFill/>
              <a:extLst>
                <a:ext uri="{909E8E84-426E-40DD-AFC4-6F175D3DCCD1}">
                  <a14:hiddenFill xmlns:a14="http://schemas.microsoft.com/office/drawing/2010/main">
                    <a:solidFill>
                      <a:srgbClr val="FFFFFF"/>
                    </a:solidFill>
                  </a14:hiddenFill>
                </a:ext>
              </a:extLst>
            </p:spPr>
          </p:pic>
        </p:grpSp>
        <p:pic>
          <p:nvPicPr>
            <p:cNvPr id="3086" name="Picture 14" descr="IDB Invest">
              <a:extLst>
                <a:ext uri="{FF2B5EF4-FFF2-40B4-BE49-F238E27FC236}">
                  <a16:creationId xmlns:a16="http://schemas.microsoft.com/office/drawing/2014/main" id="{00F667DE-C75E-A1B6-06C6-6EBD6D8086F2}"/>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t="20200" b="20020"/>
            <a:stretch>
              <a:fillRect/>
            </a:stretch>
          </p:blipFill>
          <p:spPr bwMode="auto">
            <a:xfrm>
              <a:off x="6502832" y="2337156"/>
              <a:ext cx="804230" cy="480762"/>
            </a:xfrm>
            <a:prstGeom prst="rect">
              <a:avLst/>
            </a:prstGeom>
            <a:noFill/>
            <a:extLst>
              <a:ext uri="{909E8E84-426E-40DD-AFC4-6F175D3DCCD1}">
                <a14:hiddenFill xmlns:a14="http://schemas.microsoft.com/office/drawing/2010/main">
                  <a:solidFill>
                    <a:srgbClr val="FFFFFF"/>
                  </a:solidFill>
                </a14:hiddenFill>
              </a:ext>
            </a:extLst>
          </p:spPr>
        </p:pic>
      </p:grpSp>
      <p:pic>
        <p:nvPicPr>
          <p:cNvPr id="3088" name="Picture 16" descr="Bank of Punjab - Wikipedia">
            <a:extLst>
              <a:ext uri="{FF2B5EF4-FFF2-40B4-BE49-F238E27FC236}">
                <a16:creationId xmlns:a16="http://schemas.microsoft.com/office/drawing/2014/main" id="{6C941E82-20F3-83BF-A4A7-C494AE4482CF}"/>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2314241" y="5115560"/>
            <a:ext cx="98947" cy="58708"/>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C3B04B47-9A89-2940-5087-D0DABB1D97EF}"/>
              </a:ext>
            </a:extLst>
          </p:cNvPr>
          <p:cNvGrpSpPr/>
          <p:nvPr/>
        </p:nvGrpSpPr>
        <p:grpSpPr>
          <a:xfrm>
            <a:off x="642331" y="3185633"/>
            <a:ext cx="7861332" cy="539931"/>
            <a:chOff x="684664" y="4185758"/>
            <a:chExt cx="7861332" cy="539931"/>
          </a:xfrm>
        </p:grpSpPr>
        <p:grpSp>
          <p:nvGrpSpPr>
            <p:cNvPr id="55" name="Group 54">
              <a:extLst>
                <a:ext uri="{FF2B5EF4-FFF2-40B4-BE49-F238E27FC236}">
                  <a16:creationId xmlns:a16="http://schemas.microsoft.com/office/drawing/2014/main" id="{18348EA6-6BA4-0A24-A4D7-8C30D9B20DF5}"/>
                </a:ext>
              </a:extLst>
            </p:cNvPr>
            <p:cNvGrpSpPr/>
            <p:nvPr/>
          </p:nvGrpSpPr>
          <p:grpSpPr>
            <a:xfrm>
              <a:off x="684664" y="4185758"/>
              <a:ext cx="5612295" cy="539931"/>
              <a:chOff x="684664" y="4179971"/>
              <a:chExt cx="5612295" cy="539931"/>
            </a:xfrm>
          </p:grpSpPr>
          <p:pic>
            <p:nvPicPr>
              <p:cNvPr id="29" name="Picture 8" descr="KCB Bank Kenya Limited - Wikipedia">
                <a:extLst>
                  <a:ext uri="{FF2B5EF4-FFF2-40B4-BE49-F238E27FC236}">
                    <a16:creationId xmlns:a16="http://schemas.microsoft.com/office/drawing/2014/main" id="{B43D5932-04B1-2CF8-BCC8-8CF504EF7770}"/>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305789" y="4241882"/>
                <a:ext cx="778934" cy="41610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0" descr="Stanbic Bank Uganda">
                <a:extLst>
                  <a:ext uri="{FF2B5EF4-FFF2-40B4-BE49-F238E27FC236}">
                    <a16:creationId xmlns:a16="http://schemas.microsoft.com/office/drawing/2014/main" id="{16BF7A98-BB8D-81CB-751E-3F977346A58C}"/>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265904" y="4277309"/>
                <a:ext cx="1027795" cy="34525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descr="BAC Credomatic - Wikipedia">
                <a:extLst>
                  <a:ext uri="{FF2B5EF4-FFF2-40B4-BE49-F238E27FC236}">
                    <a16:creationId xmlns:a16="http://schemas.microsoft.com/office/drawing/2014/main" id="{6ACBC78B-DC2D-06B5-C18C-EB4E96939223}"/>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5418988" y="4300567"/>
                <a:ext cx="877971" cy="298738"/>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46237E79-9B2E-9B45-038F-61F367F75A8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684664" y="4179971"/>
                <a:ext cx="439944" cy="539931"/>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 Logo Bi Banco Industrial PNG HD vector (AI, CDR, EPS, PDF, SVG)">
                <a:extLst>
                  <a:ext uri="{FF2B5EF4-FFF2-40B4-BE49-F238E27FC236}">
                    <a16:creationId xmlns:a16="http://schemas.microsoft.com/office/drawing/2014/main" id="{54F66E7C-8AB7-69FC-0CC7-FBFD95FD180D}"/>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t="17681" b="16373"/>
              <a:stretch>
                <a:fillRect/>
              </a:stretch>
            </p:blipFill>
            <p:spPr bwMode="auto">
              <a:xfrm>
                <a:off x="3474880" y="4277309"/>
                <a:ext cx="999855" cy="345254"/>
              </a:xfrm>
              <a:prstGeom prst="rect">
                <a:avLst/>
              </a:prstGeom>
              <a:noFill/>
              <a:extLst>
                <a:ext uri="{909E8E84-426E-40DD-AFC4-6F175D3DCCD1}">
                  <a14:hiddenFill xmlns:a14="http://schemas.microsoft.com/office/drawing/2010/main">
                    <a:solidFill>
                      <a:srgbClr val="FFFFFF"/>
                    </a:solidFill>
                  </a14:hiddenFill>
                </a:ext>
              </a:extLst>
            </p:spPr>
          </p:pic>
        </p:grpSp>
        <p:pic>
          <p:nvPicPr>
            <p:cNvPr id="10" name="Picture 18" descr="BRAC Bank">
              <a:extLst>
                <a:ext uri="{FF2B5EF4-FFF2-40B4-BE49-F238E27FC236}">
                  <a16:creationId xmlns:a16="http://schemas.microsoft.com/office/drawing/2014/main" id="{A39D985B-521D-B801-E8F6-E355993EDA9E}"/>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7477816" y="4265383"/>
              <a:ext cx="1068180" cy="380681"/>
            </a:xfrm>
            <a:prstGeom prst="rect">
              <a:avLst/>
            </a:prstGeom>
            <a:noFill/>
            <a:extLst>
              <a:ext uri="{909E8E84-426E-40DD-AFC4-6F175D3DCCD1}">
                <a14:hiddenFill xmlns:a14="http://schemas.microsoft.com/office/drawing/2010/main">
                  <a:solidFill>
                    <a:srgbClr val="FFFFFF"/>
                  </a:solidFill>
                </a14:hiddenFill>
              </a:ext>
            </a:extLst>
          </p:spPr>
        </p:pic>
        <p:pic>
          <p:nvPicPr>
            <p:cNvPr id="3090" name="Picture 18" descr="Banque Saudi Fransi - CAFS KSA">
              <a:extLst>
                <a:ext uri="{FF2B5EF4-FFF2-40B4-BE49-F238E27FC236}">
                  <a16:creationId xmlns:a16="http://schemas.microsoft.com/office/drawing/2014/main" id="{95609A9D-3C21-1411-6CEF-67CCB9E90913}"/>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6478140" y="4328757"/>
              <a:ext cx="818495" cy="253932"/>
            </a:xfrm>
            <a:prstGeom prst="rect">
              <a:avLst/>
            </a:prstGeom>
            <a:noFill/>
            <a:extLst>
              <a:ext uri="{909E8E84-426E-40DD-AFC4-6F175D3DCCD1}">
                <a14:hiddenFill xmlns:a14="http://schemas.microsoft.com/office/drawing/2010/main">
                  <a:solidFill>
                    <a:srgbClr val="FFFFFF"/>
                  </a:solidFill>
                </a14:hiddenFill>
              </a:ext>
            </a:extLst>
          </p:spPr>
        </p:pic>
        <p:pic>
          <p:nvPicPr>
            <p:cNvPr id="3092" name="Picture 20" descr="Bank of Punjab - Wikipedia">
              <a:extLst>
                <a:ext uri="{FF2B5EF4-FFF2-40B4-BE49-F238E27FC236}">
                  <a16:creationId xmlns:a16="http://schemas.microsoft.com/office/drawing/2014/main" id="{8A424901-54C0-CC8E-291D-F5906ABDA68C}"/>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655916" y="4283096"/>
              <a:ext cx="581891" cy="345255"/>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Slide Number Placeholder 3">
            <a:extLst>
              <a:ext uri="{FF2B5EF4-FFF2-40B4-BE49-F238E27FC236}">
                <a16:creationId xmlns:a16="http://schemas.microsoft.com/office/drawing/2014/main" id="{6FDAFC4E-547E-0E33-AD66-8EFB8A8593E5}"/>
              </a:ext>
            </a:extLst>
          </p:cNvPr>
          <p:cNvSpPr>
            <a:spLocks noGrp="1"/>
          </p:cNvSpPr>
          <p:nvPr>
            <p:ph type="sldNum" sz="quarter" idx="4294967295"/>
          </p:nvPr>
        </p:nvSpPr>
        <p:spPr>
          <a:xfrm>
            <a:off x="8729560" y="4911474"/>
            <a:ext cx="342581" cy="96296"/>
          </a:xfrm>
        </p:spPr>
        <p:txBody>
          <a:bodyPr/>
          <a:lstStyle/>
          <a:p>
            <a:fld id="{A90607E6-BCED-4FC1-A345-AB2A307AB80F}" type="slidenum">
              <a:rPr lang="en-US" sz="700" b="1" smtClean="0"/>
              <a:pPr/>
              <a:t>1</a:t>
            </a:fld>
            <a:endParaRPr lang="en-US" b="1"/>
          </a:p>
        </p:txBody>
      </p:sp>
      <p:pic>
        <p:nvPicPr>
          <p:cNvPr id="4" name="Imagen 148">
            <a:extLst>
              <a:ext uri="{FF2B5EF4-FFF2-40B4-BE49-F238E27FC236}">
                <a16:creationId xmlns:a16="http://schemas.microsoft.com/office/drawing/2014/main" id="{8A99BC52-383B-8C69-9650-2E7B7139EE50}"/>
              </a:ext>
            </a:extLst>
          </p:cNvPr>
          <p:cNvPicPr>
            <a:picLocks noChangeAspect="1"/>
          </p:cNvPicPr>
          <p:nvPr/>
        </p:nvPicPr>
        <p:blipFill>
          <a:blip r:embed="rId32"/>
          <a:srcRect r="66185" b="5269"/>
          <a:stretch>
            <a:fillRect/>
          </a:stretch>
        </p:blipFill>
        <p:spPr>
          <a:xfrm>
            <a:off x="8601679" y="4778619"/>
            <a:ext cx="255761" cy="263364"/>
          </a:xfrm>
          <a:prstGeom prst="rect">
            <a:avLst/>
          </a:prstGeom>
        </p:spPr>
      </p:pic>
      <p:pic>
        <p:nvPicPr>
          <p:cNvPr id="7" name="Picture 6" descr="A blue and white logo&#10;&#10;AI-generated content may be incorrect.">
            <a:extLst>
              <a:ext uri="{FF2B5EF4-FFF2-40B4-BE49-F238E27FC236}">
                <a16:creationId xmlns:a16="http://schemas.microsoft.com/office/drawing/2014/main" id="{9E365B74-2532-54C8-9847-FEFF4F931E27}"/>
              </a:ext>
            </a:extLst>
          </p:cNvPr>
          <p:cNvPicPr>
            <a:picLocks noChangeAspect="1"/>
          </p:cNvPicPr>
          <p:nvPr/>
        </p:nvPicPr>
        <p:blipFill>
          <a:blip r:embed="rId33"/>
          <a:srcRect l="7170" t="8363" r="6974" b="11301"/>
          <a:stretch>
            <a:fillRect/>
          </a:stretch>
        </p:blipFill>
        <p:spPr>
          <a:xfrm>
            <a:off x="2417821" y="1100605"/>
            <a:ext cx="1097419" cy="587010"/>
          </a:xfrm>
          <a:prstGeom prst="rect">
            <a:avLst/>
          </a:prstGeom>
        </p:spPr>
      </p:pic>
      <p:pic>
        <p:nvPicPr>
          <p:cNvPr id="14" name="Picture 13" descr="Banco Asiático de Desarrollo (ADB)-Asian Development Bank (ADB) - Alianza  Global por los Cuidados / Global Alliance for Care">
            <a:extLst>
              <a:ext uri="{FF2B5EF4-FFF2-40B4-BE49-F238E27FC236}">
                <a16:creationId xmlns:a16="http://schemas.microsoft.com/office/drawing/2014/main" id="{CE5B844C-CDAE-4518-FDE1-9C0F1930C31A}"/>
              </a:ext>
            </a:extLst>
          </p:cNvPr>
          <p:cNvPicPr>
            <a:picLocks noChangeAspect="1"/>
          </p:cNvPicPr>
          <p:nvPr/>
        </p:nvPicPr>
        <p:blipFill>
          <a:blip r:embed="rId34"/>
          <a:stretch>
            <a:fillRect/>
          </a:stretch>
        </p:blipFill>
        <p:spPr>
          <a:xfrm>
            <a:off x="4649788" y="2305579"/>
            <a:ext cx="542925" cy="542925"/>
          </a:xfrm>
          <a:prstGeom prst="rect">
            <a:avLst/>
          </a:prstGeom>
        </p:spPr>
      </p:pic>
      <p:pic>
        <p:nvPicPr>
          <p:cNvPr id="15" name="Picture 14" descr="Ada Logo">
            <a:extLst>
              <a:ext uri="{FF2B5EF4-FFF2-40B4-BE49-F238E27FC236}">
                <a16:creationId xmlns:a16="http://schemas.microsoft.com/office/drawing/2014/main" id="{0F076D1D-282D-2120-203D-4BA2B3A42B17}"/>
              </a:ext>
            </a:extLst>
          </p:cNvPr>
          <p:cNvPicPr>
            <a:picLocks noChangeAspect="1"/>
          </p:cNvPicPr>
          <p:nvPr/>
        </p:nvPicPr>
        <p:blipFill>
          <a:blip r:embed="rId35"/>
          <a:srcRect r="-775" b="1123"/>
          <a:stretch>
            <a:fillRect/>
          </a:stretch>
        </p:blipFill>
        <p:spPr>
          <a:xfrm>
            <a:off x="4149725" y="4142846"/>
            <a:ext cx="691116" cy="461482"/>
          </a:xfrm>
          <a:prstGeom prst="rect">
            <a:avLst/>
          </a:prstGeom>
        </p:spPr>
      </p:pic>
      <p:sp>
        <p:nvSpPr>
          <p:cNvPr id="11" name="CuadroTexto 31">
            <a:extLst>
              <a:ext uri="{FF2B5EF4-FFF2-40B4-BE49-F238E27FC236}">
                <a16:creationId xmlns:a16="http://schemas.microsoft.com/office/drawing/2014/main" id="{249E38B7-154C-4AE2-8D97-22FFE420F693}"/>
              </a:ext>
            </a:extLst>
          </p:cNvPr>
          <p:cNvSpPr txBox="1"/>
          <p:nvPr/>
        </p:nvSpPr>
        <p:spPr>
          <a:xfrm>
            <a:off x="466344" y="4828501"/>
            <a:ext cx="8135335" cy="307777"/>
          </a:xfrm>
          <a:prstGeom prst="rect">
            <a:avLst/>
          </a:prstGeom>
          <a:noFill/>
        </p:spPr>
        <p:txBody>
          <a:bodyPr wrap="square">
            <a:spAutoFit/>
          </a:bodyPr>
          <a:lstStyle/>
          <a:p>
            <a:r>
              <a:rPr lang="en-US" sz="700" b="1">
                <a:solidFill>
                  <a:schemeClr val="accent1"/>
                </a:solidFill>
              </a:rPr>
              <a:t>Note: </a:t>
            </a:r>
            <a:r>
              <a:rPr lang="en-US" sz="700">
                <a:solidFill>
                  <a:schemeClr val="accent1"/>
                </a:solidFill>
              </a:rPr>
              <a:t>This report was made possible through support from the Argidius Foundation on behalf of the Growth Firms Alliance. It does not necessarily reflect the views of other GFA sponsors, who did not participate in its development.</a:t>
            </a:r>
            <a:endParaRPr lang="en-US" sz="700" u="sng">
              <a:solidFill>
                <a:schemeClr val="accent1"/>
              </a:solidFill>
            </a:endParaRPr>
          </a:p>
        </p:txBody>
      </p:sp>
    </p:spTree>
    <p:extLst>
      <p:ext uri="{BB962C8B-B14F-4D97-AF65-F5344CB8AC3E}">
        <p14:creationId xmlns:p14="http://schemas.microsoft.com/office/powerpoint/2010/main" val="36659974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2E38BC-07FC-E7B8-8A08-2D2CD23965E3}"/>
              </a:ext>
            </a:extLst>
          </p:cNvPr>
          <p:cNvSpPr>
            <a:spLocks noGrp="1"/>
          </p:cNvSpPr>
          <p:nvPr>
            <p:ph type="body" sz="quarter" idx="27"/>
          </p:nvPr>
        </p:nvSpPr>
        <p:spPr/>
        <p:txBody>
          <a:bodyPr>
            <a:normAutofit/>
          </a:bodyPr>
          <a:lstStyle/>
          <a:p>
            <a:r>
              <a:rPr lang="en-US"/>
              <a:t>Commercial banks can unlock $5.7 trillion by supporting underserved SMEs</a:t>
            </a:r>
            <a:endParaRPr lang="en-US">
              <a:ea typeface="Lato"/>
              <a:cs typeface="Lato"/>
            </a:endParaRPr>
          </a:p>
        </p:txBody>
      </p:sp>
      <p:sp>
        <p:nvSpPr>
          <p:cNvPr id="2" name="Slide Number Placeholder 3">
            <a:extLst>
              <a:ext uri="{FF2B5EF4-FFF2-40B4-BE49-F238E27FC236}">
                <a16:creationId xmlns:a16="http://schemas.microsoft.com/office/drawing/2014/main" id="{734951A2-DD88-55ED-1831-822A2A35D445}"/>
              </a:ext>
            </a:extLst>
          </p:cNvPr>
          <p:cNvSpPr>
            <a:spLocks noGrp="1"/>
          </p:cNvSpPr>
          <p:nvPr>
            <p:ph type="sldNum" sz="quarter" idx="4294967295"/>
          </p:nvPr>
        </p:nvSpPr>
        <p:spPr>
          <a:xfrm>
            <a:off x="8729560" y="4911474"/>
            <a:ext cx="342581" cy="96296"/>
          </a:xfrm>
        </p:spPr>
        <p:txBody>
          <a:bodyPr/>
          <a:lstStyle/>
          <a:p>
            <a:fld id="{A90607E6-BCED-4FC1-A345-AB2A307AB80F}" type="slidenum">
              <a:rPr lang="en-US" sz="700" b="1" smtClean="0"/>
              <a:pPr/>
              <a:t>2</a:t>
            </a:fld>
            <a:endParaRPr lang="en-US" b="1"/>
          </a:p>
        </p:txBody>
      </p:sp>
      <p:sp>
        <p:nvSpPr>
          <p:cNvPr id="46" name="Text Placeholder 5">
            <a:extLst>
              <a:ext uri="{FF2B5EF4-FFF2-40B4-BE49-F238E27FC236}">
                <a16:creationId xmlns:a16="http://schemas.microsoft.com/office/drawing/2014/main" id="{B8BFBCEA-2FF9-1A96-2594-31A46943AE59}"/>
              </a:ext>
            </a:extLst>
          </p:cNvPr>
          <p:cNvSpPr txBox="1">
            <a:spLocks/>
          </p:cNvSpPr>
          <p:nvPr/>
        </p:nvSpPr>
        <p:spPr>
          <a:xfrm>
            <a:off x="466344" y="4802188"/>
            <a:ext cx="8182621" cy="267176"/>
          </a:xfrm>
          <a:prstGeom prst="rect">
            <a:avLst/>
          </a:prstGeom>
        </p:spPr>
        <p:txBody>
          <a:bodyPr>
            <a:norm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endParaRPr lang="en-US" sz="100"/>
          </a:p>
        </p:txBody>
      </p:sp>
      <p:sp>
        <p:nvSpPr>
          <p:cNvPr id="48" name="CuadroTexto 31">
            <a:extLst>
              <a:ext uri="{FF2B5EF4-FFF2-40B4-BE49-F238E27FC236}">
                <a16:creationId xmlns:a16="http://schemas.microsoft.com/office/drawing/2014/main" id="{EE492770-7214-6095-C96C-4E869ABE737F}"/>
              </a:ext>
            </a:extLst>
          </p:cNvPr>
          <p:cNvSpPr txBox="1"/>
          <p:nvPr/>
        </p:nvSpPr>
        <p:spPr>
          <a:xfrm>
            <a:off x="466344" y="4943445"/>
            <a:ext cx="7517531" cy="200055"/>
          </a:xfrm>
          <a:prstGeom prst="rect">
            <a:avLst/>
          </a:prstGeom>
          <a:noFill/>
        </p:spPr>
        <p:txBody>
          <a:bodyPr wrap="square">
            <a:spAutoFit/>
          </a:bodyPr>
          <a:lstStyle/>
          <a:p>
            <a:r>
              <a:rPr lang="en-US" sz="700" b="1">
                <a:solidFill>
                  <a:srgbClr val="517A70"/>
                </a:solidFill>
              </a:rPr>
              <a:t>Sources:</a:t>
            </a:r>
            <a:r>
              <a:rPr lang="en-US" sz="700">
                <a:solidFill>
                  <a:srgbClr val="517A70"/>
                </a:solidFill>
              </a:rPr>
              <a:t> IFC. (2025). </a:t>
            </a:r>
            <a:r>
              <a:rPr lang="en-US" sz="700" u="sng">
                <a:solidFill>
                  <a:srgbClr val="517A70"/>
                </a:solidFill>
              </a:rPr>
              <a:t>MSME Finance Gap</a:t>
            </a:r>
            <a:r>
              <a:rPr lang="en-US" sz="700">
                <a:solidFill>
                  <a:srgbClr val="517A70"/>
                </a:solidFill>
              </a:rPr>
              <a:t> </a:t>
            </a:r>
            <a:endParaRPr lang="en-US" sz="700" u="sng">
              <a:solidFill>
                <a:srgbClr val="517A70"/>
              </a:solidFill>
            </a:endParaRPr>
          </a:p>
        </p:txBody>
      </p:sp>
      <p:grpSp>
        <p:nvGrpSpPr>
          <p:cNvPr id="49" name="Group 28">
            <a:extLst>
              <a:ext uri="{FF2B5EF4-FFF2-40B4-BE49-F238E27FC236}">
                <a16:creationId xmlns:a16="http://schemas.microsoft.com/office/drawing/2014/main" id="{FE90BFE4-C620-43CF-3650-03B8DF21B5E9}"/>
              </a:ext>
            </a:extLst>
          </p:cNvPr>
          <p:cNvGrpSpPr/>
          <p:nvPr/>
        </p:nvGrpSpPr>
        <p:grpSpPr>
          <a:xfrm>
            <a:off x="2066122" y="1614787"/>
            <a:ext cx="2787336" cy="2723710"/>
            <a:chOff x="783419" y="1174855"/>
            <a:chExt cx="3465859" cy="3192479"/>
          </a:xfrm>
        </p:grpSpPr>
        <p:sp>
          <p:nvSpPr>
            <p:cNvPr id="50" name="_color1">
              <a:extLst>
                <a:ext uri="{FF2B5EF4-FFF2-40B4-BE49-F238E27FC236}">
                  <a16:creationId xmlns:a16="http://schemas.microsoft.com/office/drawing/2014/main" id="{266218E7-2988-28D4-F381-A6B2545D5163}"/>
                </a:ext>
              </a:extLst>
            </p:cNvPr>
            <p:cNvSpPr>
              <a:spLocks noChangeAspect="1"/>
            </p:cNvSpPr>
            <p:nvPr/>
          </p:nvSpPr>
          <p:spPr bwMode="gray">
            <a:xfrm>
              <a:off x="783419" y="3175405"/>
              <a:ext cx="1736066" cy="1191929"/>
            </a:xfrm>
            <a:custGeom>
              <a:avLst/>
              <a:gdLst/>
              <a:ahLst/>
              <a:cxnLst>
                <a:cxn ang="0">
                  <a:pos x="1776" y="208"/>
                </a:cxn>
                <a:cxn ang="0">
                  <a:pos x="684" y="0"/>
                </a:cxn>
                <a:cxn ang="0">
                  <a:pos x="412" y="470"/>
                </a:cxn>
                <a:cxn ang="0">
                  <a:pos x="294" y="672"/>
                </a:cxn>
                <a:cxn ang="0">
                  <a:pos x="0" y="1180"/>
                </a:cxn>
                <a:cxn ang="0">
                  <a:pos x="2249" y="1611"/>
                </a:cxn>
                <a:cxn ang="0">
                  <a:pos x="2249" y="298"/>
                </a:cxn>
                <a:cxn ang="0">
                  <a:pos x="1776" y="208"/>
                </a:cxn>
              </a:cxnLst>
              <a:rect l="0" t="0" r="r" b="b"/>
              <a:pathLst>
                <a:path w="2249" h="1611">
                  <a:moveTo>
                    <a:pt x="1776" y="208"/>
                  </a:moveTo>
                  <a:lnTo>
                    <a:pt x="684" y="0"/>
                  </a:lnTo>
                  <a:lnTo>
                    <a:pt x="412" y="470"/>
                  </a:lnTo>
                  <a:lnTo>
                    <a:pt x="294" y="672"/>
                  </a:lnTo>
                  <a:lnTo>
                    <a:pt x="0" y="1180"/>
                  </a:lnTo>
                  <a:lnTo>
                    <a:pt x="2249" y="1611"/>
                  </a:lnTo>
                  <a:lnTo>
                    <a:pt x="2249" y="298"/>
                  </a:lnTo>
                  <a:lnTo>
                    <a:pt x="1776" y="208"/>
                  </a:lnTo>
                  <a:close/>
                </a:path>
              </a:pathLst>
            </a:custGeom>
            <a:solidFill>
              <a:schemeClr val="bg2"/>
            </a:solidFill>
            <a:ln w="6350" cap="flat" cmpd="sng" algn="ctr">
              <a:solidFill>
                <a:schemeClr val="bg1">
                  <a:lumMod val="100000"/>
                </a:schemeClr>
              </a:solidFill>
              <a:prstDash val="solid"/>
              <a:round/>
              <a:headEnd type="none" w="med" len="med"/>
              <a:tailEnd type="none" w="med" len="med"/>
            </a:ln>
            <a:effectLst/>
          </p:spPr>
          <p:txBody>
            <a:bodyPr/>
            <a:lstStyle/>
            <a:p>
              <a:pPr defTabSz="685800">
                <a:lnSpc>
                  <a:spcPct val="95000"/>
                </a:lnSpc>
                <a:spcAft>
                  <a:spcPts val="601"/>
                </a:spcAft>
                <a:defRPr/>
              </a:pPr>
              <a:endParaRPr lang="en-US" sz="1184">
                <a:solidFill>
                  <a:prstClr val="black"/>
                </a:solidFill>
              </a:endParaRPr>
            </a:p>
          </p:txBody>
        </p:sp>
        <p:sp>
          <p:nvSpPr>
            <p:cNvPr id="51" name="_color1">
              <a:extLst>
                <a:ext uri="{FF2B5EF4-FFF2-40B4-BE49-F238E27FC236}">
                  <a16:creationId xmlns:a16="http://schemas.microsoft.com/office/drawing/2014/main" id="{8EF9ED70-9952-6ECA-A762-9E4CC01328D8}"/>
                </a:ext>
              </a:extLst>
            </p:cNvPr>
            <p:cNvSpPr>
              <a:spLocks noChangeAspect="1"/>
            </p:cNvSpPr>
            <p:nvPr/>
          </p:nvSpPr>
          <p:spPr bwMode="gray">
            <a:xfrm>
              <a:off x="2519485" y="3175405"/>
              <a:ext cx="1729793" cy="1191929"/>
            </a:xfrm>
            <a:custGeom>
              <a:avLst/>
              <a:gdLst/>
              <a:ahLst/>
              <a:cxnLst>
                <a:cxn ang="0">
                  <a:pos x="1946" y="670"/>
                </a:cxn>
                <a:cxn ang="0">
                  <a:pos x="1830" y="468"/>
                </a:cxn>
                <a:cxn ang="0">
                  <a:pos x="1558" y="0"/>
                </a:cxn>
                <a:cxn ang="0">
                  <a:pos x="470" y="208"/>
                </a:cxn>
                <a:cxn ang="0">
                  <a:pos x="0" y="298"/>
                </a:cxn>
                <a:cxn ang="0">
                  <a:pos x="0" y="1611"/>
                </a:cxn>
                <a:cxn ang="0">
                  <a:pos x="2242" y="1180"/>
                </a:cxn>
                <a:cxn ang="0">
                  <a:pos x="1946" y="670"/>
                </a:cxn>
              </a:cxnLst>
              <a:rect l="0" t="0" r="r" b="b"/>
              <a:pathLst>
                <a:path w="2242" h="1611">
                  <a:moveTo>
                    <a:pt x="1946" y="670"/>
                  </a:moveTo>
                  <a:lnTo>
                    <a:pt x="1830" y="468"/>
                  </a:lnTo>
                  <a:lnTo>
                    <a:pt x="1558" y="0"/>
                  </a:lnTo>
                  <a:lnTo>
                    <a:pt x="470" y="208"/>
                  </a:lnTo>
                  <a:lnTo>
                    <a:pt x="0" y="298"/>
                  </a:lnTo>
                  <a:lnTo>
                    <a:pt x="0" y="1611"/>
                  </a:lnTo>
                  <a:lnTo>
                    <a:pt x="2242" y="1180"/>
                  </a:lnTo>
                  <a:lnTo>
                    <a:pt x="1946" y="670"/>
                  </a:lnTo>
                  <a:close/>
                </a:path>
              </a:pathLst>
            </a:custGeom>
            <a:solidFill>
              <a:schemeClr val="bg2"/>
            </a:solidFill>
            <a:ln w="6350" cap="flat" cmpd="sng" algn="ctr">
              <a:solidFill>
                <a:schemeClr val="bg1">
                  <a:lumMod val="100000"/>
                </a:schemeClr>
              </a:solidFill>
              <a:prstDash val="solid"/>
              <a:round/>
              <a:headEnd type="none" w="med" len="med"/>
              <a:tailEnd type="none" w="med" len="med"/>
            </a:ln>
            <a:effectLst/>
          </p:spPr>
          <p:txBody>
            <a:bodyPr/>
            <a:lstStyle/>
            <a:p>
              <a:pPr defTabSz="685800">
                <a:lnSpc>
                  <a:spcPct val="95000"/>
                </a:lnSpc>
                <a:spcAft>
                  <a:spcPts val="601"/>
                </a:spcAft>
                <a:defRPr/>
              </a:pPr>
              <a:endParaRPr lang="en-US" sz="1184">
                <a:solidFill>
                  <a:prstClr val="black"/>
                </a:solidFill>
              </a:endParaRPr>
            </a:p>
          </p:txBody>
        </p:sp>
        <p:sp>
          <p:nvSpPr>
            <p:cNvPr id="52" name="_color1">
              <a:extLst>
                <a:ext uri="{FF2B5EF4-FFF2-40B4-BE49-F238E27FC236}">
                  <a16:creationId xmlns:a16="http://schemas.microsoft.com/office/drawing/2014/main" id="{D7E0EBFC-B233-A9EB-334D-8A4D0484A53F}"/>
                </a:ext>
              </a:extLst>
            </p:cNvPr>
            <p:cNvSpPr>
              <a:spLocks noChangeAspect="1"/>
            </p:cNvSpPr>
            <p:nvPr/>
          </p:nvSpPr>
          <p:spPr bwMode="gray">
            <a:xfrm>
              <a:off x="783419" y="3729362"/>
              <a:ext cx="1736066" cy="637971"/>
            </a:xfrm>
            <a:custGeom>
              <a:avLst/>
              <a:gdLst/>
              <a:ahLst/>
              <a:cxnLst>
                <a:cxn ang="0">
                  <a:pos x="0" y="428"/>
                </a:cxn>
                <a:cxn ang="0">
                  <a:pos x="2249" y="0"/>
                </a:cxn>
                <a:cxn ang="0">
                  <a:pos x="2249" y="859"/>
                </a:cxn>
                <a:cxn ang="0">
                  <a:pos x="0" y="428"/>
                </a:cxn>
              </a:cxnLst>
              <a:rect l="0" t="0" r="r" b="b"/>
              <a:pathLst>
                <a:path w="2249" h="859">
                  <a:moveTo>
                    <a:pt x="0" y="428"/>
                  </a:moveTo>
                  <a:lnTo>
                    <a:pt x="2249" y="0"/>
                  </a:lnTo>
                  <a:lnTo>
                    <a:pt x="2249" y="859"/>
                  </a:lnTo>
                  <a:lnTo>
                    <a:pt x="0" y="428"/>
                  </a:lnTo>
                  <a:close/>
                </a:path>
              </a:pathLst>
            </a:custGeom>
            <a:solidFill>
              <a:schemeClr val="tx1">
                <a:lumMod val="65000"/>
                <a:lumOff val="35000"/>
              </a:schemeClr>
            </a:solidFill>
            <a:ln w="6350" cap="flat" cmpd="sng" algn="ctr">
              <a:solidFill>
                <a:schemeClr val="bg1">
                  <a:lumMod val="100000"/>
                </a:schemeClr>
              </a:solidFill>
              <a:prstDash val="solid"/>
              <a:round/>
              <a:headEnd type="none" w="med" len="med"/>
              <a:tailEnd type="none" w="med" len="med"/>
            </a:ln>
            <a:effectLst/>
          </p:spPr>
          <p:txBody>
            <a:bodyPr/>
            <a:lstStyle/>
            <a:p>
              <a:pPr defTabSz="685800">
                <a:lnSpc>
                  <a:spcPct val="95000"/>
                </a:lnSpc>
                <a:spcAft>
                  <a:spcPts val="601"/>
                </a:spcAft>
                <a:defRPr/>
              </a:pPr>
              <a:endParaRPr lang="en-US" sz="1184">
                <a:solidFill>
                  <a:prstClr val="black"/>
                </a:solidFill>
              </a:endParaRPr>
            </a:p>
          </p:txBody>
        </p:sp>
        <p:sp>
          <p:nvSpPr>
            <p:cNvPr id="53" name="_color1">
              <a:extLst>
                <a:ext uri="{FF2B5EF4-FFF2-40B4-BE49-F238E27FC236}">
                  <a16:creationId xmlns:a16="http://schemas.microsoft.com/office/drawing/2014/main" id="{BD3F1433-6A0D-1DF9-6872-EE7EAA48D793}"/>
                </a:ext>
              </a:extLst>
            </p:cNvPr>
            <p:cNvSpPr>
              <a:spLocks noChangeAspect="1"/>
            </p:cNvSpPr>
            <p:nvPr/>
          </p:nvSpPr>
          <p:spPr bwMode="gray">
            <a:xfrm>
              <a:off x="2519485" y="3729362"/>
              <a:ext cx="1729793" cy="637971"/>
            </a:xfrm>
            <a:custGeom>
              <a:avLst/>
              <a:gdLst/>
              <a:ahLst/>
              <a:cxnLst>
                <a:cxn ang="0">
                  <a:pos x="0" y="0"/>
                </a:cxn>
                <a:cxn ang="0">
                  <a:pos x="2242" y="428"/>
                </a:cxn>
                <a:cxn ang="0">
                  <a:pos x="0" y="859"/>
                </a:cxn>
                <a:cxn ang="0">
                  <a:pos x="0" y="0"/>
                </a:cxn>
              </a:cxnLst>
              <a:rect l="0" t="0" r="r" b="b"/>
              <a:pathLst>
                <a:path w="2242" h="859">
                  <a:moveTo>
                    <a:pt x="0" y="0"/>
                  </a:moveTo>
                  <a:lnTo>
                    <a:pt x="2242" y="428"/>
                  </a:lnTo>
                  <a:lnTo>
                    <a:pt x="0" y="859"/>
                  </a:lnTo>
                  <a:lnTo>
                    <a:pt x="0" y="0"/>
                  </a:lnTo>
                  <a:close/>
                </a:path>
              </a:pathLst>
            </a:custGeom>
            <a:solidFill>
              <a:schemeClr val="tx1">
                <a:lumMod val="65000"/>
                <a:lumOff val="35000"/>
              </a:schemeClr>
            </a:solidFill>
            <a:ln w="6350" cap="flat" cmpd="sng" algn="ctr">
              <a:solidFill>
                <a:schemeClr val="bg1">
                  <a:lumMod val="100000"/>
                </a:schemeClr>
              </a:solidFill>
              <a:prstDash val="solid"/>
              <a:round/>
              <a:headEnd type="none" w="med" len="med"/>
              <a:tailEnd type="none" w="med" len="med"/>
            </a:ln>
            <a:effectLst/>
          </p:spPr>
          <p:txBody>
            <a:bodyPr/>
            <a:lstStyle/>
            <a:p>
              <a:pPr defTabSz="685800">
                <a:lnSpc>
                  <a:spcPct val="95000"/>
                </a:lnSpc>
                <a:spcAft>
                  <a:spcPts val="601"/>
                </a:spcAft>
                <a:defRPr/>
              </a:pPr>
              <a:endParaRPr lang="en-US" sz="1184">
                <a:solidFill>
                  <a:prstClr val="black"/>
                </a:solidFill>
              </a:endParaRPr>
            </a:p>
          </p:txBody>
        </p:sp>
        <p:sp>
          <p:nvSpPr>
            <p:cNvPr id="54" name="_color1">
              <a:extLst>
                <a:ext uri="{FF2B5EF4-FFF2-40B4-BE49-F238E27FC236}">
                  <a16:creationId xmlns:a16="http://schemas.microsoft.com/office/drawing/2014/main" id="{8615A166-E5A3-C9AB-82B5-145AE3065EF5}"/>
                </a:ext>
              </a:extLst>
            </p:cNvPr>
            <p:cNvSpPr>
              <a:spLocks noChangeAspect="1"/>
            </p:cNvSpPr>
            <p:nvPr/>
          </p:nvSpPr>
          <p:spPr bwMode="gray">
            <a:xfrm>
              <a:off x="1310260" y="3107144"/>
              <a:ext cx="2414687" cy="287481"/>
            </a:xfrm>
            <a:custGeom>
              <a:avLst/>
              <a:gdLst/>
              <a:ahLst/>
              <a:cxnLst>
                <a:cxn ang="0">
                  <a:pos x="0" y="88"/>
                </a:cxn>
                <a:cxn ang="0">
                  <a:pos x="470" y="0"/>
                </a:cxn>
                <a:cxn ang="0">
                  <a:pos x="1567" y="208"/>
                </a:cxn>
                <a:cxn ang="0">
                  <a:pos x="2661" y="0"/>
                </a:cxn>
                <a:cxn ang="0">
                  <a:pos x="3129" y="88"/>
                </a:cxn>
                <a:cxn ang="0">
                  <a:pos x="1567" y="388"/>
                </a:cxn>
                <a:cxn ang="0">
                  <a:pos x="0" y="88"/>
                </a:cxn>
              </a:cxnLst>
              <a:rect l="0" t="0" r="r" b="b"/>
              <a:pathLst>
                <a:path w="3129" h="388">
                  <a:moveTo>
                    <a:pt x="0" y="88"/>
                  </a:moveTo>
                  <a:lnTo>
                    <a:pt x="470" y="0"/>
                  </a:lnTo>
                  <a:lnTo>
                    <a:pt x="1567" y="208"/>
                  </a:lnTo>
                  <a:lnTo>
                    <a:pt x="2661" y="0"/>
                  </a:lnTo>
                  <a:lnTo>
                    <a:pt x="3129" y="88"/>
                  </a:lnTo>
                  <a:lnTo>
                    <a:pt x="1567" y="388"/>
                  </a:lnTo>
                  <a:lnTo>
                    <a:pt x="0" y="88"/>
                  </a:lnTo>
                  <a:close/>
                </a:path>
              </a:pathLst>
            </a:custGeom>
            <a:solidFill>
              <a:schemeClr val="accent5"/>
            </a:solidFill>
            <a:ln w="6350" cap="flat" cmpd="sng" algn="ctr">
              <a:solidFill>
                <a:schemeClr val="bg1">
                  <a:lumMod val="100000"/>
                </a:schemeClr>
              </a:solidFill>
              <a:prstDash val="solid"/>
              <a:round/>
              <a:headEnd type="none" w="med" len="med"/>
              <a:tailEnd type="none" w="med" len="med"/>
            </a:ln>
            <a:effectLst/>
          </p:spPr>
          <p:txBody>
            <a:bodyPr/>
            <a:lstStyle/>
            <a:p>
              <a:pPr>
                <a:lnSpc>
                  <a:spcPct val="95000"/>
                </a:lnSpc>
                <a:spcAft>
                  <a:spcPts val="601"/>
                </a:spcAft>
              </a:pPr>
              <a:endParaRPr lang="en-US" sz="1184">
                <a:solidFill>
                  <a:prstClr val="black"/>
                </a:solidFill>
              </a:endParaRPr>
            </a:p>
          </p:txBody>
        </p:sp>
        <p:sp>
          <p:nvSpPr>
            <p:cNvPr id="55" name="_effect">
              <a:extLst>
                <a:ext uri="{FF2B5EF4-FFF2-40B4-BE49-F238E27FC236}">
                  <a16:creationId xmlns:a16="http://schemas.microsoft.com/office/drawing/2014/main" id="{1B495490-FD4C-F7EC-5DB5-1617BE2A0D62}"/>
                </a:ext>
              </a:extLst>
            </p:cNvPr>
            <p:cNvSpPr>
              <a:spLocks noChangeAspect="1"/>
            </p:cNvSpPr>
            <p:nvPr/>
          </p:nvSpPr>
          <p:spPr bwMode="gray">
            <a:xfrm>
              <a:off x="1381759" y="2991886"/>
              <a:ext cx="2269178" cy="270158"/>
            </a:xfrm>
            <a:custGeom>
              <a:avLst/>
              <a:gdLst/>
              <a:ahLst/>
              <a:cxnLst>
                <a:cxn ang="0">
                  <a:pos x="0" y="88"/>
                </a:cxn>
                <a:cxn ang="0">
                  <a:pos x="470" y="0"/>
                </a:cxn>
                <a:cxn ang="0">
                  <a:pos x="1567" y="208"/>
                </a:cxn>
                <a:cxn ang="0">
                  <a:pos x="2661" y="0"/>
                </a:cxn>
                <a:cxn ang="0">
                  <a:pos x="3129" y="88"/>
                </a:cxn>
                <a:cxn ang="0">
                  <a:pos x="1567" y="388"/>
                </a:cxn>
                <a:cxn ang="0">
                  <a:pos x="0" y="88"/>
                </a:cxn>
              </a:cxnLst>
              <a:rect l="0" t="0" r="r" b="b"/>
              <a:pathLst>
                <a:path w="3129" h="388">
                  <a:moveTo>
                    <a:pt x="0" y="88"/>
                  </a:moveTo>
                  <a:lnTo>
                    <a:pt x="470" y="0"/>
                  </a:lnTo>
                  <a:lnTo>
                    <a:pt x="1567" y="208"/>
                  </a:lnTo>
                  <a:lnTo>
                    <a:pt x="2661" y="0"/>
                  </a:lnTo>
                  <a:lnTo>
                    <a:pt x="3129" y="88"/>
                  </a:lnTo>
                  <a:lnTo>
                    <a:pt x="1567" y="388"/>
                  </a:lnTo>
                  <a:lnTo>
                    <a:pt x="0" y="88"/>
                  </a:lnTo>
                  <a:close/>
                </a:path>
              </a:pathLst>
            </a:custGeom>
            <a:solidFill>
              <a:schemeClr val="bg1">
                <a:lumMod val="85000"/>
              </a:schemeClr>
            </a:solidFill>
            <a:ln w="6350" cap="flat" cmpd="sng" algn="ctr">
              <a:solidFill>
                <a:schemeClr val="bg1">
                  <a:lumMod val="100000"/>
                </a:schemeClr>
              </a:solidFill>
              <a:prstDash val="solid"/>
              <a:round/>
              <a:headEnd type="none" w="med" len="med"/>
              <a:tailEnd type="none" w="med" len="med"/>
            </a:ln>
            <a:effectLst/>
          </p:spPr>
          <p:txBody>
            <a:bodyPr/>
            <a:lstStyle/>
            <a:p>
              <a:pPr defTabSz="685800">
                <a:lnSpc>
                  <a:spcPct val="95000"/>
                </a:lnSpc>
                <a:spcAft>
                  <a:spcPts val="601"/>
                </a:spcAft>
                <a:defRPr/>
              </a:pPr>
              <a:endParaRPr lang="en-US" sz="1184">
                <a:solidFill>
                  <a:prstClr val="black"/>
                </a:solidFill>
              </a:endParaRPr>
            </a:p>
          </p:txBody>
        </p:sp>
        <p:sp>
          <p:nvSpPr>
            <p:cNvPr id="56" name="_color1">
              <a:extLst>
                <a:ext uri="{FF2B5EF4-FFF2-40B4-BE49-F238E27FC236}">
                  <a16:creationId xmlns:a16="http://schemas.microsoft.com/office/drawing/2014/main" id="{DF4A15FB-78B9-9122-1F77-BE8E6C16649A}"/>
                </a:ext>
              </a:extLst>
            </p:cNvPr>
            <p:cNvSpPr>
              <a:spLocks noChangeAspect="1"/>
            </p:cNvSpPr>
            <p:nvPr/>
          </p:nvSpPr>
          <p:spPr bwMode="gray">
            <a:xfrm>
              <a:off x="1381760" y="2173818"/>
              <a:ext cx="1137725" cy="1088225"/>
            </a:xfrm>
            <a:custGeom>
              <a:avLst/>
              <a:gdLst/>
              <a:ahLst/>
              <a:cxnLst>
                <a:cxn ang="0">
                  <a:pos x="1002" y="60"/>
                </a:cxn>
                <a:cxn ang="0">
                  <a:pos x="688" y="0"/>
                </a:cxn>
                <a:cxn ang="0">
                  <a:pos x="610" y="134"/>
                </a:cxn>
                <a:cxn ang="0">
                  <a:pos x="494" y="336"/>
                </a:cxn>
                <a:cxn ang="0">
                  <a:pos x="0" y="1190"/>
                </a:cxn>
                <a:cxn ang="0">
                  <a:pos x="1473" y="1470"/>
                </a:cxn>
                <a:cxn ang="0">
                  <a:pos x="1473" y="150"/>
                </a:cxn>
                <a:cxn ang="0">
                  <a:pos x="1002" y="60"/>
                </a:cxn>
              </a:cxnLst>
              <a:rect l="0" t="0" r="r" b="b"/>
              <a:pathLst>
                <a:path w="1473" h="1470">
                  <a:moveTo>
                    <a:pt x="1002" y="60"/>
                  </a:moveTo>
                  <a:lnTo>
                    <a:pt x="688" y="0"/>
                  </a:lnTo>
                  <a:lnTo>
                    <a:pt x="610" y="134"/>
                  </a:lnTo>
                  <a:lnTo>
                    <a:pt x="494" y="336"/>
                  </a:lnTo>
                  <a:lnTo>
                    <a:pt x="0" y="1190"/>
                  </a:lnTo>
                  <a:lnTo>
                    <a:pt x="1473" y="1470"/>
                  </a:lnTo>
                  <a:lnTo>
                    <a:pt x="1473" y="150"/>
                  </a:lnTo>
                  <a:lnTo>
                    <a:pt x="1002" y="60"/>
                  </a:lnTo>
                  <a:close/>
                </a:path>
              </a:pathLst>
            </a:custGeom>
            <a:solidFill>
              <a:srgbClr val="C0C0C0"/>
            </a:solidFill>
            <a:ln w="6350" cap="flat" cmpd="sng" algn="ctr">
              <a:solidFill>
                <a:schemeClr val="bg1">
                  <a:lumMod val="100000"/>
                </a:schemeClr>
              </a:solidFill>
              <a:prstDash val="solid"/>
              <a:round/>
              <a:headEnd type="none" w="med" len="med"/>
              <a:tailEnd type="none" w="med" len="med"/>
            </a:ln>
            <a:effectLst/>
          </p:spPr>
          <p:txBody>
            <a:bodyPr/>
            <a:lstStyle/>
            <a:p>
              <a:pPr defTabSz="685800">
                <a:lnSpc>
                  <a:spcPct val="95000"/>
                </a:lnSpc>
                <a:spcAft>
                  <a:spcPts val="601"/>
                </a:spcAft>
                <a:defRPr/>
              </a:pPr>
              <a:endParaRPr lang="en-US" sz="1184">
                <a:solidFill>
                  <a:prstClr val="black"/>
                </a:solidFill>
              </a:endParaRPr>
            </a:p>
          </p:txBody>
        </p:sp>
        <p:sp>
          <p:nvSpPr>
            <p:cNvPr id="57" name="_color1">
              <a:extLst>
                <a:ext uri="{FF2B5EF4-FFF2-40B4-BE49-F238E27FC236}">
                  <a16:creationId xmlns:a16="http://schemas.microsoft.com/office/drawing/2014/main" id="{D6E9705A-DBC6-CF7A-5E3E-FA7525E37096}"/>
                </a:ext>
              </a:extLst>
            </p:cNvPr>
            <p:cNvSpPr>
              <a:spLocks noChangeAspect="1"/>
            </p:cNvSpPr>
            <p:nvPr/>
          </p:nvSpPr>
          <p:spPr bwMode="gray">
            <a:xfrm>
              <a:off x="2519485" y="2173818"/>
              <a:ext cx="1131452" cy="1088225"/>
            </a:xfrm>
            <a:custGeom>
              <a:avLst/>
              <a:gdLst/>
              <a:ahLst/>
              <a:cxnLst>
                <a:cxn ang="0">
                  <a:pos x="970" y="336"/>
                </a:cxn>
                <a:cxn ang="0">
                  <a:pos x="854" y="134"/>
                </a:cxn>
                <a:cxn ang="0">
                  <a:pos x="778" y="0"/>
                </a:cxn>
                <a:cxn ang="0">
                  <a:pos x="468" y="60"/>
                </a:cxn>
                <a:cxn ang="0">
                  <a:pos x="0" y="150"/>
                </a:cxn>
                <a:cxn ang="0">
                  <a:pos x="0" y="1470"/>
                </a:cxn>
                <a:cxn ang="0">
                  <a:pos x="1466" y="1190"/>
                </a:cxn>
                <a:cxn ang="0">
                  <a:pos x="970" y="336"/>
                </a:cxn>
              </a:cxnLst>
              <a:rect l="0" t="0" r="r" b="b"/>
              <a:pathLst>
                <a:path w="1466" h="1470">
                  <a:moveTo>
                    <a:pt x="970" y="336"/>
                  </a:moveTo>
                  <a:lnTo>
                    <a:pt x="854" y="134"/>
                  </a:lnTo>
                  <a:lnTo>
                    <a:pt x="778" y="0"/>
                  </a:lnTo>
                  <a:lnTo>
                    <a:pt x="468" y="60"/>
                  </a:lnTo>
                  <a:lnTo>
                    <a:pt x="0" y="150"/>
                  </a:lnTo>
                  <a:lnTo>
                    <a:pt x="0" y="1470"/>
                  </a:lnTo>
                  <a:lnTo>
                    <a:pt x="1466" y="1190"/>
                  </a:lnTo>
                  <a:lnTo>
                    <a:pt x="970" y="336"/>
                  </a:lnTo>
                  <a:close/>
                </a:path>
              </a:pathLst>
            </a:custGeom>
            <a:solidFill>
              <a:srgbClr val="C0C0C0"/>
            </a:solidFill>
            <a:ln w="6350" cap="flat" cmpd="sng" algn="ctr">
              <a:solidFill>
                <a:schemeClr val="bg1">
                  <a:lumMod val="100000"/>
                </a:schemeClr>
              </a:solidFill>
              <a:prstDash val="solid"/>
              <a:round/>
              <a:headEnd type="none" w="med" len="med"/>
              <a:tailEnd type="none" w="med" len="med"/>
            </a:ln>
            <a:effectLst/>
          </p:spPr>
          <p:txBody>
            <a:bodyPr/>
            <a:lstStyle/>
            <a:p>
              <a:pPr defTabSz="685800">
                <a:lnSpc>
                  <a:spcPct val="95000"/>
                </a:lnSpc>
                <a:spcAft>
                  <a:spcPts val="601"/>
                </a:spcAft>
                <a:defRPr/>
              </a:pPr>
              <a:endParaRPr lang="en-US" sz="1184">
                <a:solidFill>
                  <a:prstClr val="black"/>
                </a:solidFill>
              </a:endParaRPr>
            </a:p>
          </p:txBody>
        </p:sp>
        <p:sp>
          <p:nvSpPr>
            <p:cNvPr id="58" name="_color1">
              <a:extLst>
                <a:ext uri="{FF2B5EF4-FFF2-40B4-BE49-F238E27FC236}">
                  <a16:creationId xmlns:a16="http://schemas.microsoft.com/office/drawing/2014/main" id="{FC89F62F-480E-B342-64B6-9F11B19CF576}"/>
                </a:ext>
              </a:extLst>
            </p:cNvPr>
            <p:cNvSpPr>
              <a:spLocks noChangeAspect="1"/>
            </p:cNvSpPr>
            <p:nvPr/>
          </p:nvSpPr>
          <p:spPr bwMode="gray">
            <a:xfrm>
              <a:off x="1390541" y="2853794"/>
              <a:ext cx="1128944" cy="408248"/>
            </a:xfrm>
            <a:custGeom>
              <a:avLst/>
              <a:gdLst/>
              <a:ahLst/>
              <a:cxnLst>
                <a:cxn ang="0">
                  <a:pos x="0" y="274"/>
                </a:cxn>
                <a:cxn ang="0">
                  <a:pos x="1461" y="0"/>
                </a:cxn>
                <a:cxn ang="0">
                  <a:pos x="1461" y="552"/>
                </a:cxn>
                <a:cxn ang="0">
                  <a:pos x="0" y="274"/>
                </a:cxn>
              </a:cxnLst>
              <a:rect l="0" t="0" r="r" b="b"/>
              <a:pathLst>
                <a:path w="1461" h="552">
                  <a:moveTo>
                    <a:pt x="0" y="274"/>
                  </a:moveTo>
                  <a:lnTo>
                    <a:pt x="1461" y="0"/>
                  </a:lnTo>
                  <a:lnTo>
                    <a:pt x="1461" y="552"/>
                  </a:lnTo>
                  <a:lnTo>
                    <a:pt x="0" y="274"/>
                  </a:lnTo>
                  <a:close/>
                </a:path>
              </a:pathLst>
            </a:custGeom>
            <a:solidFill>
              <a:srgbClr val="ADADAD"/>
            </a:solidFill>
            <a:ln w="6350" cap="flat" cmpd="sng" algn="ctr">
              <a:solidFill>
                <a:schemeClr val="bg1">
                  <a:lumMod val="100000"/>
                </a:schemeClr>
              </a:solidFill>
              <a:prstDash val="solid"/>
              <a:round/>
              <a:headEnd type="none" w="med" len="med"/>
              <a:tailEnd type="none" w="med" len="med"/>
            </a:ln>
            <a:effectLst/>
          </p:spPr>
          <p:txBody>
            <a:bodyPr/>
            <a:lstStyle/>
            <a:p>
              <a:pPr defTabSz="685800">
                <a:lnSpc>
                  <a:spcPct val="95000"/>
                </a:lnSpc>
                <a:spcAft>
                  <a:spcPts val="601"/>
                </a:spcAft>
                <a:defRPr/>
              </a:pPr>
              <a:endParaRPr lang="en-US" sz="1184">
                <a:solidFill>
                  <a:prstClr val="black"/>
                </a:solidFill>
              </a:endParaRPr>
            </a:p>
          </p:txBody>
        </p:sp>
        <p:sp>
          <p:nvSpPr>
            <p:cNvPr id="59" name="_color1">
              <a:extLst>
                <a:ext uri="{FF2B5EF4-FFF2-40B4-BE49-F238E27FC236}">
                  <a16:creationId xmlns:a16="http://schemas.microsoft.com/office/drawing/2014/main" id="{4297A29A-08FC-1935-EEBB-AAA2E528DFCC}"/>
                </a:ext>
              </a:extLst>
            </p:cNvPr>
            <p:cNvSpPr>
              <a:spLocks noChangeAspect="1"/>
            </p:cNvSpPr>
            <p:nvPr/>
          </p:nvSpPr>
          <p:spPr bwMode="gray">
            <a:xfrm>
              <a:off x="2519485" y="2853794"/>
              <a:ext cx="1131452" cy="408248"/>
            </a:xfrm>
            <a:custGeom>
              <a:avLst/>
              <a:gdLst/>
              <a:ahLst/>
              <a:cxnLst>
                <a:cxn ang="0">
                  <a:pos x="0" y="0"/>
                </a:cxn>
                <a:cxn ang="0">
                  <a:pos x="1466" y="272"/>
                </a:cxn>
                <a:cxn ang="0">
                  <a:pos x="0" y="552"/>
                </a:cxn>
                <a:cxn ang="0">
                  <a:pos x="0" y="0"/>
                </a:cxn>
              </a:cxnLst>
              <a:rect l="0" t="0" r="r" b="b"/>
              <a:pathLst>
                <a:path w="1466" h="552">
                  <a:moveTo>
                    <a:pt x="0" y="0"/>
                  </a:moveTo>
                  <a:lnTo>
                    <a:pt x="1466" y="272"/>
                  </a:lnTo>
                  <a:lnTo>
                    <a:pt x="0" y="552"/>
                  </a:lnTo>
                  <a:lnTo>
                    <a:pt x="0" y="0"/>
                  </a:lnTo>
                  <a:close/>
                </a:path>
              </a:pathLst>
            </a:custGeom>
            <a:solidFill>
              <a:srgbClr val="ADADAD"/>
            </a:solidFill>
            <a:ln w="6350" cap="flat" cmpd="sng" algn="ctr">
              <a:solidFill>
                <a:schemeClr val="bg1">
                  <a:lumMod val="100000"/>
                </a:schemeClr>
              </a:solidFill>
              <a:prstDash val="solid"/>
              <a:round/>
              <a:headEnd type="none" w="med" len="med"/>
              <a:tailEnd type="none" w="med" len="med"/>
            </a:ln>
            <a:effectLst/>
          </p:spPr>
          <p:txBody>
            <a:bodyPr/>
            <a:lstStyle/>
            <a:p>
              <a:pPr defTabSz="685800">
                <a:lnSpc>
                  <a:spcPct val="95000"/>
                </a:lnSpc>
                <a:spcAft>
                  <a:spcPts val="601"/>
                </a:spcAft>
                <a:defRPr/>
              </a:pPr>
              <a:endParaRPr lang="en-US" sz="1184">
                <a:solidFill>
                  <a:prstClr val="black"/>
                </a:solidFill>
              </a:endParaRPr>
            </a:p>
          </p:txBody>
        </p:sp>
        <p:sp>
          <p:nvSpPr>
            <p:cNvPr id="60" name="_color1">
              <a:extLst>
                <a:ext uri="{FF2B5EF4-FFF2-40B4-BE49-F238E27FC236}">
                  <a16:creationId xmlns:a16="http://schemas.microsoft.com/office/drawing/2014/main" id="{BFE1E366-0CD4-FA51-1D4A-1FF673587B64}"/>
                </a:ext>
              </a:extLst>
            </p:cNvPr>
            <p:cNvSpPr>
              <a:spLocks noChangeAspect="1"/>
            </p:cNvSpPr>
            <p:nvPr/>
          </p:nvSpPr>
          <p:spPr bwMode="gray">
            <a:xfrm>
              <a:off x="1912363" y="2108182"/>
              <a:ext cx="1207970" cy="177214"/>
            </a:xfrm>
            <a:custGeom>
              <a:avLst/>
              <a:gdLst/>
              <a:ahLst/>
              <a:cxnLst>
                <a:cxn ang="0">
                  <a:pos x="1097" y="0"/>
                </a:cxn>
                <a:cxn ang="0">
                  <a:pos x="785" y="60"/>
                </a:cxn>
                <a:cxn ang="0">
                  <a:pos x="470" y="0"/>
                </a:cxn>
                <a:cxn ang="0">
                  <a:pos x="0" y="90"/>
                </a:cxn>
                <a:cxn ang="0">
                  <a:pos x="785" y="240"/>
                </a:cxn>
                <a:cxn ang="0">
                  <a:pos x="1563" y="90"/>
                </a:cxn>
                <a:cxn ang="0">
                  <a:pos x="1097" y="0"/>
                </a:cxn>
              </a:cxnLst>
              <a:rect l="0" t="0" r="r" b="b"/>
              <a:pathLst>
                <a:path w="1563" h="240">
                  <a:moveTo>
                    <a:pt x="1097" y="0"/>
                  </a:moveTo>
                  <a:lnTo>
                    <a:pt x="785" y="60"/>
                  </a:lnTo>
                  <a:lnTo>
                    <a:pt x="470" y="0"/>
                  </a:lnTo>
                  <a:lnTo>
                    <a:pt x="0" y="90"/>
                  </a:lnTo>
                  <a:lnTo>
                    <a:pt x="785" y="240"/>
                  </a:lnTo>
                  <a:lnTo>
                    <a:pt x="1563" y="90"/>
                  </a:lnTo>
                  <a:lnTo>
                    <a:pt x="1097" y="0"/>
                  </a:lnTo>
                  <a:close/>
                </a:path>
              </a:pathLst>
            </a:custGeom>
            <a:solidFill>
              <a:srgbClr val="ADADAD"/>
            </a:solidFill>
            <a:ln w="6350" cap="flat" cmpd="sng" algn="ctr">
              <a:solidFill>
                <a:schemeClr val="bg1">
                  <a:lumMod val="100000"/>
                </a:schemeClr>
              </a:solidFill>
              <a:prstDash val="solid"/>
              <a:round/>
              <a:headEnd type="none" w="med" len="med"/>
              <a:tailEnd type="none" w="med" len="med"/>
            </a:ln>
            <a:effectLst/>
          </p:spPr>
          <p:txBody>
            <a:bodyPr/>
            <a:lstStyle/>
            <a:p>
              <a:pPr defTabSz="685800">
                <a:lnSpc>
                  <a:spcPct val="95000"/>
                </a:lnSpc>
                <a:spcAft>
                  <a:spcPts val="601"/>
                </a:spcAft>
                <a:defRPr/>
              </a:pPr>
              <a:endParaRPr lang="en-US" sz="1184">
                <a:solidFill>
                  <a:prstClr val="black"/>
                </a:solidFill>
              </a:endParaRPr>
            </a:p>
          </p:txBody>
        </p:sp>
        <p:sp>
          <p:nvSpPr>
            <p:cNvPr id="61" name="_effect">
              <a:extLst>
                <a:ext uri="{FF2B5EF4-FFF2-40B4-BE49-F238E27FC236}">
                  <a16:creationId xmlns:a16="http://schemas.microsoft.com/office/drawing/2014/main" id="{19B943BD-7CB5-D9EC-3AE4-023B8390F432}"/>
                </a:ext>
              </a:extLst>
            </p:cNvPr>
            <p:cNvSpPr>
              <a:spLocks noChangeAspect="1"/>
            </p:cNvSpPr>
            <p:nvPr/>
          </p:nvSpPr>
          <p:spPr bwMode="gray">
            <a:xfrm>
              <a:off x="1983863" y="1995632"/>
              <a:ext cx="1062463" cy="155868"/>
            </a:xfrm>
            <a:custGeom>
              <a:avLst/>
              <a:gdLst/>
              <a:ahLst/>
              <a:cxnLst>
                <a:cxn ang="0">
                  <a:pos x="1097" y="0"/>
                </a:cxn>
                <a:cxn ang="0">
                  <a:pos x="785" y="60"/>
                </a:cxn>
                <a:cxn ang="0">
                  <a:pos x="470" y="0"/>
                </a:cxn>
                <a:cxn ang="0">
                  <a:pos x="0" y="90"/>
                </a:cxn>
                <a:cxn ang="0">
                  <a:pos x="785" y="240"/>
                </a:cxn>
                <a:cxn ang="0">
                  <a:pos x="1563" y="90"/>
                </a:cxn>
                <a:cxn ang="0">
                  <a:pos x="1097" y="0"/>
                </a:cxn>
              </a:cxnLst>
              <a:rect l="0" t="0" r="r" b="b"/>
              <a:pathLst>
                <a:path w="1563" h="240">
                  <a:moveTo>
                    <a:pt x="1097" y="0"/>
                  </a:moveTo>
                  <a:lnTo>
                    <a:pt x="785" y="60"/>
                  </a:lnTo>
                  <a:lnTo>
                    <a:pt x="470" y="0"/>
                  </a:lnTo>
                  <a:lnTo>
                    <a:pt x="0" y="90"/>
                  </a:lnTo>
                  <a:lnTo>
                    <a:pt x="785" y="240"/>
                  </a:lnTo>
                  <a:lnTo>
                    <a:pt x="1563" y="90"/>
                  </a:lnTo>
                  <a:lnTo>
                    <a:pt x="1097" y="0"/>
                  </a:lnTo>
                  <a:close/>
                </a:path>
              </a:pathLst>
            </a:custGeom>
            <a:solidFill>
              <a:schemeClr val="bg1">
                <a:lumMod val="85000"/>
              </a:schemeClr>
            </a:solidFill>
            <a:ln w="6350" cap="flat" cmpd="sng" algn="ctr">
              <a:solidFill>
                <a:schemeClr val="bg1">
                  <a:lumMod val="100000"/>
                </a:schemeClr>
              </a:solidFill>
              <a:prstDash val="solid"/>
              <a:round/>
              <a:headEnd type="none" w="med" len="med"/>
              <a:tailEnd type="none" w="med" len="med"/>
            </a:ln>
            <a:effectLst/>
          </p:spPr>
          <p:txBody>
            <a:bodyPr/>
            <a:lstStyle/>
            <a:p>
              <a:pPr defTabSz="685800">
                <a:lnSpc>
                  <a:spcPct val="95000"/>
                </a:lnSpc>
                <a:spcAft>
                  <a:spcPts val="601"/>
                </a:spcAft>
                <a:defRPr/>
              </a:pPr>
              <a:endParaRPr lang="en-US" sz="1184">
                <a:solidFill>
                  <a:prstClr val="black"/>
                </a:solidFill>
              </a:endParaRPr>
            </a:p>
          </p:txBody>
        </p:sp>
        <p:sp>
          <p:nvSpPr>
            <p:cNvPr id="62" name="_color1">
              <a:extLst>
                <a:ext uri="{FF2B5EF4-FFF2-40B4-BE49-F238E27FC236}">
                  <a16:creationId xmlns:a16="http://schemas.microsoft.com/office/drawing/2014/main" id="{CFF07A7B-A56C-6455-581E-1862C395A5A3}"/>
                </a:ext>
              </a:extLst>
            </p:cNvPr>
            <p:cNvSpPr>
              <a:spLocks noChangeAspect="1"/>
            </p:cNvSpPr>
            <p:nvPr/>
          </p:nvSpPr>
          <p:spPr bwMode="gray">
            <a:xfrm>
              <a:off x="1986372" y="1174855"/>
              <a:ext cx="533114" cy="976646"/>
            </a:xfrm>
            <a:custGeom>
              <a:avLst/>
              <a:gdLst/>
              <a:ahLst/>
              <a:cxnLst>
                <a:cxn ang="0">
                  <a:pos x="691" y="4"/>
                </a:cxn>
                <a:cxn ang="0">
                  <a:pos x="687" y="0"/>
                </a:cxn>
                <a:cxn ang="0">
                  <a:pos x="0" y="1187"/>
                </a:cxn>
                <a:cxn ang="0">
                  <a:pos x="691" y="1319"/>
                </a:cxn>
                <a:cxn ang="0">
                  <a:pos x="691" y="4"/>
                </a:cxn>
              </a:cxnLst>
              <a:rect l="0" t="0" r="r" b="b"/>
              <a:pathLst>
                <a:path w="691" h="1319">
                  <a:moveTo>
                    <a:pt x="691" y="4"/>
                  </a:moveTo>
                  <a:lnTo>
                    <a:pt x="687" y="0"/>
                  </a:lnTo>
                  <a:lnTo>
                    <a:pt x="0" y="1187"/>
                  </a:lnTo>
                  <a:lnTo>
                    <a:pt x="691" y="1319"/>
                  </a:lnTo>
                  <a:lnTo>
                    <a:pt x="691" y="4"/>
                  </a:lnTo>
                  <a:close/>
                </a:path>
              </a:pathLst>
            </a:custGeom>
            <a:solidFill>
              <a:schemeClr val="accent1"/>
            </a:solidFill>
            <a:ln w="6350" cap="flat" cmpd="sng" algn="ctr">
              <a:solidFill>
                <a:schemeClr val="bg1">
                  <a:lumMod val="100000"/>
                </a:schemeClr>
              </a:solidFill>
              <a:prstDash val="solid"/>
              <a:round/>
              <a:headEnd type="none" w="med" len="med"/>
              <a:tailEnd type="none" w="med" len="med"/>
            </a:ln>
            <a:effectLst/>
          </p:spPr>
          <p:txBody>
            <a:bodyPr/>
            <a:lstStyle/>
            <a:p>
              <a:pPr defTabSz="685800">
                <a:lnSpc>
                  <a:spcPct val="95000"/>
                </a:lnSpc>
                <a:spcAft>
                  <a:spcPts val="601"/>
                </a:spcAft>
                <a:defRPr/>
              </a:pPr>
              <a:endParaRPr lang="en-US" sz="1184">
                <a:solidFill>
                  <a:prstClr val="black"/>
                </a:solidFill>
              </a:endParaRPr>
            </a:p>
          </p:txBody>
        </p:sp>
        <p:sp>
          <p:nvSpPr>
            <p:cNvPr id="63" name="_color1">
              <a:extLst>
                <a:ext uri="{FF2B5EF4-FFF2-40B4-BE49-F238E27FC236}">
                  <a16:creationId xmlns:a16="http://schemas.microsoft.com/office/drawing/2014/main" id="{2B00968B-D209-319F-85C0-951C85C0EBE7}"/>
                </a:ext>
              </a:extLst>
            </p:cNvPr>
            <p:cNvSpPr>
              <a:spLocks noChangeAspect="1"/>
            </p:cNvSpPr>
            <p:nvPr/>
          </p:nvSpPr>
          <p:spPr bwMode="gray">
            <a:xfrm>
              <a:off x="2519485" y="1177480"/>
              <a:ext cx="526841" cy="974021"/>
            </a:xfrm>
            <a:custGeom>
              <a:avLst/>
              <a:gdLst/>
              <a:ahLst/>
              <a:cxnLst>
                <a:cxn ang="0">
                  <a:pos x="0" y="1315"/>
                </a:cxn>
                <a:cxn ang="0">
                  <a:pos x="684" y="1185"/>
                </a:cxn>
                <a:cxn ang="0">
                  <a:pos x="0" y="0"/>
                </a:cxn>
                <a:cxn ang="0">
                  <a:pos x="0" y="1315"/>
                </a:cxn>
                <a:cxn ang="0">
                  <a:pos x="0" y="1315"/>
                </a:cxn>
              </a:cxnLst>
              <a:rect l="0" t="0" r="r" b="b"/>
              <a:pathLst>
                <a:path w="684" h="1315">
                  <a:moveTo>
                    <a:pt x="0" y="1315"/>
                  </a:moveTo>
                  <a:lnTo>
                    <a:pt x="684" y="1185"/>
                  </a:lnTo>
                  <a:lnTo>
                    <a:pt x="0" y="0"/>
                  </a:lnTo>
                  <a:lnTo>
                    <a:pt x="0" y="1315"/>
                  </a:lnTo>
                  <a:close/>
                </a:path>
              </a:pathLst>
            </a:custGeom>
            <a:solidFill>
              <a:schemeClr val="accent1"/>
            </a:solidFill>
            <a:ln w="6350" cap="flat" cmpd="sng" algn="ctr">
              <a:solidFill>
                <a:schemeClr val="bg1">
                  <a:lumMod val="100000"/>
                </a:schemeClr>
              </a:solidFill>
              <a:prstDash val="solid"/>
              <a:round/>
              <a:headEnd type="none" w="med" len="med"/>
              <a:tailEnd type="none" w="med" len="med"/>
            </a:ln>
            <a:effectLst/>
          </p:spPr>
          <p:txBody>
            <a:bodyPr/>
            <a:lstStyle/>
            <a:p>
              <a:pPr defTabSz="685800">
                <a:lnSpc>
                  <a:spcPct val="95000"/>
                </a:lnSpc>
                <a:spcAft>
                  <a:spcPts val="601"/>
                </a:spcAft>
                <a:defRPr/>
              </a:pPr>
              <a:endParaRPr lang="en-US" sz="1184">
                <a:solidFill>
                  <a:prstClr val="black"/>
                </a:solidFill>
              </a:endParaRPr>
            </a:p>
          </p:txBody>
        </p:sp>
        <p:sp>
          <p:nvSpPr>
            <p:cNvPr id="64" name="_color1">
              <a:extLst>
                <a:ext uri="{FF2B5EF4-FFF2-40B4-BE49-F238E27FC236}">
                  <a16:creationId xmlns:a16="http://schemas.microsoft.com/office/drawing/2014/main" id="{9442F648-927E-E839-1B7F-70A2D56E5292}"/>
                </a:ext>
              </a:extLst>
            </p:cNvPr>
            <p:cNvSpPr>
              <a:spLocks noChangeAspect="1"/>
            </p:cNvSpPr>
            <p:nvPr/>
          </p:nvSpPr>
          <p:spPr bwMode="gray">
            <a:xfrm>
              <a:off x="1986372" y="1955909"/>
              <a:ext cx="533114" cy="195592"/>
            </a:xfrm>
            <a:custGeom>
              <a:avLst/>
              <a:gdLst/>
              <a:ahLst/>
              <a:cxnLst>
                <a:cxn ang="0">
                  <a:pos x="0" y="133"/>
                </a:cxn>
                <a:cxn ang="0">
                  <a:pos x="691" y="0"/>
                </a:cxn>
                <a:cxn ang="0">
                  <a:pos x="691" y="265"/>
                </a:cxn>
                <a:cxn ang="0">
                  <a:pos x="0" y="133"/>
                </a:cxn>
              </a:cxnLst>
              <a:rect l="0" t="0" r="r" b="b"/>
              <a:pathLst>
                <a:path w="691" h="265">
                  <a:moveTo>
                    <a:pt x="0" y="133"/>
                  </a:moveTo>
                  <a:lnTo>
                    <a:pt x="691" y="0"/>
                  </a:lnTo>
                  <a:lnTo>
                    <a:pt x="691" y="265"/>
                  </a:lnTo>
                  <a:lnTo>
                    <a:pt x="0" y="133"/>
                  </a:lnTo>
                  <a:close/>
                </a:path>
              </a:pathLst>
            </a:custGeom>
            <a:solidFill>
              <a:schemeClr val="accent2"/>
            </a:solidFill>
            <a:ln w="6350" cap="flat" cmpd="sng" algn="ctr">
              <a:solidFill>
                <a:schemeClr val="bg1">
                  <a:lumMod val="100000"/>
                </a:schemeClr>
              </a:solidFill>
              <a:prstDash val="solid"/>
              <a:round/>
              <a:headEnd type="none" w="med" len="med"/>
              <a:tailEnd type="none" w="med" len="med"/>
            </a:ln>
            <a:effectLst/>
          </p:spPr>
          <p:txBody>
            <a:bodyPr/>
            <a:lstStyle/>
            <a:p>
              <a:pPr defTabSz="685800">
                <a:lnSpc>
                  <a:spcPct val="95000"/>
                </a:lnSpc>
                <a:spcAft>
                  <a:spcPts val="601"/>
                </a:spcAft>
                <a:defRPr/>
              </a:pPr>
              <a:endParaRPr lang="en-US" sz="1184">
                <a:solidFill>
                  <a:prstClr val="black"/>
                </a:solidFill>
              </a:endParaRPr>
            </a:p>
          </p:txBody>
        </p:sp>
        <p:sp>
          <p:nvSpPr>
            <p:cNvPr id="65" name="_color1">
              <a:extLst>
                <a:ext uri="{FF2B5EF4-FFF2-40B4-BE49-F238E27FC236}">
                  <a16:creationId xmlns:a16="http://schemas.microsoft.com/office/drawing/2014/main" id="{BE2569F9-9204-DCA0-D507-E519A2AFABFD}"/>
                </a:ext>
              </a:extLst>
            </p:cNvPr>
            <p:cNvSpPr>
              <a:spLocks noChangeAspect="1"/>
            </p:cNvSpPr>
            <p:nvPr/>
          </p:nvSpPr>
          <p:spPr bwMode="gray">
            <a:xfrm>
              <a:off x="2519485" y="1955909"/>
              <a:ext cx="526841" cy="195592"/>
            </a:xfrm>
            <a:custGeom>
              <a:avLst/>
              <a:gdLst/>
              <a:ahLst/>
              <a:cxnLst>
                <a:cxn ang="0">
                  <a:pos x="0" y="265"/>
                </a:cxn>
                <a:cxn ang="0">
                  <a:pos x="0" y="0"/>
                </a:cxn>
                <a:cxn ang="0">
                  <a:pos x="684" y="135"/>
                </a:cxn>
                <a:cxn ang="0">
                  <a:pos x="0" y="265"/>
                </a:cxn>
              </a:cxnLst>
              <a:rect l="0" t="0" r="r" b="b"/>
              <a:pathLst>
                <a:path w="684" h="265">
                  <a:moveTo>
                    <a:pt x="0" y="265"/>
                  </a:moveTo>
                  <a:lnTo>
                    <a:pt x="0" y="0"/>
                  </a:lnTo>
                  <a:lnTo>
                    <a:pt x="684" y="135"/>
                  </a:lnTo>
                  <a:lnTo>
                    <a:pt x="0" y="265"/>
                  </a:lnTo>
                  <a:close/>
                </a:path>
              </a:pathLst>
            </a:custGeom>
            <a:solidFill>
              <a:schemeClr val="accent2"/>
            </a:solidFill>
            <a:ln w="6350" cap="flat" cmpd="sng" algn="ctr">
              <a:solidFill>
                <a:schemeClr val="bg1">
                  <a:lumMod val="100000"/>
                </a:schemeClr>
              </a:solidFill>
              <a:prstDash val="solid"/>
              <a:round/>
              <a:headEnd type="none" w="med" len="med"/>
              <a:tailEnd type="none" w="med" len="med"/>
            </a:ln>
            <a:effectLst/>
          </p:spPr>
          <p:txBody>
            <a:bodyPr/>
            <a:lstStyle/>
            <a:p>
              <a:pPr defTabSz="685800">
                <a:lnSpc>
                  <a:spcPct val="95000"/>
                </a:lnSpc>
                <a:spcAft>
                  <a:spcPts val="601"/>
                </a:spcAft>
                <a:defRPr/>
              </a:pPr>
              <a:endParaRPr lang="en-US" sz="1184">
                <a:solidFill>
                  <a:prstClr val="black"/>
                </a:solidFill>
              </a:endParaRPr>
            </a:p>
          </p:txBody>
        </p:sp>
      </p:grpSp>
      <p:sp>
        <p:nvSpPr>
          <p:cNvPr id="66" name="TextBox 477">
            <a:extLst>
              <a:ext uri="{FF2B5EF4-FFF2-40B4-BE49-F238E27FC236}">
                <a16:creationId xmlns:a16="http://schemas.microsoft.com/office/drawing/2014/main" id="{4A18F944-F0FF-6CB3-3CDF-CB443FB97A56}"/>
              </a:ext>
            </a:extLst>
          </p:cNvPr>
          <p:cNvSpPr txBox="1"/>
          <p:nvPr/>
        </p:nvSpPr>
        <p:spPr>
          <a:xfrm>
            <a:off x="6537261" y="935654"/>
            <a:ext cx="2093789" cy="738664"/>
          </a:xfrm>
          <a:prstGeom prst="rect">
            <a:avLst/>
          </a:prstGeom>
          <a:noFill/>
        </p:spPr>
        <p:txBody>
          <a:bodyPr wrap="square" lIns="0" rIns="0" rtlCol="0">
            <a:spAutoFit/>
          </a:bodyPr>
          <a:lstStyle/>
          <a:p>
            <a:pPr algn="ctr"/>
            <a:r>
              <a:rPr lang="en-US" sz="1050" b="1">
                <a:solidFill>
                  <a:schemeClr val="accent1"/>
                </a:solidFill>
              </a:rPr>
              <a:t>$5.7 trillion </a:t>
            </a:r>
            <a:br>
              <a:rPr lang="en-US" sz="1050" b="1">
                <a:solidFill>
                  <a:schemeClr val="tx2"/>
                </a:solidFill>
              </a:rPr>
            </a:br>
            <a:r>
              <a:rPr lang="en-US" sz="1050"/>
              <a:t>Annual financing gap for formal MSMEs </a:t>
            </a:r>
          </a:p>
          <a:p>
            <a:pPr algn="ctr"/>
            <a:r>
              <a:rPr lang="en-US" sz="1050"/>
              <a:t>in emerging economies</a:t>
            </a:r>
          </a:p>
        </p:txBody>
      </p:sp>
      <p:sp>
        <p:nvSpPr>
          <p:cNvPr id="67" name="Rectangle 53">
            <a:extLst>
              <a:ext uri="{FF2B5EF4-FFF2-40B4-BE49-F238E27FC236}">
                <a16:creationId xmlns:a16="http://schemas.microsoft.com/office/drawing/2014/main" id="{62E50271-302E-474A-5015-6829BD78AC77}"/>
              </a:ext>
            </a:extLst>
          </p:cNvPr>
          <p:cNvSpPr/>
          <p:nvPr/>
        </p:nvSpPr>
        <p:spPr>
          <a:xfrm flipH="1">
            <a:off x="5329328" y="3069341"/>
            <a:ext cx="1082497" cy="9661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900">
                <a:solidFill>
                  <a:srgbClr val="C38F00"/>
                </a:solidFill>
              </a:rPr>
              <a:t>The largest gaps are in Latin America, Sub-Saharan Africa, and East Asia &amp; Pacific</a:t>
            </a:r>
          </a:p>
        </p:txBody>
      </p:sp>
      <p:cxnSp>
        <p:nvCxnSpPr>
          <p:cNvPr id="68" name="Straight Connector 50">
            <a:extLst>
              <a:ext uri="{FF2B5EF4-FFF2-40B4-BE49-F238E27FC236}">
                <a16:creationId xmlns:a16="http://schemas.microsoft.com/office/drawing/2014/main" id="{8639A0A6-721B-9E8A-D3A4-A72D92874D02}"/>
              </a:ext>
            </a:extLst>
          </p:cNvPr>
          <p:cNvCxnSpPr/>
          <p:nvPr>
            <p:custDataLst>
              <p:tags r:id="rId1"/>
            </p:custDataLst>
          </p:nvPr>
        </p:nvCxnSpPr>
        <p:spPr bwMode="auto">
          <a:xfrm>
            <a:off x="7012701" y="2916164"/>
            <a:ext cx="3302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51">
            <a:extLst>
              <a:ext uri="{FF2B5EF4-FFF2-40B4-BE49-F238E27FC236}">
                <a16:creationId xmlns:a16="http://schemas.microsoft.com/office/drawing/2014/main" id="{4DED4659-36C7-140F-E756-3D1A53A36FA1}"/>
              </a:ext>
            </a:extLst>
          </p:cNvPr>
          <p:cNvCxnSpPr/>
          <p:nvPr>
            <p:custDataLst>
              <p:tags r:id="rId2"/>
            </p:custDataLst>
          </p:nvPr>
        </p:nvCxnSpPr>
        <p:spPr bwMode="auto">
          <a:xfrm>
            <a:off x="7758826" y="1930326"/>
            <a:ext cx="3302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70" name="Chart 59">
            <a:extLst>
              <a:ext uri="{FF2B5EF4-FFF2-40B4-BE49-F238E27FC236}">
                <a16:creationId xmlns:a16="http://schemas.microsoft.com/office/drawing/2014/main" id="{7ABCF2BF-0A26-297F-C57F-28ED9A79571C}"/>
              </a:ext>
            </a:extLst>
          </p:cNvPr>
          <p:cNvGraphicFramePr/>
          <p:nvPr>
            <p:custDataLst>
              <p:tags r:id="rId3"/>
            </p:custDataLst>
          </p:nvPr>
        </p:nvGraphicFramePr>
        <p:xfrm>
          <a:off x="6277688" y="1635051"/>
          <a:ext cx="2547938" cy="2295525"/>
        </p:xfrm>
        <a:graphic>
          <a:graphicData uri="http://schemas.openxmlformats.org/drawingml/2006/chart">
            <c:chart xmlns:c="http://schemas.openxmlformats.org/drawingml/2006/chart" xmlns:r="http://schemas.openxmlformats.org/officeDocument/2006/relationships" r:id="rId14"/>
          </a:graphicData>
        </a:graphic>
      </p:graphicFrame>
      <p:sp>
        <p:nvSpPr>
          <p:cNvPr id="71" name="Text Placeholder 2">
            <a:extLst>
              <a:ext uri="{FF2B5EF4-FFF2-40B4-BE49-F238E27FC236}">
                <a16:creationId xmlns:a16="http://schemas.microsoft.com/office/drawing/2014/main" id="{CC172C2C-C108-BE71-CE97-310D239964E1}"/>
              </a:ext>
            </a:extLst>
          </p:cNvPr>
          <p:cNvSpPr>
            <a:spLocks noGrp="1"/>
          </p:cNvSpPr>
          <p:nvPr>
            <p:custDataLst>
              <p:tags r:id="rId4"/>
            </p:custDataLst>
          </p:nvPr>
        </p:nvSpPr>
        <p:spPr bwMode="gray">
          <a:xfrm>
            <a:off x="6676151" y="3259065"/>
            <a:ext cx="257175" cy="123825"/>
          </a:xfrm>
          <a:prstGeom prst="rect">
            <a:avLst/>
          </a:prstGeom>
          <a:noFill/>
          <a:ln>
            <a:noFill/>
          </a:ln>
          <a:effectLst/>
          <a:extLst>
            <a:ext uri="{909E8E84-426E-40dd-AFC4-6F175D3DCCD1}">
              <a14:hiddenFill xmlns:a14="http://schemas.microsoft.com/office/drawing/2010/main" xmlns="">
                <a:solidFill>
                  <a:schemeClr val="accent1"/>
                </a:solidFill>
              </a14:hiddenFill>
            </a:ext>
          </a:extLst>
        </p:spPr>
        <p:txBody>
          <a:bodyPr vert="horz" wrap="none" lIns="15875" tIns="0" rIns="15875" bIns="0" rtlCol="0" anchor="ctr">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9DEDC25C-CEED-4231-A6CC-1CE55B173840}" type="datetime'''4''''''''''''''''''''''''''''''''''''''''''''5''''''%'''''''">
              <a:rPr lang="en-US" altLang="en-US" sz="900" smtClean="0">
                <a:solidFill>
                  <a:schemeClr val="bg1"/>
                </a:solidFill>
              </a:rPr>
              <a:pPr marL="0" lvl="0" indent="0" algn="ctr">
                <a:spcBef>
                  <a:spcPct val="0"/>
                </a:spcBef>
                <a:spcAft>
                  <a:spcPct val="0"/>
                </a:spcAft>
                <a:buNone/>
              </a:pPr>
              <a:t>45%</a:t>
            </a:fld>
            <a:endParaRPr lang="en-US" sz="900">
              <a:solidFill>
                <a:schemeClr val="bg1"/>
              </a:solidFill>
            </a:endParaRPr>
          </a:p>
        </p:txBody>
      </p:sp>
      <p:sp>
        <p:nvSpPr>
          <p:cNvPr id="72" name="Text Placeholder 2">
            <a:extLst>
              <a:ext uri="{FF2B5EF4-FFF2-40B4-BE49-F238E27FC236}">
                <a16:creationId xmlns:a16="http://schemas.microsoft.com/office/drawing/2014/main" id="{4101C171-5BEF-FF1A-4C69-F68A7D56C7BC}"/>
              </a:ext>
            </a:extLst>
          </p:cNvPr>
          <p:cNvSpPr>
            <a:spLocks noGrp="1"/>
          </p:cNvSpPr>
          <p:nvPr>
            <p:custDataLst>
              <p:tags r:id="rId5"/>
            </p:custDataLst>
          </p:nvPr>
        </p:nvSpPr>
        <p:spPr bwMode="auto">
          <a:xfrm>
            <a:off x="6447943" y="3763889"/>
            <a:ext cx="774700" cy="247650"/>
          </a:xfrm>
          <a:prstGeom prst="rect">
            <a:avLst/>
          </a:prstGeom>
          <a:noFill/>
          <a:ln>
            <a:noFill/>
          </a:ln>
          <a:effectLst/>
          <a:extLst>
            <a:ext uri="{909E8E84-426E-40dd-AFC4-6F175D3DCCD1}">
              <a14:hiddenFill xmlns:a14="http://schemas.microsoft.com/office/drawing/2010/main" xmlns="">
                <a:solidFill>
                  <a:schemeClr val="accent1"/>
                </a:solidFill>
              </a14:hiddenFill>
            </a:ext>
          </a:extLst>
        </p:spPr>
        <p:txBody>
          <a:bodyPr vert="horz" wrap="square" lIns="0" tIns="0" rIns="0" bIns="0" rtlCol="0" anchor="t">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r>
              <a:rPr lang="en-US" sz="900">
                <a:solidFill>
                  <a:schemeClr val="tx1">
                    <a:lumMod val="50000"/>
                    <a:lumOff val="50000"/>
                  </a:schemeClr>
                </a:solidFill>
              </a:rPr>
              <a:t>Existing MSME finance</a:t>
            </a:r>
          </a:p>
        </p:txBody>
      </p:sp>
      <p:sp>
        <p:nvSpPr>
          <p:cNvPr id="73" name="Text Placeholder 2">
            <a:extLst>
              <a:ext uri="{FF2B5EF4-FFF2-40B4-BE49-F238E27FC236}">
                <a16:creationId xmlns:a16="http://schemas.microsoft.com/office/drawing/2014/main" id="{FC0DE0B2-ADF9-4785-FB61-4651A218A4D3}"/>
              </a:ext>
            </a:extLst>
          </p:cNvPr>
          <p:cNvSpPr>
            <a:spLocks noGrp="1"/>
          </p:cNvSpPr>
          <p:nvPr>
            <p:custDataLst>
              <p:tags r:id="rId6"/>
            </p:custDataLst>
          </p:nvPr>
        </p:nvSpPr>
        <p:spPr bwMode="gray">
          <a:xfrm>
            <a:off x="7377827" y="1954139"/>
            <a:ext cx="347663" cy="285750"/>
          </a:xfrm>
          <a:prstGeom prst="rect">
            <a:avLst/>
          </a:prstGeom>
          <a:noFill/>
          <a:ln>
            <a:noFill/>
          </a:ln>
          <a:effectLst/>
          <a:extLst>
            <a:ext uri="{909E8E84-426E-40dd-AFC4-6F175D3DCCD1}">
              <a14:hiddenFill xmlns:a14="http://schemas.microsoft.com/office/drawing/2010/main" xmlns="">
                <a:solidFill>
                  <a:schemeClr val="accent1"/>
                </a:solidFill>
              </a14:hiddenFill>
            </a:ext>
          </a:extLst>
        </p:spPr>
        <p:txBody>
          <a:bodyPr vert="horz" wrap="none" lIns="12700" tIns="0" rIns="12700" bIns="0" rtlCol="0" anchor="ctr">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5017884B-99AB-42A3-9B95-D8DF8E499620}" type="datetime'''''''''''''W''om''''''''en-''&#10;''''ow''n''''''''''''e''d'' '">
              <a:rPr lang="en-US" altLang="en-US" sz="700" i="1" smtClean="0">
                <a:effectLst/>
              </a:rPr>
              <a:pPr marL="0" lvl="0" indent="0" algn="ctr">
                <a:spcBef>
                  <a:spcPct val="0"/>
                </a:spcBef>
                <a:spcAft>
                  <a:spcPct val="0"/>
                </a:spcAft>
                <a:buNone/>
              </a:pPr>
              <a:t>Women-
owned </a:t>
            </a:fld>
            <a:br>
              <a:rPr lang="en-US" altLang="en-US" sz="700" i="1">
                <a:effectLst/>
              </a:rPr>
            </a:br>
            <a:r>
              <a:rPr lang="en-US" altLang="en-US" sz="700" i="1">
                <a:effectLst/>
              </a:rPr>
              <a:t>18%</a:t>
            </a:r>
            <a:endParaRPr lang="en-US" sz="700" i="1"/>
          </a:p>
        </p:txBody>
      </p:sp>
      <p:sp>
        <p:nvSpPr>
          <p:cNvPr id="74" name="Text Placeholder 2">
            <a:extLst>
              <a:ext uri="{FF2B5EF4-FFF2-40B4-BE49-F238E27FC236}">
                <a16:creationId xmlns:a16="http://schemas.microsoft.com/office/drawing/2014/main" id="{3EFF7D5F-9A94-3FA7-1C01-5EB83104F435}"/>
              </a:ext>
            </a:extLst>
          </p:cNvPr>
          <p:cNvSpPr>
            <a:spLocks noGrp="1"/>
          </p:cNvSpPr>
          <p:nvPr>
            <p:custDataLst>
              <p:tags r:id="rId7"/>
            </p:custDataLst>
          </p:nvPr>
        </p:nvSpPr>
        <p:spPr bwMode="gray">
          <a:xfrm>
            <a:off x="7404813" y="2447851"/>
            <a:ext cx="293688" cy="285750"/>
          </a:xfrm>
          <a:prstGeom prst="rect">
            <a:avLst/>
          </a:prstGeom>
          <a:noFill/>
          <a:ln>
            <a:noFill/>
          </a:ln>
          <a:effectLst/>
          <a:extLst>
            <a:ext uri="{909E8E84-426E-40dd-AFC4-6F175D3DCCD1}">
              <a14:hiddenFill xmlns:a14="http://schemas.microsoft.com/office/drawing/2010/main" xmlns="">
                <a:solidFill>
                  <a:schemeClr val="accent1"/>
                </a:solidFill>
              </a14:hiddenFill>
            </a:ext>
          </a:extLst>
        </p:spPr>
        <p:txBody>
          <a:bodyPr vert="horz" wrap="none" lIns="12700" tIns="0" rIns="12700" bIns="0" rtlCol="0" anchor="ctr">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4E9168D8-5304-4CB7-959E-6851909EDC38}" type="datetime'''Me''''''''''n''''''''''-&#10;''''''''ow''''''ned'''' '''''">
              <a:rPr lang="en-US" altLang="en-US" sz="700" i="1" smtClean="0"/>
              <a:pPr marL="0" lvl="0" indent="0" algn="ctr">
                <a:spcBef>
                  <a:spcPct val="0"/>
                </a:spcBef>
                <a:spcAft>
                  <a:spcPct val="0"/>
                </a:spcAft>
                <a:buNone/>
              </a:pPr>
              <a:t>Men-
owned </a:t>
            </a:fld>
            <a:br>
              <a:rPr lang="en-US" altLang="en-US" sz="700" i="1">
                <a:effectLst/>
              </a:rPr>
            </a:br>
            <a:r>
              <a:rPr lang="en-US" altLang="en-US" sz="700" i="1"/>
              <a:t>37%</a:t>
            </a:r>
            <a:endParaRPr lang="en-US" sz="700" i="1"/>
          </a:p>
        </p:txBody>
      </p:sp>
      <p:sp>
        <p:nvSpPr>
          <p:cNvPr id="75" name="Text Placeholder 2">
            <a:extLst>
              <a:ext uri="{FF2B5EF4-FFF2-40B4-BE49-F238E27FC236}">
                <a16:creationId xmlns:a16="http://schemas.microsoft.com/office/drawing/2014/main" id="{B7B323B6-5DFD-B259-C1DE-005A385CD9D4}"/>
              </a:ext>
            </a:extLst>
          </p:cNvPr>
          <p:cNvSpPr>
            <a:spLocks noGrp="1"/>
          </p:cNvSpPr>
          <p:nvPr>
            <p:custDataLst>
              <p:tags r:id="rId8"/>
            </p:custDataLst>
          </p:nvPr>
        </p:nvSpPr>
        <p:spPr bwMode="auto">
          <a:xfrm>
            <a:off x="7258762" y="3763889"/>
            <a:ext cx="585788" cy="247650"/>
          </a:xfrm>
          <a:prstGeom prst="rect">
            <a:avLst/>
          </a:prstGeom>
          <a:noFill/>
          <a:ln>
            <a:noFill/>
          </a:ln>
          <a:effectLst/>
          <a:extLst>
            <a:ext uri="{909E8E84-426E-40dd-AFC4-6F175D3DCCD1}">
              <a14:hiddenFill xmlns:a14="http://schemas.microsoft.com/office/drawing/2010/main" xmlns="">
                <a:solidFill>
                  <a:schemeClr val="accent1"/>
                </a:solidFill>
              </a14:hiddenFill>
            </a:ext>
          </a:extLst>
        </p:spPr>
        <p:txBody>
          <a:bodyPr vert="horz" wrap="square" lIns="0" tIns="0" rIns="0" bIns="0" rtlCol="0" anchor="t">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r>
              <a:rPr lang="en-US" altLang="en-US" sz="900">
                <a:solidFill>
                  <a:schemeClr val="tx1">
                    <a:lumMod val="50000"/>
                    <a:lumOff val="50000"/>
                  </a:schemeClr>
                </a:solidFill>
              </a:rPr>
              <a:t>M</a:t>
            </a:r>
            <a:fld id="{A03383C9-1B12-433C-B2D9-7016602B6025}" type="datetime'SM''E ''''''''''''f''i''''''n''anc''''''''''e'' ''g''a''''p'''">
              <a:rPr lang="en-US" altLang="en-US" sz="900" smtClean="0">
                <a:solidFill>
                  <a:schemeClr val="tx1">
                    <a:lumMod val="50000"/>
                    <a:lumOff val="50000"/>
                  </a:schemeClr>
                </a:solidFill>
              </a:rPr>
              <a:pPr marL="0" lvl="0" indent="0" algn="ctr">
                <a:spcBef>
                  <a:spcPct val="0"/>
                </a:spcBef>
                <a:spcAft>
                  <a:spcPct val="0"/>
                </a:spcAft>
                <a:buNone/>
              </a:pPr>
              <a:t>SME finance gap</a:t>
            </a:fld>
            <a:endParaRPr lang="en-US" sz="900">
              <a:solidFill>
                <a:schemeClr val="tx1">
                  <a:lumMod val="50000"/>
                  <a:lumOff val="50000"/>
                </a:schemeClr>
              </a:solidFill>
            </a:endParaRPr>
          </a:p>
        </p:txBody>
      </p:sp>
      <p:sp>
        <p:nvSpPr>
          <p:cNvPr id="76" name="Text Placeholder 2">
            <a:extLst>
              <a:ext uri="{FF2B5EF4-FFF2-40B4-BE49-F238E27FC236}">
                <a16:creationId xmlns:a16="http://schemas.microsoft.com/office/drawing/2014/main" id="{770A8548-C209-650C-3DBF-B96B4E70A40E}"/>
              </a:ext>
            </a:extLst>
          </p:cNvPr>
          <p:cNvSpPr>
            <a:spLocks noGrp="1"/>
          </p:cNvSpPr>
          <p:nvPr>
            <p:custDataLst>
              <p:tags r:id="rId9"/>
            </p:custDataLst>
          </p:nvPr>
        </p:nvSpPr>
        <p:spPr bwMode="auto">
          <a:xfrm>
            <a:off x="7907383" y="3763889"/>
            <a:ext cx="776034" cy="247650"/>
          </a:xfrm>
          <a:prstGeom prst="rect">
            <a:avLst/>
          </a:prstGeom>
          <a:noFill/>
          <a:ln>
            <a:noFill/>
          </a:ln>
          <a:effectLst/>
          <a:extLst>
            <a:ext uri="{909E8E84-426E-40dd-AFC4-6F175D3DCCD1}">
              <a14:hiddenFill xmlns:a14="http://schemas.microsoft.com/office/drawing/2010/main" xmlns="">
                <a:solidFill>
                  <a:schemeClr val="accent1"/>
                </a:solidFill>
              </a14:hiddenFill>
            </a:ext>
          </a:extLst>
        </p:spPr>
        <p:txBody>
          <a:bodyPr vert="horz" wrap="square" lIns="0" tIns="0" rIns="0" bIns="0" rtlCol="0" anchor="t">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r>
              <a:rPr lang="en-US" altLang="en-US" sz="900">
                <a:solidFill>
                  <a:schemeClr val="tx1">
                    <a:lumMod val="50000"/>
                    <a:lumOff val="50000"/>
                  </a:schemeClr>
                </a:solidFill>
              </a:rPr>
              <a:t>M</a:t>
            </a:r>
            <a:fld id="{D3E8942F-9C76-4431-9F3E-65412D57B32E}" type="datetime'SME'''''''' fin''''an''c''''e d''e''''''''''''ma''''''n''d'">
              <a:rPr lang="en-US" altLang="en-US" sz="900" smtClean="0">
                <a:solidFill>
                  <a:schemeClr val="tx1">
                    <a:lumMod val="50000"/>
                    <a:lumOff val="50000"/>
                  </a:schemeClr>
                </a:solidFill>
              </a:rPr>
              <a:pPr marL="0" lvl="0" indent="0" algn="ctr">
                <a:spcBef>
                  <a:spcPct val="0"/>
                </a:spcBef>
                <a:spcAft>
                  <a:spcPct val="0"/>
                </a:spcAft>
                <a:buNone/>
              </a:pPr>
              <a:t>SME finance demand</a:t>
            </a:fld>
            <a:endParaRPr lang="en-US" sz="900">
              <a:solidFill>
                <a:schemeClr val="tx1">
                  <a:lumMod val="50000"/>
                  <a:lumOff val="50000"/>
                </a:schemeClr>
              </a:solidFill>
            </a:endParaRPr>
          </a:p>
        </p:txBody>
      </p:sp>
      <p:sp>
        <p:nvSpPr>
          <p:cNvPr id="77" name="Text Placeholder 2">
            <a:extLst>
              <a:ext uri="{FF2B5EF4-FFF2-40B4-BE49-F238E27FC236}">
                <a16:creationId xmlns:a16="http://schemas.microsoft.com/office/drawing/2014/main" id="{F368A427-71C1-C09F-B241-5D6175313C5E}"/>
              </a:ext>
            </a:extLst>
          </p:cNvPr>
          <p:cNvSpPr>
            <a:spLocks noGrp="1"/>
          </p:cNvSpPr>
          <p:nvPr>
            <p:custDataLst>
              <p:tags r:id="rId10"/>
            </p:custDataLst>
          </p:nvPr>
        </p:nvSpPr>
        <p:spPr bwMode="gray">
          <a:xfrm>
            <a:off x="6641226" y="2766939"/>
            <a:ext cx="327025" cy="123825"/>
          </a:xfrm>
          <a:prstGeom prst="rect">
            <a:avLst/>
          </a:prstGeom>
          <a:noFill/>
          <a:ln>
            <a:noFill/>
          </a:ln>
          <a:effectLst/>
          <a:extLst>
            <a:ext uri="{909E8E84-426E-40dd-AFC4-6F175D3DCCD1}">
              <a14:hiddenFill xmlns:a14="http://schemas.microsoft.com/office/drawing/2010/main" xmlns="">
                <a:solidFill>
                  <a:schemeClr val="accent1"/>
                </a:solidFill>
              </a14:hiddenFill>
            </a:ext>
          </a:extLst>
        </p:spPr>
        <p:txBody>
          <a:bodyPr vert="horz" wrap="none" lIns="15875" tIns="0" rIns="15875" bIns="0" rtlCol="0" anchor="b">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8B6720AF-E3BE-4E8E-B71B-A1625305B6D4}" type="datetime'''''$''''''''''''''4''''''''''''.''''''6''''''''''T'''''''''">
              <a:rPr lang="en-US" altLang="en-US" sz="900" smtClean="0"/>
              <a:pPr marL="0" lvl="0" indent="0" algn="ctr">
                <a:spcBef>
                  <a:spcPct val="0"/>
                </a:spcBef>
                <a:spcAft>
                  <a:spcPct val="0"/>
                </a:spcAft>
                <a:buNone/>
              </a:pPr>
              <a:t>$4.6T</a:t>
            </a:fld>
            <a:endParaRPr lang="en-US" sz="900"/>
          </a:p>
        </p:txBody>
      </p:sp>
      <p:sp>
        <p:nvSpPr>
          <p:cNvPr id="78" name="Text Placeholder 2">
            <a:extLst>
              <a:ext uri="{FF2B5EF4-FFF2-40B4-BE49-F238E27FC236}">
                <a16:creationId xmlns:a16="http://schemas.microsoft.com/office/drawing/2014/main" id="{7BAF4E61-19F4-8B12-92D5-BEB1E7178EB9}"/>
              </a:ext>
            </a:extLst>
          </p:cNvPr>
          <p:cNvSpPr>
            <a:spLocks noGrp="1"/>
          </p:cNvSpPr>
          <p:nvPr>
            <p:custDataLst>
              <p:tags r:id="rId11"/>
            </p:custDataLst>
          </p:nvPr>
        </p:nvSpPr>
        <p:spPr bwMode="gray">
          <a:xfrm>
            <a:off x="7387351" y="1781101"/>
            <a:ext cx="327025" cy="123825"/>
          </a:xfrm>
          <a:prstGeom prst="rect">
            <a:avLst/>
          </a:prstGeom>
          <a:noFill/>
          <a:ln>
            <a:noFill/>
          </a:ln>
          <a:effectLst/>
          <a:extLst>
            <a:ext uri="{909E8E84-426E-40dd-AFC4-6F175D3DCCD1}">
              <a14:hiddenFill xmlns:a14="http://schemas.microsoft.com/office/drawing/2010/main" xmlns="">
                <a:solidFill>
                  <a:schemeClr val="accent1"/>
                </a:solidFill>
              </a14:hiddenFill>
            </a:ext>
          </a:extLst>
        </p:spPr>
        <p:txBody>
          <a:bodyPr vert="horz" wrap="none" lIns="15875" tIns="0" rIns="15875" bIns="0" rtlCol="0" anchor="b">
            <a:noAutofit/>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r>
              <a:rPr lang="en-US" altLang="en-US" sz="900"/>
              <a:t>$5.7T</a:t>
            </a:r>
            <a:endParaRPr lang="en-US" sz="900"/>
          </a:p>
        </p:txBody>
      </p:sp>
      <p:cxnSp>
        <p:nvCxnSpPr>
          <p:cNvPr id="79" name="Conector angular 61">
            <a:extLst>
              <a:ext uri="{FF2B5EF4-FFF2-40B4-BE49-F238E27FC236}">
                <a16:creationId xmlns:a16="http://schemas.microsoft.com/office/drawing/2014/main" id="{66902C64-F3A0-B621-8322-0348F4E54AC9}"/>
              </a:ext>
            </a:extLst>
          </p:cNvPr>
          <p:cNvCxnSpPr>
            <a:cxnSpLocks/>
          </p:cNvCxnSpPr>
          <p:nvPr/>
        </p:nvCxnSpPr>
        <p:spPr>
          <a:xfrm>
            <a:off x="704004" y="1085016"/>
            <a:ext cx="2417841" cy="1138750"/>
          </a:xfrm>
          <a:prstGeom prst="bentConnector3">
            <a:avLst>
              <a:gd name="adj1" fmla="val -884"/>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80" name="Conector angular 74">
            <a:extLst>
              <a:ext uri="{FF2B5EF4-FFF2-40B4-BE49-F238E27FC236}">
                <a16:creationId xmlns:a16="http://schemas.microsoft.com/office/drawing/2014/main" id="{1499A8C4-045E-28DE-03A9-059AB8ABDC0F}"/>
              </a:ext>
            </a:extLst>
          </p:cNvPr>
          <p:cNvCxnSpPr>
            <a:cxnSpLocks/>
          </p:cNvCxnSpPr>
          <p:nvPr/>
        </p:nvCxnSpPr>
        <p:spPr>
          <a:xfrm>
            <a:off x="674976" y="2703661"/>
            <a:ext cx="1445796" cy="1352284"/>
          </a:xfrm>
          <a:prstGeom prst="bentConnector3">
            <a:avLst>
              <a:gd name="adj1" fmla="val 985"/>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81" name="Conector angular 83">
            <a:extLst>
              <a:ext uri="{FF2B5EF4-FFF2-40B4-BE49-F238E27FC236}">
                <a16:creationId xmlns:a16="http://schemas.microsoft.com/office/drawing/2014/main" id="{CA56C6E8-634C-A2BF-1A6C-F288F7763348}"/>
              </a:ext>
            </a:extLst>
          </p:cNvPr>
          <p:cNvCxnSpPr>
            <a:cxnSpLocks/>
          </p:cNvCxnSpPr>
          <p:nvPr/>
        </p:nvCxnSpPr>
        <p:spPr>
          <a:xfrm rot="5400000" flipH="1" flipV="1">
            <a:off x="3419527" y="1981610"/>
            <a:ext cx="1531322" cy="117756"/>
          </a:xfrm>
          <a:prstGeom prst="bentConnector3">
            <a:avLst>
              <a:gd name="adj1" fmla="val -1408"/>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82" name="Rectangle 39">
            <a:extLst>
              <a:ext uri="{FF2B5EF4-FFF2-40B4-BE49-F238E27FC236}">
                <a16:creationId xmlns:a16="http://schemas.microsoft.com/office/drawing/2014/main" id="{ABF4A5EA-27AE-D7B4-E6FA-8B01D77CAEB0}"/>
              </a:ext>
            </a:extLst>
          </p:cNvPr>
          <p:cNvSpPr/>
          <p:nvPr/>
        </p:nvSpPr>
        <p:spPr>
          <a:xfrm>
            <a:off x="572457" y="1032876"/>
            <a:ext cx="2203624" cy="9144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50" b="1">
                <a:solidFill>
                  <a:schemeClr val="tx1"/>
                </a:solidFill>
              </a:rPr>
              <a:t>Large enterprises </a:t>
            </a:r>
            <a:r>
              <a:rPr lang="en-US" sz="1050">
                <a:solidFill>
                  <a:schemeClr val="tx1"/>
                </a:solidFill>
                <a:latin typeface="+mj-lt"/>
              </a:rPr>
              <a:t>are firms with 250+ employees, usually earning more than $15 million annually</a:t>
            </a:r>
          </a:p>
          <a:p>
            <a:pPr marL="171450" indent="-171450">
              <a:buFont typeface="Arial" panose="020B0604020202020204" pitchFamily="34" charset="0"/>
              <a:buChar char="•"/>
            </a:pPr>
            <a:r>
              <a:rPr lang="en-US" sz="1050" b="1">
                <a:solidFill>
                  <a:schemeClr val="tx1"/>
                </a:solidFill>
              </a:rPr>
              <a:t>They have full access to commercial bank credit</a:t>
            </a:r>
            <a:r>
              <a:rPr lang="en-US" sz="1050" b="1">
                <a:solidFill>
                  <a:schemeClr val="tx1"/>
                </a:solidFill>
                <a:latin typeface="+mj-lt"/>
              </a:rPr>
              <a:t>, </a:t>
            </a:r>
            <a:r>
              <a:rPr lang="en-US" sz="1050">
                <a:solidFill>
                  <a:schemeClr val="tx1"/>
                </a:solidFill>
                <a:latin typeface="+mj-lt"/>
              </a:rPr>
              <a:t>capital markets, and private equity</a:t>
            </a:r>
          </a:p>
        </p:txBody>
      </p:sp>
      <p:sp>
        <p:nvSpPr>
          <p:cNvPr id="83" name="Rectangle 40">
            <a:extLst>
              <a:ext uri="{FF2B5EF4-FFF2-40B4-BE49-F238E27FC236}">
                <a16:creationId xmlns:a16="http://schemas.microsoft.com/office/drawing/2014/main" id="{66A9AADC-9AB8-3C71-A1AE-4CB26C475CB8}"/>
              </a:ext>
            </a:extLst>
          </p:cNvPr>
          <p:cNvSpPr/>
          <p:nvPr/>
        </p:nvSpPr>
        <p:spPr>
          <a:xfrm>
            <a:off x="572457" y="2806148"/>
            <a:ext cx="1928563" cy="9144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50" b="1">
                <a:solidFill>
                  <a:schemeClr val="tx1"/>
                </a:solidFill>
              </a:rPr>
              <a:t>Microenterprises</a:t>
            </a:r>
            <a:r>
              <a:rPr lang="en-US" sz="1050" b="1">
                <a:solidFill>
                  <a:schemeClr val="tx1"/>
                </a:solidFill>
                <a:latin typeface="+mj-lt"/>
              </a:rPr>
              <a:t> </a:t>
            </a:r>
            <a:r>
              <a:rPr lang="en-US" sz="1050">
                <a:solidFill>
                  <a:schemeClr val="tx1"/>
                </a:solidFill>
                <a:latin typeface="+mj-lt"/>
              </a:rPr>
              <a:t>are firms with &lt;10 employees, typically under $100,000 in annual revenue</a:t>
            </a:r>
          </a:p>
          <a:p>
            <a:pPr marL="171450" indent="-171450">
              <a:buFont typeface="Arial" panose="020B0604020202020204" pitchFamily="34" charset="0"/>
              <a:buChar char="•"/>
            </a:pPr>
            <a:r>
              <a:rPr lang="en-US" sz="1050" b="1">
                <a:solidFill>
                  <a:schemeClr val="tx1"/>
                </a:solidFill>
              </a:rPr>
              <a:t>They rely on microfinance or informal lenders</a:t>
            </a:r>
            <a:r>
              <a:rPr lang="en-US" sz="1050">
                <a:solidFill>
                  <a:schemeClr val="tx1"/>
                </a:solidFill>
              </a:rPr>
              <a:t>. </a:t>
            </a:r>
            <a:r>
              <a:rPr lang="en-US" sz="1050">
                <a:solidFill>
                  <a:schemeClr val="tx1"/>
                </a:solidFill>
                <a:latin typeface="+mj-lt"/>
              </a:rPr>
              <a:t>Over 60% have sufficient financing.</a:t>
            </a:r>
          </a:p>
        </p:txBody>
      </p:sp>
      <p:sp>
        <p:nvSpPr>
          <p:cNvPr id="84" name="Rectangle 41">
            <a:extLst>
              <a:ext uri="{FF2B5EF4-FFF2-40B4-BE49-F238E27FC236}">
                <a16:creationId xmlns:a16="http://schemas.microsoft.com/office/drawing/2014/main" id="{B21FA9AC-D3A6-72E1-31AE-9EDEB93EF7AC}"/>
              </a:ext>
            </a:extLst>
          </p:cNvPr>
          <p:cNvSpPr/>
          <p:nvPr/>
        </p:nvSpPr>
        <p:spPr>
          <a:xfrm>
            <a:off x="4126312" y="1530783"/>
            <a:ext cx="1824933" cy="9144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50" b="1">
                <a:solidFill>
                  <a:schemeClr val="tx1"/>
                </a:solidFill>
              </a:rPr>
              <a:t>“The missing middle” SMEs </a:t>
            </a:r>
            <a:r>
              <a:rPr lang="en-US" sz="1050">
                <a:solidFill>
                  <a:schemeClr val="tx1"/>
                </a:solidFill>
                <a:latin typeface="+mj-lt"/>
              </a:rPr>
              <a:t>are firms with  10–250 employees and revenues between $100,000–$15 million</a:t>
            </a:r>
          </a:p>
          <a:p>
            <a:pPr marL="171450" indent="-171450">
              <a:buFont typeface="Arial" panose="020B0604020202020204" pitchFamily="34" charset="0"/>
              <a:buChar char="•"/>
            </a:pPr>
            <a:r>
              <a:rPr lang="en-US" sz="1050" b="1">
                <a:solidFill>
                  <a:schemeClr val="tx1"/>
                </a:solidFill>
              </a:rPr>
              <a:t>Around 44% are credit-constrained</a:t>
            </a:r>
            <a:r>
              <a:rPr lang="en-US" sz="1050">
                <a:solidFill>
                  <a:schemeClr val="tx1"/>
                </a:solidFill>
              </a:rPr>
              <a:t> </a:t>
            </a:r>
            <a:r>
              <a:rPr lang="en-US" sz="1050">
                <a:solidFill>
                  <a:schemeClr val="tx1"/>
                </a:solidFill>
                <a:latin typeface="+mj-lt"/>
              </a:rPr>
              <a:t>since they are often too large for microfinance but too risky for banks</a:t>
            </a:r>
          </a:p>
        </p:txBody>
      </p:sp>
      <p:pic>
        <p:nvPicPr>
          <p:cNvPr id="4" name="Imagen 148">
            <a:extLst>
              <a:ext uri="{FF2B5EF4-FFF2-40B4-BE49-F238E27FC236}">
                <a16:creationId xmlns:a16="http://schemas.microsoft.com/office/drawing/2014/main" id="{0038A12E-F8AB-A011-9AEB-33725202B34D}"/>
              </a:ext>
            </a:extLst>
          </p:cNvPr>
          <p:cNvPicPr>
            <a:picLocks noChangeAspect="1"/>
          </p:cNvPicPr>
          <p:nvPr/>
        </p:nvPicPr>
        <p:blipFill>
          <a:blip r:embed="rId15"/>
          <a:srcRect r="66185" b="5269"/>
          <a:stretch>
            <a:fillRect/>
          </a:stretch>
        </p:blipFill>
        <p:spPr>
          <a:xfrm>
            <a:off x="8601679" y="4778619"/>
            <a:ext cx="255761" cy="263364"/>
          </a:xfrm>
          <a:prstGeom prst="rect">
            <a:avLst/>
          </a:prstGeom>
        </p:spPr>
      </p:pic>
      <p:sp>
        <p:nvSpPr>
          <p:cNvPr id="5" name="Rectangle 4">
            <a:extLst>
              <a:ext uri="{FF2B5EF4-FFF2-40B4-BE49-F238E27FC236}">
                <a16:creationId xmlns:a16="http://schemas.microsoft.com/office/drawing/2014/main" id="{23D6D732-66DB-7F2B-B7D6-014658FE7D81}"/>
              </a:ext>
            </a:extLst>
          </p:cNvPr>
          <p:cNvSpPr/>
          <p:nvPr/>
        </p:nvSpPr>
        <p:spPr>
          <a:xfrm>
            <a:off x="733264" y="4485448"/>
            <a:ext cx="7677473" cy="384546"/>
          </a:xfrm>
          <a:prstGeom prst="rect">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900" b="1" u="sng">
                <a:solidFill>
                  <a:schemeClr val="tx1"/>
                </a:solidFill>
              </a:rPr>
              <a:t>SME definition</a:t>
            </a:r>
            <a:r>
              <a:rPr lang="en-US" sz="900" b="1">
                <a:solidFill>
                  <a:schemeClr val="tx1"/>
                </a:solidFill>
              </a:rPr>
              <a:t>: </a:t>
            </a:r>
            <a:r>
              <a:rPr lang="en-US" sz="900">
                <a:solidFill>
                  <a:schemeClr val="tx1"/>
                </a:solidFill>
              </a:rPr>
              <a:t>The INVEST Toolkit focuses on formal SMEs, aligning with IFC’s SME definition (10–250 employees and annual revenues between $100,000–$15 million). Organizations are encouraged to adapt it as needed to align with their internal SME definitions and country context.</a:t>
            </a:r>
          </a:p>
        </p:txBody>
      </p:sp>
    </p:spTree>
    <p:extLst>
      <p:ext uri="{BB962C8B-B14F-4D97-AF65-F5344CB8AC3E}">
        <p14:creationId xmlns:p14="http://schemas.microsoft.com/office/powerpoint/2010/main" val="10809636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858D19-2A79-13A9-EB52-20D4D6A16667}"/>
            </a:ext>
          </a:extLst>
        </p:cNvPr>
        <p:cNvGrpSpPr/>
        <p:nvPr/>
      </p:nvGrpSpPr>
      <p:grpSpPr>
        <a:xfrm>
          <a:off x="0" y="0"/>
          <a:ext cx="0" cy="0"/>
          <a:chOff x="0" y="0"/>
          <a:chExt cx="0" cy="0"/>
        </a:xfrm>
      </p:grpSpPr>
      <p:graphicFrame>
        <p:nvGraphicFramePr>
          <p:cNvPr id="61" name="think-cell data - do not delete" hidden="1">
            <a:extLst>
              <a:ext uri="{FF2B5EF4-FFF2-40B4-BE49-F238E27FC236}">
                <a16:creationId xmlns:a16="http://schemas.microsoft.com/office/drawing/2014/main" id="{401793BD-7E01-C86F-DF0C-4325620153B6}"/>
              </a:ext>
            </a:extLst>
          </p:cNvPr>
          <p:cNvGraphicFramePr>
            <a:graphicFrameLocks noChangeAspect="1"/>
          </p:cNvGraphicFramePr>
          <p:nvPr>
            <p:custDataLst>
              <p:tags r:id="rId1"/>
            </p:custDataLst>
            <p:extLst>
              <p:ext uri="{D42A27DB-BD31-4B8C-83A1-F6EECF244321}">
                <p14:modId xmlns:p14="http://schemas.microsoft.com/office/powerpoint/2010/main" val="1416349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61" name="think-cell data - do not delete" hidden="1">
                        <a:extLst>
                          <a:ext uri="{FF2B5EF4-FFF2-40B4-BE49-F238E27FC236}">
                            <a16:creationId xmlns:a16="http://schemas.microsoft.com/office/drawing/2014/main" id="{401793BD-7E01-C86F-DF0C-4325620153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Imagen 148">
            <a:extLst>
              <a:ext uri="{FF2B5EF4-FFF2-40B4-BE49-F238E27FC236}">
                <a16:creationId xmlns:a16="http://schemas.microsoft.com/office/drawing/2014/main" id="{47BD6C22-BE67-0BEA-4CD2-B3A6F5FF7520}"/>
              </a:ext>
            </a:extLst>
          </p:cNvPr>
          <p:cNvPicPr>
            <a:picLocks noChangeAspect="1"/>
          </p:cNvPicPr>
          <p:nvPr/>
        </p:nvPicPr>
        <p:blipFill>
          <a:blip r:embed="rId5"/>
          <a:srcRect r="66185" b="5269"/>
          <a:stretch>
            <a:fillRect/>
          </a:stretch>
        </p:blipFill>
        <p:spPr>
          <a:xfrm>
            <a:off x="8601679" y="4778619"/>
            <a:ext cx="255761" cy="263364"/>
          </a:xfrm>
          <a:prstGeom prst="rect">
            <a:avLst/>
          </a:prstGeom>
        </p:spPr>
      </p:pic>
      <p:sp>
        <p:nvSpPr>
          <p:cNvPr id="3" name="Text Placeholder 2">
            <a:extLst>
              <a:ext uri="{FF2B5EF4-FFF2-40B4-BE49-F238E27FC236}">
                <a16:creationId xmlns:a16="http://schemas.microsoft.com/office/drawing/2014/main" id="{6E62FE93-C90D-FD38-74D9-7D4B042178F4}"/>
              </a:ext>
            </a:extLst>
          </p:cNvPr>
          <p:cNvSpPr>
            <a:spLocks noGrp="1"/>
          </p:cNvSpPr>
          <p:nvPr>
            <p:ph type="body" sz="quarter" idx="27"/>
          </p:nvPr>
        </p:nvSpPr>
        <p:spPr>
          <a:xfrm>
            <a:off x="206574" y="58653"/>
            <a:ext cx="8460770" cy="429768"/>
          </a:xfrm>
        </p:spPr>
        <p:txBody>
          <a:bodyPr>
            <a:noAutofit/>
          </a:bodyPr>
          <a:lstStyle/>
          <a:p>
            <a:r>
              <a:rPr lang="en-US"/>
              <a:t>INVEST approach </a:t>
            </a:r>
            <a:r>
              <a:rPr lang="en-US" err="1"/>
              <a:t>highlighs</a:t>
            </a:r>
            <a:r>
              <a:rPr lang="en-US"/>
              <a:t> effective SME banking is a process, not a product</a:t>
            </a:r>
          </a:p>
        </p:txBody>
      </p:sp>
      <p:sp>
        <p:nvSpPr>
          <p:cNvPr id="4" name="Slide Number Placeholder 3">
            <a:extLst>
              <a:ext uri="{FF2B5EF4-FFF2-40B4-BE49-F238E27FC236}">
                <a16:creationId xmlns:a16="http://schemas.microsoft.com/office/drawing/2014/main" id="{F055DAE9-E6E4-1DF9-C9A4-5C0F4BCFA988}"/>
              </a:ext>
            </a:extLst>
          </p:cNvPr>
          <p:cNvSpPr>
            <a:spLocks noGrp="1"/>
          </p:cNvSpPr>
          <p:nvPr>
            <p:ph type="sldNum" sz="quarter" idx="4294967295"/>
          </p:nvPr>
        </p:nvSpPr>
        <p:spPr>
          <a:xfrm>
            <a:off x="8729560" y="4911474"/>
            <a:ext cx="342581" cy="96296"/>
          </a:xfrm>
        </p:spPr>
        <p:txBody>
          <a:bodyPr/>
          <a:lstStyle/>
          <a:p>
            <a:fld id="{A90607E6-BCED-4FC1-A345-AB2A307AB80F}" type="slidenum">
              <a:rPr lang="en-US" sz="700" b="1" smtClean="0"/>
              <a:pPr/>
              <a:t>3</a:t>
            </a:fld>
            <a:endParaRPr lang="en-US" b="1"/>
          </a:p>
        </p:txBody>
      </p:sp>
      <p:graphicFrame>
        <p:nvGraphicFramePr>
          <p:cNvPr id="60" name="Table 59">
            <a:extLst>
              <a:ext uri="{FF2B5EF4-FFF2-40B4-BE49-F238E27FC236}">
                <a16:creationId xmlns:a16="http://schemas.microsoft.com/office/drawing/2014/main" id="{2E0900C8-4AC9-6E35-3229-B6387A7CDC82}"/>
              </a:ext>
            </a:extLst>
          </p:cNvPr>
          <p:cNvGraphicFramePr>
            <a:graphicFrameLocks noGrp="1"/>
          </p:cNvGraphicFramePr>
          <p:nvPr>
            <p:extLst>
              <p:ext uri="{D42A27DB-BD31-4B8C-83A1-F6EECF244321}">
                <p14:modId xmlns:p14="http://schemas.microsoft.com/office/powerpoint/2010/main" val="3381224458"/>
              </p:ext>
            </p:extLst>
          </p:nvPr>
        </p:nvGraphicFramePr>
        <p:xfrm>
          <a:off x="165266" y="2878169"/>
          <a:ext cx="8460770" cy="1031240"/>
        </p:xfrm>
        <a:graphic>
          <a:graphicData uri="http://schemas.openxmlformats.org/drawingml/2006/table">
            <a:tbl>
              <a:tblPr firstRow="1" bandRow="1">
                <a:tableStyleId>{5940675A-B579-460E-94D1-54222C63F5DA}</a:tableStyleId>
              </a:tblPr>
              <a:tblGrid>
                <a:gridCol w="1034736">
                  <a:extLst>
                    <a:ext uri="{9D8B030D-6E8A-4147-A177-3AD203B41FA5}">
                      <a16:colId xmlns:a16="http://schemas.microsoft.com/office/drawing/2014/main" val="2754050708"/>
                    </a:ext>
                  </a:extLst>
                </a:gridCol>
                <a:gridCol w="1060862">
                  <a:extLst>
                    <a:ext uri="{9D8B030D-6E8A-4147-A177-3AD203B41FA5}">
                      <a16:colId xmlns:a16="http://schemas.microsoft.com/office/drawing/2014/main" val="4219877301"/>
                    </a:ext>
                  </a:extLst>
                </a:gridCol>
                <a:gridCol w="1060862">
                  <a:extLst>
                    <a:ext uri="{9D8B030D-6E8A-4147-A177-3AD203B41FA5}">
                      <a16:colId xmlns:a16="http://schemas.microsoft.com/office/drawing/2014/main" val="1043336675"/>
                    </a:ext>
                  </a:extLst>
                </a:gridCol>
                <a:gridCol w="1060862">
                  <a:extLst>
                    <a:ext uri="{9D8B030D-6E8A-4147-A177-3AD203B41FA5}">
                      <a16:colId xmlns:a16="http://schemas.microsoft.com/office/drawing/2014/main" val="697919383"/>
                    </a:ext>
                  </a:extLst>
                </a:gridCol>
                <a:gridCol w="1060862">
                  <a:extLst>
                    <a:ext uri="{9D8B030D-6E8A-4147-A177-3AD203B41FA5}">
                      <a16:colId xmlns:a16="http://schemas.microsoft.com/office/drawing/2014/main" val="1324655784"/>
                    </a:ext>
                  </a:extLst>
                </a:gridCol>
                <a:gridCol w="1060862">
                  <a:extLst>
                    <a:ext uri="{9D8B030D-6E8A-4147-A177-3AD203B41FA5}">
                      <a16:colId xmlns:a16="http://schemas.microsoft.com/office/drawing/2014/main" val="668480366"/>
                    </a:ext>
                  </a:extLst>
                </a:gridCol>
                <a:gridCol w="1060862">
                  <a:extLst>
                    <a:ext uri="{9D8B030D-6E8A-4147-A177-3AD203B41FA5}">
                      <a16:colId xmlns:a16="http://schemas.microsoft.com/office/drawing/2014/main" val="1864708725"/>
                    </a:ext>
                  </a:extLst>
                </a:gridCol>
                <a:gridCol w="1060862">
                  <a:extLst>
                    <a:ext uri="{9D8B030D-6E8A-4147-A177-3AD203B41FA5}">
                      <a16:colId xmlns:a16="http://schemas.microsoft.com/office/drawing/2014/main" val="873375651"/>
                    </a:ext>
                  </a:extLst>
                </a:gridCol>
              </a:tblGrid>
              <a:tr h="836751">
                <a:tc>
                  <a:txBody>
                    <a:bodyPr/>
                    <a:lstStyle/>
                    <a:p>
                      <a:r>
                        <a:rPr lang="en-US" sz="1050" b="1" i="1"/>
                        <a:t>Key questions</a:t>
                      </a: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900">
                          <a:latin typeface="+mj-lt"/>
                        </a:rPr>
                        <a:t>What does the market look like?</a:t>
                      </a:r>
                    </a:p>
                    <a:p>
                      <a:pPr marL="0" indent="0" algn="ctr">
                        <a:buFont typeface="Arial" panose="020B0604020202020204" pitchFamily="34" charset="0"/>
                        <a:buNone/>
                      </a:pPr>
                      <a:r>
                        <a:rPr lang="en-US" sz="900">
                          <a:latin typeface="+mj-lt"/>
                        </a:rPr>
                        <a:t>What is the </a:t>
                      </a:r>
                      <a:r>
                        <a:rPr lang="en-US" sz="900" b="1">
                          <a:latin typeface="+mj-lt"/>
                        </a:rPr>
                        <a:t>overall opportunity</a:t>
                      </a:r>
                      <a:r>
                        <a:rPr lang="en-US" sz="900">
                          <a:latin typeface="+mj-lt"/>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3CCBD"/>
                    </a:solidFill>
                  </a:tcPr>
                </a:tc>
                <a:tc>
                  <a:txBody>
                    <a:bodyPr/>
                    <a:lstStyle/>
                    <a:p>
                      <a:pPr marL="0" indent="0" algn="ctr">
                        <a:buFont typeface="Arial" panose="020B0604020202020204" pitchFamily="34" charset="0"/>
                        <a:buNone/>
                      </a:pPr>
                      <a:r>
                        <a:rPr lang="en-US" sz="900">
                          <a:latin typeface="+mj-lt"/>
                        </a:rPr>
                        <a:t>What are the </a:t>
                      </a:r>
                      <a:r>
                        <a:rPr lang="en-US" sz="900" b="1">
                          <a:latin typeface="+mj-lt"/>
                        </a:rPr>
                        <a:t>key segments</a:t>
                      </a:r>
                      <a:r>
                        <a:rPr lang="en-US" sz="900">
                          <a:latin typeface="+mj-lt"/>
                        </a:rPr>
                        <a:t>?</a:t>
                      </a:r>
                    </a:p>
                    <a:p>
                      <a:pPr marL="0" indent="0" algn="ctr">
                        <a:buFont typeface="Arial" panose="020B0604020202020204" pitchFamily="34" charset="0"/>
                        <a:buNone/>
                      </a:pPr>
                      <a:r>
                        <a:rPr lang="en-US" sz="900">
                          <a:latin typeface="+mj-lt"/>
                        </a:rPr>
                        <a:t>How do their </a:t>
                      </a:r>
                      <a:r>
                        <a:rPr lang="en-US" sz="900" b="1">
                          <a:latin typeface="+mj-lt"/>
                        </a:rPr>
                        <a:t>needs differ</a:t>
                      </a:r>
                      <a:r>
                        <a:rPr lang="en-US" sz="900">
                          <a:latin typeface="+mj-lt"/>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3CCBD"/>
                    </a:solidFill>
                  </a:tcPr>
                </a:tc>
                <a:tc>
                  <a:txBody>
                    <a:bodyPr/>
                    <a:lstStyle/>
                    <a:p>
                      <a:pPr marL="0" indent="0" algn="ctr">
                        <a:buFont typeface="Arial" panose="020B0604020202020204" pitchFamily="34" charset="0"/>
                        <a:buNone/>
                      </a:pPr>
                      <a:r>
                        <a:rPr lang="en-US" sz="900" kern="1200">
                          <a:solidFill>
                            <a:schemeClr val="tx1"/>
                          </a:solidFill>
                          <a:latin typeface="+mn-lt"/>
                          <a:ea typeface="+mn-ea"/>
                          <a:cs typeface="+mn-cs"/>
                        </a:rPr>
                        <a:t>Which </a:t>
                      </a:r>
                      <a:r>
                        <a:rPr lang="en-US" sz="900" b="1" kern="1200">
                          <a:solidFill>
                            <a:schemeClr val="tx1"/>
                          </a:solidFill>
                          <a:latin typeface="+mn-lt"/>
                          <a:ea typeface="+mn-ea"/>
                          <a:cs typeface="+mn-cs"/>
                        </a:rPr>
                        <a:t>SME segment is attractive</a:t>
                      </a:r>
                      <a:r>
                        <a:rPr lang="en-US" sz="900" kern="1200">
                          <a:solidFill>
                            <a:schemeClr val="tx1"/>
                          </a:solidFill>
                          <a:latin typeface="+mn-lt"/>
                          <a:ea typeface="+mn-ea"/>
                          <a:cs typeface="+mn-cs"/>
                        </a:rPr>
                        <a:t> from a scale and ROI perspectiv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3CCBD"/>
                    </a:solidFill>
                  </a:tcPr>
                </a:tc>
                <a:tc>
                  <a:txBody>
                    <a:bodyPr/>
                    <a:lstStyle/>
                    <a:p>
                      <a:pPr marL="0" indent="0" algn="ctr">
                        <a:buFont typeface="Arial" panose="020B0604020202020204" pitchFamily="34" charset="0"/>
                        <a:buNone/>
                      </a:pPr>
                      <a:r>
                        <a:rPr lang="en-US" sz="900" kern="1200">
                          <a:solidFill>
                            <a:schemeClr val="tx1"/>
                          </a:solidFill>
                          <a:latin typeface="+mn-lt"/>
                          <a:ea typeface="+mn-ea"/>
                          <a:cs typeface="+mn-cs"/>
                        </a:rPr>
                        <a:t>What does my organization need to do to </a:t>
                      </a:r>
                      <a:r>
                        <a:rPr lang="en-US" sz="900" b="1" kern="1200">
                          <a:solidFill>
                            <a:schemeClr val="tx1"/>
                          </a:solidFill>
                          <a:latin typeface="+mn-lt"/>
                          <a:ea typeface="+mn-ea"/>
                          <a:cs typeface="+mn-cs"/>
                        </a:rPr>
                        <a:t>create a strong SME value </a:t>
                      </a:r>
                      <a:r>
                        <a:rPr lang="en-US" sz="900" kern="1200">
                          <a:solidFill>
                            <a:schemeClr val="tx1"/>
                          </a:solidFill>
                          <a:latin typeface="+mn-lt"/>
                          <a:ea typeface="+mn-ea"/>
                          <a:cs typeface="+mn-cs"/>
                        </a:rPr>
                        <a:t>proposit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3CCBD"/>
                    </a:solidFill>
                  </a:tcPr>
                </a:tc>
                <a:tc>
                  <a:txBody>
                    <a:bodyPr/>
                    <a:lstStyle/>
                    <a:p>
                      <a:pPr marL="0" indent="0" algn="ctr">
                        <a:buFont typeface="Arial" panose="020B0604020202020204" pitchFamily="34" charset="0"/>
                        <a:buNone/>
                      </a:pPr>
                      <a:r>
                        <a:rPr lang="en-US" sz="900" kern="1200">
                          <a:solidFill>
                            <a:schemeClr val="tx1"/>
                          </a:solidFill>
                          <a:latin typeface="+mn-lt"/>
                          <a:ea typeface="+mn-ea"/>
                          <a:cs typeface="+mn-cs"/>
                        </a:rPr>
                        <a:t>How will I know if my organization is </a:t>
                      </a:r>
                      <a:r>
                        <a:rPr lang="en-US" sz="900" b="1" kern="1200">
                          <a:solidFill>
                            <a:schemeClr val="tx1"/>
                          </a:solidFill>
                          <a:latin typeface="+mn-lt"/>
                          <a:ea typeface="+mn-ea"/>
                          <a:cs typeface="+mn-cs"/>
                        </a:rPr>
                        <a:t>achieving its full potential</a:t>
                      </a:r>
                      <a:r>
                        <a:rPr lang="en-US" sz="900" kern="1200">
                          <a:solidFill>
                            <a:schemeClr val="tx1"/>
                          </a:solidFill>
                          <a:latin typeface="+mn-lt"/>
                          <a:ea typeface="+mn-ea"/>
                          <a:cs typeface="+mn-cs"/>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3CCBD"/>
                    </a:solidFill>
                  </a:tcPr>
                </a:tc>
                <a:tc>
                  <a:txBody>
                    <a:bodyPr/>
                    <a:lstStyle/>
                    <a:p>
                      <a:pPr marL="0" indent="0" algn="ctr">
                        <a:buFont typeface="Arial" panose="020B0604020202020204" pitchFamily="34" charset="0"/>
                        <a:buNone/>
                      </a:pPr>
                      <a:r>
                        <a:rPr lang="en-US" sz="900" kern="1200">
                          <a:solidFill>
                            <a:schemeClr val="tx1"/>
                          </a:solidFill>
                          <a:latin typeface="+mn-lt"/>
                          <a:ea typeface="+mn-ea"/>
                          <a:cs typeface="+mn-cs"/>
                        </a:rPr>
                        <a:t>What </a:t>
                      </a:r>
                      <a:r>
                        <a:rPr lang="en-US" sz="900" b="1" kern="1200">
                          <a:solidFill>
                            <a:schemeClr val="tx1"/>
                          </a:solidFill>
                          <a:latin typeface="+mn-lt"/>
                          <a:ea typeface="+mn-ea"/>
                          <a:cs typeface="+mn-cs"/>
                        </a:rPr>
                        <a:t>adaptations are necessary </a:t>
                      </a:r>
                      <a:r>
                        <a:rPr lang="en-US" sz="900" kern="1200">
                          <a:solidFill>
                            <a:schemeClr val="tx1"/>
                          </a:solidFill>
                          <a:latin typeface="+mn-lt"/>
                          <a:ea typeface="+mn-ea"/>
                          <a:cs typeface="+mn-cs"/>
                        </a:rPr>
                        <a:t>to expand market shar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3CCBD"/>
                    </a:solidFill>
                  </a:tcPr>
                </a:tc>
                <a:tc>
                  <a:txBody>
                    <a:bodyPr/>
                    <a:lstStyle/>
                    <a:p>
                      <a:pPr marL="0" indent="0" algn="ctr">
                        <a:buFont typeface="Arial" panose="020B0604020202020204" pitchFamily="34" charset="0"/>
                        <a:buNone/>
                      </a:pPr>
                      <a:r>
                        <a:rPr lang="en-US" sz="900" kern="1200">
                          <a:solidFill>
                            <a:schemeClr val="tx1"/>
                          </a:solidFill>
                          <a:latin typeface="+mn-lt"/>
                          <a:ea typeface="+mn-ea"/>
                          <a:cs typeface="+mn-cs"/>
                        </a:rPr>
                        <a:t>How can these banks </a:t>
                      </a:r>
                      <a:r>
                        <a:rPr lang="en-US" sz="900" b="1" kern="1200">
                          <a:solidFill>
                            <a:schemeClr val="tx1"/>
                          </a:solidFill>
                          <a:latin typeface="+mn-lt"/>
                          <a:ea typeface="+mn-ea"/>
                          <a:cs typeface="+mn-cs"/>
                        </a:rPr>
                        <a:t>target scale</a:t>
                      </a:r>
                      <a:r>
                        <a:rPr lang="en-US" sz="900" kern="1200">
                          <a:solidFill>
                            <a:schemeClr val="tx1"/>
                          </a:solidFill>
                          <a:latin typeface="+mn-lt"/>
                          <a:ea typeface="+mn-ea"/>
                          <a:cs typeface="+mn-cs"/>
                        </a:rPr>
                        <a:t> (e.g., across branches, subsidiaries, new market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3CCBD"/>
                    </a:solidFill>
                  </a:tcPr>
                </a:tc>
                <a:extLst>
                  <a:ext uri="{0D108BD9-81ED-4DB2-BD59-A6C34878D82A}">
                    <a16:rowId xmlns:a16="http://schemas.microsoft.com/office/drawing/2014/main" val="3348671234"/>
                  </a:ext>
                </a:extLst>
              </a:tr>
              <a:tr h="0">
                <a:tc>
                  <a:txBody>
                    <a:bodyPr/>
                    <a:lstStyle/>
                    <a:p>
                      <a:endParaRPr lang="en-US" sz="100" b="1" i="1" dirty="0"/>
                    </a:p>
                  </a:txBody>
                  <a:tcPr marL="45720" marR="45720" anchor="ctr">
                    <a:lnL w="12700" cmpd="sng">
                      <a:noFill/>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sz="100">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sz="100" dirty="0">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sz="100">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sz="100" dirty="0">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sz="100">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sz="100">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sz="100" dirty="0">
                        <a:latin typeface="+mj-lt"/>
                      </a:endParaRPr>
                    </a:p>
                  </a:txBody>
                  <a:tcPr anchor="ctr">
                    <a:lnL w="12700" cap="flat" cmpd="sng" algn="ctr">
                      <a:no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69914780"/>
                  </a:ext>
                </a:extLst>
              </a:tr>
            </a:tbl>
          </a:graphicData>
        </a:graphic>
      </p:graphicFrame>
      <p:grpSp>
        <p:nvGrpSpPr>
          <p:cNvPr id="38" name="Group 37">
            <a:extLst>
              <a:ext uri="{FF2B5EF4-FFF2-40B4-BE49-F238E27FC236}">
                <a16:creationId xmlns:a16="http://schemas.microsoft.com/office/drawing/2014/main" id="{CFC950A1-1E44-BF0E-F70F-70A0D4B583A8}"/>
              </a:ext>
            </a:extLst>
          </p:cNvPr>
          <p:cNvGrpSpPr/>
          <p:nvPr/>
        </p:nvGrpSpPr>
        <p:grpSpPr>
          <a:xfrm>
            <a:off x="864906" y="1661076"/>
            <a:ext cx="7670989" cy="1114162"/>
            <a:chOff x="799591" y="1047376"/>
            <a:chExt cx="7670989" cy="1114162"/>
          </a:xfrm>
        </p:grpSpPr>
        <p:cxnSp>
          <p:nvCxnSpPr>
            <p:cNvPr id="2" name="Straight Arrow Connector 1">
              <a:extLst>
                <a:ext uri="{FF2B5EF4-FFF2-40B4-BE49-F238E27FC236}">
                  <a16:creationId xmlns:a16="http://schemas.microsoft.com/office/drawing/2014/main" id="{3CAA2AB4-7D8A-AF5C-6D00-509333A089EC}"/>
                </a:ext>
              </a:extLst>
            </p:cNvPr>
            <p:cNvCxnSpPr>
              <a:cxnSpLocks/>
            </p:cNvCxnSpPr>
            <p:nvPr/>
          </p:nvCxnSpPr>
          <p:spPr>
            <a:xfrm>
              <a:off x="1225419" y="1365476"/>
              <a:ext cx="7245161" cy="0"/>
            </a:xfrm>
            <a:prstGeom prst="straightConnector1">
              <a:avLst/>
            </a:prstGeom>
            <a:ln w="28575">
              <a:solidFill>
                <a:srgbClr val="C38F00"/>
              </a:solidFill>
              <a:tailEnd type="triangle"/>
            </a:ln>
          </p:spPr>
          <p:style>
            <a:lnRef idx="1">
              <a:schemeClr val="accent1"/>
            </a:lnRef>
            <a:fillRef idx="0">
              <a:schemeClr val="accent1"/>
            </a:fillRef>
            <a:effectRef idx="0">
              <a:schemeClr val="accent1"/>
            </a:effectRef>
            <a:fontRef idx="minor">
              <a:schemeClr val="tx1"/>
            </a:fontRef>
          </p:style>
        </p:cxnSp>
        <p:pic>
          <p:nvPicPr>
            <p:cNvPr id="14" name="Graphic 13" descr="Run with solid fill">
              <a:extLst>
                <a:ext uri="{FF2B5EF4-FFF2-40B4-BE49-F238E27FC236}">
                  <a16:creationId xmlns:a16="http://schemas.microsoft.com/office/drawing/2014/main" id="{AF95FF85-282E-65F9-7728-01DBA0F59480}"/>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99591" y="1152563"/>
              <a:ext cx="425828" cy="425828"/>
            </a:xfrm>
            <a:prstGeom prst="rect">
              <a:avLst/>
            </a:prstGeom>
          </p:spPr>
        </p:pic>
        <p:sp>
          <p:nvSpPr>
            <p:cNvPr id="6" name="Oval 5">
              <a:extLst>
                <a:ext uri="{FF2B5EF4-FFF2-40B4-BE49-F238E27FC236}">
                  <a16:creationId xmlns:a16="http://schemas.microsoft.com/office/drawing/2014/main" id="{DCC98505-B700-44E9-AB85-741370AEB3F0}"/>
                </a:ext>
              </a:extLst>
            </p:cNvPr>
            <p:cNvSpPr/>
            <p:nvPr/>
          </p:nvSpPr>
          <p:spPr>
            <a:xfrm>
              <a:off x="1343803" y="1061704"/>
              <a:ext cx="602606" cy="607545"/>
            </a:xfrm>
            <a:prstGeom prst="ellipse">
              <a:avLst/>
            </a:prstGeom>
            <a:solidFill>
              <a:schemeClr val="bg1"/>
            </a:solidFill>
            <a:ln w="28575">
              <a:solidFill>
                <a:srgbClr val="C38F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endParaRPr lang="en-GB" sz="1200">
                <a:solidFill>
                  <a:schemeClr val="bg1"/>
                </a:solidFill>
                <a:cs typeface="Arial" pitchFamily="34" charset="0"/>
              </a:endParaRPr>
            </a:p>
          </p:txBody>
        </p:sp>
        <p:sp>
          <p:nvSpPr>
            <p:cNvPr id="18" name="TextBox 17">
              <a:extLst>
                <a:ext uri="{FF2B5EF4-FFF2-40B4-BE49-F238E27FC236}">
                  <a16:creationId xmlns:a16="http://schemas.microsoft.com/office/drawing/2014/main" id="{6047D440-AA52-678B-7A33-57DA5E27CF99}"/>
                </a:ext>
              </a:extLst>
            </p:cNvPr>
            <p:cNvSpPr txBox="1"/>
            <p:nvPr/>
          </p:nvSpPr>
          <p:spPr bwMode="gray">
            <a:xfrm>
              <a:off x="1265465" y="1793007"/>
              <a:ext cx="747032" cy="318407"/>
            </a:xfrm>
            <a:prstGeom prst="rect">
              <a:avLst/>
            </a:prstGeom>
          </p:spPr>
          <p:txBody>
            <a:bodyPr vert="horz" wrap="square" lIns="0" tIns="0" rIns="0" bIns="0" rtlCol="0" anchor="ctr">
              <a:noAutofit/>
            </a:bodyPr>
            <a:lstStyle/>
            <a:p>
              <a:pPr algn="ctr">
                <a:spcBef>
                  <a:spcPts val="450"/>
                </a:spcBef>
              </a:pPr>
              <a:r>
                <a:rPr lang="en-GB" sz="900" b="1">
                  <a:solidFill>
                    <a:schemeClr val="accent1"/>
                  </a:solidFill>
                </a:rPr>
                <a:t>Assess the market</a:t>
              </a:r>
            </a:p>
          </p:txBody>
        </p:sp>
        <p:sp>
          <p:nvSpPr>
            <p:cNvPr id="10" name="Oval 9">
              <a:extLst>
                <a:ext uri="{FF2B5EF4-FFF2-40B4-BE49-F238E27FC236}">
                  <a16:creationId xmlns:a16="http://schemas.microsoft.com/office/drawing/2014/main" id="{B5849D03-697C-08D3-9FB1-29EC7EA0B504}"/>
                </a:ext>
              </a:extLst>
            </p:cNvPr>
            <p:cNvSpPr/>
            <p:nvPr/>
          </p:nvSpPr>
          <p:spPr>
            <a:xfrm>
              <a:off x="4581248" y="1061704"/>
              <a:ext cx="602606" cy="607545"/>
            </a:xfrm>
            <a:prstGeom prst="ellipse">
              <a:avLst/>
            </a:prstGeom>
            <a:solidFill>
              <a:schemeClr val="bg1"/>
            </a:solidFill>
            <a:ln w="28575">
              <a:solidFill>
                <a:srgbClr val="C38F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endParaRPr lang="en-GB" sz="1200">
                <a:solidFill>
                  <a:schemeClr val="bg1"/>
                </a:solidFill>
                <a:cs typeface="Arial" pitchFamily="34" charset="0"/>
              </a:endParaRPr>
            </a:p>
          </p:txBody>
        </p:sp>
        <p:sp>
          <p:nvSpPr>
            <p:cNvPr id="22" name="TextBox 21">
              <a:extLst>
                <a:ext uri="{FF2B5EF4-FFF2-40B4-BE49-F238E27FC236}">
                  <a16:creationId xmlns:a16="http://schemas.microsoft.com/office/drawing/2014/main" id="{0C302DBC-F43B-4A67-D31E-7B4AFC26AB7F}"/>
                </a:ext>
              </a:extLst>
            </p:cNvPr>
            <p:cNvSpPr txBox="1"/>
            <p:nvPr/>
          </p:nvSpPr>
          <p:spPr bwMode="gray">
            <a:xfrm>
              <a:off x="4495491" y="1742883"/>
              <a:ext cx="747032" cy="418654"/>
            </a:xfrm>
            <a:prstGeom prst="rect">
              <a:avLst/>
            </a:prstGeom>
          </p:spPr>
          <p:txBody>
            <a:bodyPr vert="horz" wrap="square" lIns="0" tIns="0" rIns="0" bIns="0" rtlCol="0" anchor="ctr">
              <a:noAutofit/>
            </a:bodyPr>
            <a:lstStyle/>
            <a:p>
              <a:pPr algn="ctr">
                <a:spcBef>
                  <a:spcPts val="450"/>
                </a:spcBef>
              </a:pPr>
              <a:r>
                <a:rPr lang="en-GB" sz="900" b="1">
                  <a:solidFill>
                    <a:schemeClr val="accent1"/>
                  </a:solidFill>
                </a:rPr>
                <a:t>Diagnose bank capabilities</a:t>
              </a:r>
            </a:p>
          </p:txBody>
        </p:sp>
        <p:sp>
          <p:nvSpPr>
            <p:cNvPr id="9" name="Oval 8">
              <a:extLst>
                <a:ext uri="{FF2B5EF4-FFF2-40B4-BE49-F238E27FC236}">
                  <a16:creationId xmlns:a16="http://schemas.microsoft.com/office/drawing/2014/main" id="{62223EC0-6F78-E308-8896-560DD2399461}"/>
                </a:ext>
              </a:extLst>
            </p:cNvPr>
            <p:cNvSpPr/>
            <p:nvPr/>
          </p:nvSpPr>
          <p:spPr>
            <a:xfrm>
              <a:off x="3476736" y="1061704"/>
              <a:ext cx="602606" cy="607545"/>
            </a:xfrm>
            <a:prstGeom prst="ellipse">
              <a:avLst/>
            </a:prstGeom>
            <a:solidFill>
              <a:schemeClr val="bg1"/>
            </a:solidFill>
            <a:ln w="28575">
              <a:solidFill>
                <a:srgbClr val="C38F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endParaRPr lang="en-GB" sz="1200">
                <a:solidFill>
                  <a:schemeClr val="bg1"/>
                </a:solidFill>
                <a:cs typeface="Arial" pitchFamily="34" charset="0"/>
              </a:endParaRPr>
            </a:p>
          </p:txBody>
        </p:sp>
        <p:sp>
          <p:nvSpPr>
            <p:cNvPr id="21" name="TextBox 20">
              <a:extLst>
                <a:ext uri="{FF2B5EF4-FFF2-40B4-BE49-F238E27FC236}">
                  <a16:creationId xmlns:a16="http://schemas.microsoft.com/office/drawing/2014/main" id="{386FE0B7-5102-A444-D1DC-E5ED06B9FE2E}"/>
                </a:ext>
              </a:extLst>
            </p:cNvPr>
            <p:cNvSpPr txBox="1"/>
            <p:nvPr/>
          </p:nvSpPr>
          <p:spPr bwMode="gray">
            <a:xfrm>
              <a:off x="3404523" y="1742883"/>
              <a:ext cx="747032" cy="418654"/>
            </a:xfrm>
            <a:prstGeom prst="rect">
              <a:avLst/>
            </a:prstGeom>
          </p:spPr>
          <p:txBody>
            <a:bodyPr vert="horz" wrap="square" lIns="0" tIns="0" rIns="0" bIns="0" rtlCol="0" anchor="ctr">
              <a:noAutofit/>
            </a:bodyPr>
            <a:lstStyle/>
            <a:p>
              <a:pPr marL="0" lvl="1" algn="ctr">
                <a:spcBef>
                  <a:spcPts val="450"/>
                </a:spcBef>
              </a:pPr>
              <a:r>
                <a:rPr lang="en-GB" sz="900" b="1">
                  <a:solidFill>
                    <a:schemeClr val="accent1"/>
                  </a:solidFill>
                </a:rPr>
                <a:t>Determining the business case</a:t>
              </a:r>
            </a:p>
          </p:txBody>
        </p:sp>
        <p:pic>
          <p:nvPicPr>
            <p:cNvPr id="43" name="Graphic 42" descr="Lightbulb and pencil with solid fill">
              <a:extLst>
                <a:ext uri="{FF2B5EF4-FFF2-40B4-BE49-F238E27FC236}">
                  <a16:creationId xmlns:a16="http://schemas.microsoft.com/office/drawing/2014/main" id="{C8B3D261-9F41-5D2E-C73D-E3A64E039976}"/>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588592" y="1152563"/>
              <a:ext cx="425828" cy="425828"/>
            </a:xfrm>
            <a:prstGeom prst="rect">
              <a:avLst/>
            </a:prstGeom>
          </p:spPr>
        </p:pic>
        <p:sp>
          <p:nvSpPr>
            <p:cNvPr id="13" name="Oval 12">
              <a:extLst>
                <a:ext uri="{FF2B5EF4-FFF2-40B4-BE49-F238E27FC236}">
                  <a16:creationId xmlns:a16="http://schemas.microsoft.com/office/drawing/2014/main" id="{2B1B2C29-8970-12FC-CF30-D30963DE86FB}"/>
                </a:ext>
              </a:extLst>
            </p:cNvPr>
            <p:cNvSpPr/>
            <p:nvPr/>
          </p:nvSpPr>
          <p:spPr>
            <a:xfrm>
              <a:off x="7626223" y="1061704"/>
              <a:ext cx="602606" cy="607545"/>
            </a:xfrm>
            <a:prstGeom prst="ellipse">
              <a:avLst/>
            </a:prstGeom>
            <a:solidFill>
              <a:schemeClr val="bg1"/>
            </a:solidFill>
            <a:ln w="28575">
              <a:solidFill>
                <a:srgbClr val="C38F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endParaRPr lang="en-GB" sz="1200">
                <a:solidFill>
                  <a:schemeClr val="bg1"/>
                </a:solidFill>
                <a:cs typeface="Arial" pitchFamily="34" charset="0"/>
              </a:endParaRPr>
            </a:p>
          </p:txBody>
        </p:sp>
        <p:sp>
          <p:nvSpPr>
            <p:cNvPr id="25" name="TextBox 24">
              <a:extLst>
                <a:ext uri="{FF2B5EF4-FFF2-40B4-BE49-F238E27FC236}">
                  <a16:creationId xmlns:a16="http://schemas.microsoft.com/office/drawing/2014/main" id="{5B700AC8-9694-3DE9-1137-8C41C601BD96}"/>
                </a:ext>
              </a:extLst>
            </p:cNvPr>
            <p:cNvSpPr txBox="1"/>
            <p:nvPr/>
          </p:nvSpPr>
          <p:spPr bwMode="gray">
            <a:xfrm>
              <a:off x="7554007" y="1793007"/>
              <a:ext cx="747032" cy="318407"/>
            </a:xfrm>
            <a:prstGeom prst="rect">
              <a:avLst/>
            </a:prstGeom>
          </p:spPr>
          <p:txBody>
            <a:bodyPr vert="horz" wrap="square" lIns="0" tIns="0" rIns="0" bIns="0" rtlCol="0" anchor="ctr">
              <a:noAutofit/>
            </a:bodyPr>
            <a:lstStyle/>
            <a:p>
              <a:pPr algn="ctr">
                <a:spcBef>
                  <a:spcPts val="450"/>
                </a:spcBef>
              </a:pPr>
              <a:r>
                <a:rPr lang="en-GB" sz="900" b="1">
                  <a:solidFill>
                    <a:schemeClr val="accent1"/>
                  </a:solidFill>
                </a:rPr>
                <a:t>Rollout</a:t>
              </a:r>
            </a:p>
          </p:txBody>
        </p:sp>
        <p:sp>
          <p:nvSpPr>
            <p:cNvPr id="12" name="Oval 11">
              <a:extLst>
                <a:ext uri="{FF2B5EF4-FFF2-40B4-BE49-F238E27FC236}">
                  <a16:creationId xmlns:a16="http://schemas.microsoft.com/office/drawing/2014/main" id="{32DDEDBC-356D-9E9B-1D85-32621651442C}"/>
                </a:ext>
              </a:extLst>
            </p:cNvPr>
            <p:cNvSpPr/>
            <p:nvPr/>
          </p:nvSpPr>
          <p:spPr>
            <a:xfrm>
              <a:off x="6578129" y="1061704"/>
              <a:ext cx="602606" cy="607545"/>
            </a:xfrm>
            <a:prstGeom prst="ellipse">
              <a:avLst/>
            </a:prstGeom>
            <a:solidFill>
              <a:schemeClr val="bg1"/>
            </a:solidFill>
            <a:ln w="28575">
              <a:solidFill>
                <a:srgbClr val="C38F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endParaRPr lang="en-GB" sz="1200">
                <a:solidFill>
                  <a:schemeClr val="bg1"/>
                </a:solidFill>
                <a:cs typeface="Arial" pitchFamily="34" charset="0"/>
              </a:endParaRPr>
            </a:p>
          </p:txBody>
        </p:sp>
        <p:sp>
          <p:nvSpPr>
            <p:cNvPr id="24" name="TextBox 23">
              <a:extLst>
                <a:ext uri="{FF2B5EF4-FFF2-40B4-BE49-F238E27FC236}">
                  <a16:creationId xmlns:a16="http://schemas.microsoft.com/office/drawing/2014/main" id="{C97DEBAF-0954-89AB-B703-58D42DF18D36}"/>
                </a:ext>
              </a:extLst>
            </p:cNvPr>
            <p:cNvSpPr txBox="1"/>
            <p:nvPr/>
          </p:nvSpPr>
          <p:spPr bwMode="gray">
            <a:xfrm>
              <a:off x="6505915" y="1793007"/>
              <a:ext cx="747032" cy="318407"/>
            </a:xfrm>
            <a:prstGeom prst="rect">
              <a:avLst/>
            </a:prstGeom>
          </p:spPr>
          <p:txBody>
            <a:bodyPr vert="horz" wrap="square" lIns="0" tIns="0" rIns="0" bIns="0" rtlCol="0" anchor="ctr">
              <a:noAutofit/>
            </a:bodyPr>
            <a:lstStyle/>
            <a:p>
              <a:pPr algn="ctr">
                <a:spcBef>
                  <a:spcPts val="450"/>
                </a:spcBef>
              </a:pPr>
              <a:r>
                <a:rPr lang="en-GB" sz="900" b="1">
                  <a:solidFill>
                    <a:schemeClr val="accent1"/>
                  </a:solidFill>
                </a:rPr>
                <a:t>Test and refine</a:t>
              </a:r>
            </a:p>
          </p:txBody>
        </p:sp>
        <p:pic>
          <p:nvPicPr>
            <p:cNvPr id="45" name="Graphic 44" descr="Social network with solid fill">
              <a:extLst>
                <a:ext uri="{FF2B5EF4-FFF2-40B4-BE49-F238E27FC236}">
                  <a16:creationId xmlns:a16="http://schemas.microsoft.com/office/drawing/2014/main" id="{58B3008F-F8CB-0164-8591-1576FD88F998}"/>
                </a:ext>
              </a:extLst>
            </p:cNvPr>
            <p:cNvPicPr>
              <a:picLocks noChangeAspect="1"/>
            </p:cNvPicPr>
            <p:nvPr/>
          </p:nvPicPr>
          <p:blipFill>
            <a:blip>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706269" y="1114352"/>
              <a:ext cx="468411" cy="468411"/>
            </a:xfrm>
            <a:prstGeom prst="rect">
              <a:avLst/>
            </a:prstGeom>
          </p:spPr>
        </p:pic>
        <p:sp>
          <p:nvSpPr>
            <p:cNvPr id="11" name="Oval 10">
              <a:extLst>
                <a:ext uri="{FF2B5EF4-FFF2-40B4-BE49-F238E27FC236}">
                  <a16:creationId xmlns:a16="http://schemas.microsoft.com/office/drawing/2014/main" id="{9FC01AF3-AA4A-53C4-0DCA-B044542A88AE}"/>
                </a:ext>
              </a:extLst>
            </p:cNvPr>
            <p:cNvSpPr/>
            <p:nvPr/>
          </p:nvSpPr>
          <p:spPr>
            <a:xfrm>
              <a:off x="5588709" y="1061704"/>
              <a:ext cx="602606" cy="607545"/>
            </a:xfrm>
            <a:prstGeom prst="ellipse">
              <a:avLst/>
            </a:prstGeom>
            <a:solidFill>
              <a:schemeClr val="bg1"/>
            </a:solidFill>
            <a:ln w="28575">
              <a:solidFill>
                <a:srgbClr val="C38F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endParaRPr lang="en-GB" sz="1200">
                <a:solidFill>
                  <a:schemeClr val="bg1"/>
                </a:solidFill>
                <a:cs typeface="Arial" pitchFamily="34" charset="0"/>
              </a:endParaRPr>
            </a:p>
          </p:txBody>
        </p:sp>
        <p:sp>
          <p:nvSpPr>
            <p:cNvPr id="23" name="TextBox 22">
              <a:extLst>
                <a:ext uri="{FF2B5EF4-FFF2-40B4-BE49-F238E27FC236}">
                  <a16:creationId xmlns:a16="http://schemas.microsoft.com/office/drawing/2014/main" id="{952D9CBB-A38E-FD2A-F510-611EC085B222}"/>
                </a:ext>
              </a:extLst>
            </p:cNvPr>
            <p:cNvSpPr txBox="1"/>
            <p:nvPr/>
          </p:nvSpPr>
          <p:spPr bwMode="gray">
            <a:xfrm>
              <a:off x="5516495" y="1742884"/>
              <a:ext cx="747032" cy="418653"/>
            </a:xfrm>
            <a:prstGeom prst="rect">
              <a:avLst/>
            </a:prstGeom>
          </p:spPr>
          <p:txBody>
            <a:bodyPr vert="horz" wrap="square" lIns="0" tIns="0" rIns="0" bIns="0" rtlCol="0" anchor="ctr">
              <a:noAutofit/>
            </a:bodyPr>
            <a:lstStyle/>
            <a:p>
              <a:pPr algn="ctr">
                <a:spcBef>
                  <a:spcPts val="450"/>
                </a:spcBef>
              </a:pPr>
              <a:r>
                <a:rPr lang="en-GB" sz="900" b="1">
                  <a:solidFill>
                    <a:schemeClr val="accent1"/>
                  </a:solidFill>
                </a:rPr>
                <a:t>Set up performance tracking </a:t>
              </a:r>
            </a:p>
          </p:txBody>
        </p:sp>
        <p:sp>
          <p:nvSpPr>
            <p:cNvPr id="8" name="Oval 7">
              <a:extLst>
                <a:ext uri="{FF2B5EF4-FFF2-40B4-BE49-F238E27FC236}">
                  <a16:creationId xmlns:a16="http://schemas.microsoft.com/office/drawing/2014/main" id="{A21173A8-2458-20C3-E7E7-E0CF25BF04FB}"/>
                </a:ext>
              </a:extLst>
            </p:cNvPr>
            <p:cNvSpPr/>
            <p:nvPr/>
          </p:nvSpPr>
          <p:spPr>
            <a:xfrm>
              <a:off x="2444451" y="1061704"/>
              <a:ext cx="602606" cy="607545"/>
            </a:xfrm>
            <a:prstGeom prst="ellipse">
              <a:avLst/>
            </a:prstGeom>
            <a:solidFill>
              <a:schemeClr val="bg1"/>
            </a:solidFill>
            <a:ln w="28575">
              <a:solidFill>
                <a:srgbClr val="C38F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endParaRPr lang="en-GB" sz="1200">
                <a:solidFill>
                  <a:schemeClr val="bg1"/>
                </a:solidFill>
                <a:cs typeface="Arial" pitchFamily="34" charset="0"/>
              </a:endParaRPr>
            </a:p>
          </p:txBody>
        </p:sp>
        <p:sp>
          <p:nvSpPr>
            <p:cNvPr id="20" name="TextBox 19">
              <a:extLst>
                <a:ext uri="{FF2B5EF4-FFF2-40B4-BE49-F238E27FC236}">
                  <a16:creationId xmlns:a16="http://schemas.microsoft.com/office/drawing/2014/main" id="{74F06006-0E5F-A1D4-8066-C3B281AE1AD4}"/>
                </a:ext>
              </a:extLst>
            </p:cNvPr>
            <p:cNvSpPr txBox="1"/>
            <p:nvPr/>
          </p:nvSpPr>
          <p:spPr bwMode="gray">
            <a:xfrm>
              <a:off x="2372237" y="1742883"/>
              <a:ext cx="747032" cy="418655"/>
            </a:xfrm>
            <a:prstGeom prst="rect">
              <a:avLst/>
            </a:prstGeom>
          </p:spPr>
          <p:txBody>
            <a:bodyPr vert="horz" wrap="square" lIns="0" tIns="0" rIns="0" bIns="0" rtlCol="0" anchor="ctr">
              <a:noAutofit/>
            </a:bodyPr>
            <a:lstStyle/>
            <a:p>
              <a:pPr algn="ctr">
                <a:spcBef>
                  <a:spcPts val="450"/>
                </a:spcBef>
              </a:pPr>
              <a:r>
                <a:rPr lang="en-GB" sz="900" b="1">
                  <a:solidFill>
                    <a:schemeClr val="accent1"/>
                  </a:solidFill>
                </a:rPr>
                <a:t>Understand the SME segment</a:t>
              </a:r>
            </a:p>
          </p:txBody>
        </p:sp>
        <p:pic>
          <p:nvPicPr>
            <p:cNvPr id="46" name="Graphic 45" descr="Target Audience with solid fill">
              <a:extLst>
                <a:ext uri="{FF2B5EF4-FFF2-40B4-BE49-F238E27FC236}">
                  <a16:creationId xmlns:a16="http://schemas.microsoft.com/office/drawing/2014/main" id="{F70C0960-D46E-A099-34DC-B1C3EB6895D0}"/>
                </a:ext>
              </a:extLst>
            </p:cNvPr>
            <p:cNvPicPr>
              <a:picLocks noChangeAspect="1"/>
            </p:cNvPicPr>
            <p:nvPr/>
          </p:nvPicPr>
          <p:blipFill>
            <a:blip>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506419" y="1131271"/>
              <a:ext cx="468411" cy="468411"/>
            </a:xfrm>
            <a:prstGeom prst="rect">
              <a:avLst/>
            </a:prstGeom>
          </p:spPr>
        </p:pic>
        <p:pic>
          <p:nvPicPr>
            <p:cNvPr id="68" name="Graphic 67">
              <a:extLst>
                <a:ext uri="{FF2B5EF4-FFF2-40B4-BE49-F238E27FC236}">
                  <a16:creationId xmlns:a16="http://schemas.microsoft.com/office/drawing/2014/main" id="{E7C5ED53-9AD2-6C96-F308-BFE2B47301E1}"/>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4658713" y="1158547"/>
              <a:ext cx="447675" cy="428625"/>
            </a:xfrm>
            <a:prstGeom prst="rect">
              <a:avLst/>
            </a:prstGeom>
          </p:spPr>
        </p:pic>
        <p:pic>
          <p:nvPicPr>
            <p:cNvPr id="70" name="Graphic 69">
              <a:extLst>
                <a:ext uri="{FF2B5EF4-FFF2-40B4-BE49-F238E27FC236}">
                  <a16:creationId xmlns:a16="http://schemas.microsoft.com/office/drawing/2014/main" id="{AE7102AA-FBDD-C3EF-1690-A6E8441501BF}"/>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6655059" y="1173929"/>
              <a:ext cx="447675" cy="409575"/>
            </a:xfrm>
            <a:prstGeom prst="rect">
              <a:avLst/>
            </a:prstGeom>
          </p:spPr>
        </p:pic>
        <p:pic>
          <p:nvPicPr>
            <p:cNvPr id="72" name="Graphic 71">
              <a:extLst>
                <a:ext uri="{FF2B5EF4-FFF2-40B4-BE49-F238E27FC236}">
                  <a16:creationId xmlns:a16="http://schemas.microsoft.com/office/drawing/2014/main" id="{83AA31F9-776F-29B6-401A-97464F1A790A}"/>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1432172" y="1160688"/>
              <a:ext cx="438150" cy="409575"/>
            </a:xfrm>
            <a:prstGeom prst="rect">
              <a:avLst/>
            </a:prstGeom>
          </p:spPr>
        </p:pic>
        <p:pic>
          <p:nvPicPr>
            <p:cNvPr id="74" name="Picture 73">
              <a:extLst>
                <a:ext uri="{FF2B5EF4-FFF2-40B4-BE49-F238E27FC236}">
                  <a16:creationId xmlns:a16="http://schemas.microsoft.com/office/drawing/2014/main" id="{84639D4B-711F-ABDB-8E76-348689A79530}"/>
                </a:ext>
              </a:extLst>
            </p:cNvPr>
            <p:cNvPicPr>
              <a:picLocks noChangeAspect="1"/>
            </p:cNvPicPr>
            <p:nvPr/>
          </p:nvPicPr>
          <p:blipFill>
            <a:blip r:embed="rId13">
              <a:clrChange>
                <a:clrFrom>
                  <a:srgbClr val="F4F4F6"/>
                </a:clrFrom>
                <a:clrTo>
                  <a:srgbClr val="F4F4F6">
                    <a:alpha val="0"/>
                  </a:srgbClr>
                </a:clrTo>
              </a:clrChange>
              <a:duotone>
                <a:schemeClr val="accent2">
                  <a:shade val="45000"/>
                  <a:satMod val="135000"/>
                </a:schemeClr>
                <a:prstClr val="white"/>
              </a:duotone>
            </a:blip>
            <a:stretch>
              <a:fillRect/>
            </a:stretch>
          </p:blipFill>
          <p:spPr>
            <a:xfrm>
              <a:off x="5593750" y="1047376"/>
              <a:ext cx="636565" cy="596501"/>
            </a:xfrm>
            <a:prstGeom prst="rect">
              <a:avLst/>
            </a:prstGeom>
          </p:spPr>
        </p:pic>
      </p:grpSp>
      <p:sp>
        <p:nvSpPr>
          <p:cNvPr id="5" name="Arrow: Chevron 50">
            <a:extLst>
              <a:ext uri="{FF2B5EF4-FFF2-40B4-BE49-F238E27FC236}">
                <a16:creationId xmlns:a16="http://schemas.microsoft.com/office/drawing/2014/main" id="{F2A95889-44F5-6B4A-59D9-2D9D0929FB89}"/>
              </a:ext>
            </a:extLst>
          </p:cNvPr>
          <p:cNvSpPr/>
          <p:nvPr/>
        </p:nvSpPr>
        <p:spPr>
          <a:xfrm>
            <a:off x="6272692" y="1178377"/>
            <a:ext cx="1362692" cy="387051"/>
          </a:xfrm>
          <a:prstGeom prst="chevron">
            <a:avLst/>
          </a:prstGeom>
          <a:solidFill>
            <a:srgbClr val="ECC115"/>
          </a:solidFill>
          <a:ln w="9525">
            <a:solidFill>
              <a:srgbClr val="ECC11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chemeClr val="accent1"/>
                </a:solidFill>
                <a:effectLst/>
                <a:uLnTx/>
                <a:uFillTx/>
                <a:latin typeface="Lato Black" panose="020F0502020204030203" pitchFamily="34" charset="0"/>
                <a:ea typeface="Lato Black" panose="020F0502020204030203" pitchFamily="34" charset="0"/>
                <a:cs typeface="Lato Black" panose="020F0502020204030203" pitchFamily="34" charset="0"/>
                <a:sym typeface="Lato"/>
              </a:rPr>
              <a:t>Pilot &amp; refinement</a:t>
            </a:r>
          </a:p>
        </p:txBody>
      </p:sp>
      <p:sp>
        <p:nvSpPr>
          <p:cNvPr id="7" name="Arrow: Chevron 51">
            <a:extLst>
              <a:ext uri="{FF2B5EF4-FFF2-40B4-BE49-F238E27FC236}">
                <a16:creationId xmlns:a16="http://schemas.microsoft.com/office/drawing/2014/main" id="{FA44486E-FBB7-71AD-DD66-C48FB7000049}"/>
              </a:ext>
            </a:extLst>
          </p:cNvPr>
          <p:cNvSpPr/>
          <p:nvPr/>
        </p:nvSpPr>
        <p:spPr>
          <a:xfrm>
            <a:off x="1370304" y="1178412"/>
            <a:ext cx="5030496" cy="387051"/>
          </a:xfrm>
          <a:prstGeom prst="chevron">
            <a:avLst/>
          </a:prstGeom>
          <a:solidFill>
            <a:srgbClr val="ECC115"/>
          </a:solidFill>
          <a:ln w="9525">
            <a:solidFill>
              <a:srgbClr val="ECC11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a:ln>
                <a:noFill/>
              </a:ln>
              <a:solidFill>
                <a:schemeClr val="accent1"/>
              </a:solidFill>
              <a:effectLst/>
              <a:uLnTx/>
              <a:uFillTx/>
              <a:latin typeface="Lato Black" panose="020F0502020204030203" pitchFamily="34" charset="0"/>
              <a:ea typeface="Lato Black" panose="020F0502020204030203" pitchFamily="34" charset="0"/>
              <a:cs typeface="Lato Black" panose="020F0502020204030203" pitchFamily="34" charset="0"/>
              <a:sym typeface="Lato"/>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chemeClr val="accent1"/>
                </a:solidFill>
                <a:effectLst/>
                <a:uLnTx/>
                <a:uFillTx/>
                <a:latin typeface="Lato Black" panose="020F0502020204030203" pitchFamily="34" charset="0"/>
                <a:ea typeface="Lato Black" panose="020F0502020204030203" pitchFamily="34" charset="0"/>
                <a:cs typeface="Lato Black" panose="020F0502020204030203" pitchFamily="34" charset="0"/>
                <a:sym typeface="Lato"/>
              </a:rPr>
              <a:t>Research &amp; Diagnostic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a:ln>
                <a:noFill/>
              </a:ln>
              <a:solidFill>
                <a:schemeClr val="accent1"/>
              </a:solidFill>
              <a:effectLst/>
              <a:uLnTx/>
              <a:uFillTx/>
              <a:latin typeface="Lato Black" panose="020F0502020204030203" pitchFamily="34" charset="0"/>
              <a:ea typeface="Lato Black" panose="020F0502020204030203" pitchFamily="34" charset="0"/>
              <a:cs typeface="Lato Black" panose="020F0502020204030203" pitchFamily="34" charset="0"/>
              <a:sym typeface="Lato"/>
            </a:endParaRPr>
          </a:p>
        </p:txBody>
      </p:sp>
      <p:sp>
        <p:nvSpPr>
          <p:cNvPr id="35" name="Arrow: Chevron 53">
            <a:extLst>
              <a:ext uri="{FF2B5EF4-FFF2-40B4-BE49-F238E27FC236}">
                <a16:creationId xmlns:a16="http://schemas.microsoft.com/office/drawing/2014/main" id="{AD4A3642-00C5-70CF-3148-E819D0334C77}"/>
              </a:ext>
            </a:extLst>
          </p:cNvPr>
          <p:cNvSpPr/>
          <p:nvPr/>
        </p:nvSpPr>
        <p:spPr>
          <a:xfrm>
            <a:off x="7507276" y="1179140"/>
            <a:ext cx="1050672" cy="387051"/>
          </a:xfrm>
          <a:prstGeom prst="chevron">
            <a:avLst/>
          </a:prstGeom>
          <a:solidFill>
            <a:srgbClr val="ECC115"/>
          </a:solidFill>
          <a:ln w="9525">
            <a:solidFill>
              <a:srgbClr val="ECC11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chemeClr val="accent1"/>
                </a:solidFill>
                <a:effectLst/>
                <a:uLnTx/>
                <a:uFillTx/>
                <a:latin typeface="Lato Black" panose="020F0502020204030203" pitchFamily="34" charset="0"/>
                <a:ea typeface="Lato Black" panose="020F0502020204030203" pitchFamily="34" charset="0"/>
                <a:cs typeface="Lato Black" panose="020F0502020204030203" pitchFamily="34" charset="0"/>
                <a:sym typeface="Lato"/>
              </a:rPr>
              <a:t>Roll out  </a:t>
            </a:r>
          </a:p>
        </p:txBody>
      </p:sp>
      <p:sp>
        <p:nvSpPr>
          <p:cNvPr id="19" name="Rectangle 18">
            <a:extLst>
              <a:ext uri="{FF2B5EF4-FFF2-40B4-BE49-F238E27FC236}">
                <a16:creationId xmlns:a16="http://schemas.microsoft.com/office/drawing/2014/main" id="{8A3148ED-050F-E693-CDEF-90B7C2C4C234}"/>
              </a:ext>
            </a:extLst>
          </p:cNvPr>
          <p:cNvSpPr/>
          <p:nvPr/>
        </p:nvSpPr>
        <p:spPr>
          <a:xfrm>
            <a:off x="271890" y="1769041"/>
            <a:ext cx="515016" cy="809381"/>
          </a:xfrm>
          <a:prstGeom prst="rect">
            <a:avLst/>
          </a:prstGeom>
        </p:spPr>
        <p:txBody>
          <a:bodyPr vert="horz" wrap="square" lIns="0" tIns="0" rIns="0" bIns="0" rtlCol="0" anchor="t">
            <a:noAutofit/>
          </a:bodyPr>
          <a:lstStyle/>
          <a:p>
            <a:pPr>
              <a:spcBef>
                <a:spcPts val="450"/>
              </a:spcBef>
            </a:pPr>
            <a:r>
              <a:rPr lang="en-US" sz="1000" b="1" i="1" noProof="0">
                <a:cs typeface="Arial" pitchFamily="34" charset="0"/>
              </a:rPr>
              <a:t>Steps</a:t>
            </a:r>
          </a:p>
          <a:p>
            <a:pPr>
              <a:spcBef>
                <a:spcPts val="450"/>
              </a:spcBef>
            </a:pPr>
            <a:r>
              <a:rPr lang="en-US" sz="1000" i="1">
                <a:cs typeface="Arial" pitchFamily="34" charset="0"/>
              </a:rPr>
              <a:t>(might not be linear)</a:t>
            </a:r>
            <a:r>
              <a:rPr lang="en-US" sz="1000" i="1" noProof="0">
                <a:cs typeface="Arial" pitchFamily="34" charset="0"/>
              </a:rPr>
              <a:t> </a:t>
            </a:r>
          </a:p>
        </p:txBody>
      </p:sp>
      <p:sp>
        <p:nvSpPr>
          <p:cNvPr id="26" name="CuadroTexto 31">
            <a:extLst>
              <a:ext uri="{FF2B5EF4-FFF2-40B4-BE49-F238E27FC236}">
                <a16:creationId xmlns:a16="http://schemas.microsoft.com/office/drawing/2014/main" id="{1E123B41-B41D-D819-5A50-08C0160AB8E0}"/>
              </a:ext>
            </a:extLst>
          </p:cNvPr>
          <p:cNvSpPr txBox="1"/>
          <p:nvPr/>
        </p:nvSpPr>
        <p:spPr>
          <a:xfrm>
            <a:off x="466344" y="4939111"/>
            <a:ext cx="7517531" cy="200055"/>
          </a:xfrm>
          <a:prstGeom prst="rect">
            <a:avLst/>
          </a:prstGeom>
          <a:noFill/>
        </p:spPr>
        <p:txBody>
          <a:bodyPr wrap="square">
            <a:spAutoFit/>
          </a:bodyPr>
          <a:lstStyle/>
          <a:p>
            <a:r>
              <a:rPr lang="en-US" sz="700" b="1">
                <a:solidFill>
                  <a:schemeClr val="accent1"/>
                </a:solidFill>
              </a:rPr>
              <a:t>Note: </a:t>
            </a:r>
            <a:r>
              <a:rPr lang="en-US" sz="700">
                <a:solidFill>
                  <a:schemeClr val="accent1"/>
                </a:solidFill>
              </a:rPr>
              <a:t>The INVEST framework provides a simplified and generalized representation of elements of success applicable to the SME banking journey. It is intended for guiding purposes.</a:t>
            </a:r>
            <a:endParaRPr lang="en-US" sz="700" u="sng">
              <a:solidFill>
                <a:schemeClr val="accent1"/>
              </a:solidFill>
            </a:endParaRPr>
          </a:p>
        </p:txBody>
      </p:sp>
    </p:spTree>
    <p:extLst>
      <p:ext uri="{BB962C8B-B14F-4D97-AF65-F5344CB8AC3E}">
        <p14:creationId xmlns:p14="http://schemas.microsoft.com/office/powerpoint/2010/main" val="34461258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B7F986-ADBD-6EBE-C5F9-ED85C8CCF83D}"/>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3F511A34-FCA0-8415-0A66-38892A1A50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18" name="think-cell data - do not delete" hidden="1">
                        <a:extLst>
                          <a:ext uri="{FF2B5EF4-FFF2-40B4-BE49-F238E27FC236}">
                            <a16:creationId xmlns:a16="http://schemas.microsoft.com/office/drawing/2014/main" id="{3F511A34-FCA0-8415-0A66-38892A1A50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3F9C8FD-BDCF-FDF7-BC57-A86FE2D92A32}"/>
              </a:ext>
            </a:extLst>
          </p:cNvPr>
          <p:cNvSpPr>
            <a:spLocks noGrp="1"/>
          </p:cNvSpPr>
          <p:nvPr>
            <p:ph type="sldNum" sz="quarter" idx="4294967295"/>
          </p:nvPr>
        </p:nvSpPr>
        <p:spPr>
          <a:xfrm>
            <a:off x="8729560" y="4911474"/>
            <a:ext cx="342581" cy="96296"/>
          </a:xfrm>
        </p:spPr>
        <p:txBody>
          <a:bodyPr/>
          <a:lstStyle/>
          <a:p>
            <a:fld id="{A90607E6-BCED-4FC1-A345-AB2A307AB80F}" type="slidenum">
              <a:rPr lang="en-US" sz="700" b="1" smtClean="0"/>
              <a:pPr/>
              <a:t>4</a:t>
            </a:fld>
            <a:endParaRPr lang="en-US" b="1"/>
          </a:p>
        </p:txBody>
      </p:sp>
      <p:sp>
        <p:nvSpPr>
          <p:cNvPr id="5" name="Text Placeholder 2">
            <a:extLst>
              <a:ext uri="{FF2B5EF4-FFF2-40B4-BE49-F238E27FC236}">
                <a16:creationId xmlns:a16="http://schemas.microsoft.com/office/drawing/2014/main" id="{21B78086-06F7-0839-95CF-68488975BDAC}"/>
              </a:ext>
            </a:extLst>
          </p:cNvPr>
          <p:cNvSpPr>
            <a:spLocks noGrp="1"/>
          </p:cNvSpPr>
          <p:nvPr>
            <p:ph type="body" sz="quarter" idx="27"/>
          </p:nvPr>
        </p:nvSpPr>
        <p:spPr>
          <a:xfrm>
            <a:off x="206574" y="58653"/>
            <a:ext cx="8480226" cy="429768"/>
          </a:xfrm>
        </p:spPr>
        <p:txBody>
          <a:bodyPr>
            <a:noAutofit/>
          </a:bodyPr>
          <a:lstStyle/>
          <a:p>
            <a:r>
              <a:rPr lang="en-US"/>
              <a:t>The acronym highlights key success factors to pay attention to throughout the process</a:t>
            </a:r>
          </a:p>
        </p:txBody>
      </p:sp>
      <p:sp>
        <p:nvSpPr>
          <p:cNvPr id="3" name="Rectángulo 1">
            <a:extLst>
              <a:ext uri="{FF2B5EF4-FFF2-40B4-BE49-F238E27FC236}">
                <a16:creationId xmlns:a16="http://schemas.microsoft.com/office/drawing/2014/main" id="{48EF03DC-F99A-C56C-F5C7-07CEF281F7CB}"/>
              </a:ext>
            </a:extLst>
          </p:cNvPr>
          <p:cNvSpPr/>
          <p:nvPr/>
        </p:nvSpPr>
        <p:spPr>
          <a:xfrm>
            <a:off x="582665" y="895350"/>
            <a:ext cx="7978671" cy="3823999"/>
          </a:xfrm>
          <a:prstGeom prst="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2" name="Arrow: Chevron 50">
            <a:extLst>
              <a:ext uri="{FF2B5EF4-FFF2-40B4-BE49-F238E27FC236}">
                <a16:creationId xmlns:a16="http://schemas.microsoft.com/office/drawing/2014/main" id="{54DE6AAB-99C5-DA38-C759-EACD52354DD1}"/>
              </a:ext>
            </a:extLst>
          </p:cNvPr>
          <p:cNvSpPr/>
          <p:nvPr/>
        </p:nvSpPr>
        <p:spPr>
          <a:xfrm>
            <a:off x="3758164" y="895350"/>
            <a:ext cx="2468880" cy="387051"/>
          </a:xfrm>
          <a:prstGeom prst="chevron">
            <a:avLst/>
          </a:prstGeom>
          <a:solidFill>
            <a:srgbClr val="ECC115"/>
          </a:solidFill>
          <a:ln w="9525">
            <a:solidFill>
              <a:srgbClr val="ECC11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chemeClr val="accent1"/>
                </a:solidFill>
                <a:effectLst/>
                <a:uLnTx/>
                <a:uFillTx/>
                <a:latin typeface="Lato Black" panose="020F0502020204030203" pitchFamily="34" charset="0"/>
                <a:ea typeface="Lato Black" panose="020F0502020204030203" pitchFamily="34" charset="0"/>
                <a:cs typeface="Lato Black" panose="020F0502020204030203" pitchFamily="34" charset="0"/>
                <a:sym typeface="Lato"/>
              </a:rPr>
              <a:t>Pilot &amp; refinement</a:t>
            </a:r>
          </a:p>
        </p:txBody>
      </p:sp>
      <p:sp>
        <p:nvSpPr>
          <p:cNvPr id="13" name="Arrow: Chevron 51">
            <a:extLst>
              <a:ext uri="{FF2B5EF4-FFF2-40B4-BE49-F238E27FC236}">
                <a16:creationId xmlns:a16="http://schemas.microsoft.com/office/drawing/2014/main" id="{932934CF-0761-136B-3083-F04F72158314}"/>
              </a:ext>
            </a:extLst>
          </p:cNvPr>
          <p:cNvSpPr/>
          <p:nvPr/>
        </p:nvSpPr>
        <p:spPr>
          <a:xfrm>
            <a:off x="1370305" y="895385"/>
            <a:ext cx="2525834" cy="387051"/>
          </a:xfrm>
          <a:prstGeom prst="chevron">
            <a:avLst/>
          </a:prstGeom>
          <a:solidFill>
            <a:srgbClr val="ECC115"/>
          </a:solidFill>
          <a:ln w="9525">
            <a:solidFill>
              <a:srgbClr val="ECC11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a:ln>
                <a:noFill/>
              </a:ln>
              <a:solidFill>
                <a:schemeClr val="accent1"/>
              </a:solidFill>
              <a:effectLst/>
              <a:uLnTx/>
              <a:uFillTx/>
              <a:latin typeface="Lato Black" panose="020F0502020204030203" pitchFamily="34" charset="0"/>
              <a:ea typeface="Lato Black" panose="020F0502020204030203" pitchFamily="34" charset="0"/>
              <a:cs typeface="Lato Black" panose="020F0502020204030203" pitchFamily="34" charset="0"/>
              <a:sym typeface="Lato"/>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chemeClr val="accent1"/>
                </a:solidFill>
                <a:effectLst/>
                <a:uLnTx/>
                <a:uFillTx/>
                <a:latin typeface="Lato Black" panose="020F0502020204030203" pitchFamily="34" charset="0"/>
                <a:ea typeface="Lato Black" panose="020F0502020204030203" pitchFamily="34" charset="0"/>
                <a:cs typeface="Lato Black" panose="020F0502020204030203" pitchFamily="34" charset="0"/>
                <a:sym typeface="Lato"/>
              </a:rPr>
              <a:t>Research &amp; Diagnostic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a:ln>
                <a:noFill/>
              </a:ln>
              <a:solidFill>
                <a:schemeClr val="accent1"/>
              </a:solidFill>
              <a:effectLst/>
              <a:uLnTx/>
              <a:uFillTx/>
              <a:latin typeface="Lato Black" panose="020F0502020204030203" pitchFamily="34" charset="0"/>
              <a:ea typeface="Lato Black" panose="020F0502020204030203" pitchFamily="34" charset="0"/>
              <a:cs typeface="Lato Black" panose="020F0502020204030203" pitchFamily="34" charset="0"/>
              <a:sym typeface="Lato"/>
            </a:endParaRPr>
          </a:p>
        </p:txBody>
      </p:sp>
      <p:sp>
        <p:nvSpPr>
          <p:cNvPr id="14" name="Arrow: Chevron 53">
            <a:extLst>
              <a:ext uri="{FF2B5EF4-FFF2-40B4-BE49-F238E27FC236}">
                <a16:creationId xmlns:a16="http://schemas.microsoft.com/office/drawing/2014/main" id="{A8A1BE60-35EA-0684-3D80-657EA534235E}"/>
              </a:ext>
            </a:extLst>
          </p:cNvPr>
          <p:cNvSpPr/>
          <p:nvPr/>
        </p:nvSpPr>
        <p:spPr>
          <a:xfrm>
            <a:off x="6089068" y="896113"/>
            <a:ext cx="2468880" cy="387051"/>
          </a:xfrm>
          <a:prstGeom prst="chevron">
            <a:avLst/>
          </a:prstGeom>
          <a:solidFill>
            <a:srgbClr val="ECC115"/>
          </a:solidFill>
          <a:ln w="9525">
            <a:solidFill>
              <a:srgbClr val="ECC11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chemeClr val="accent1"/>
                </a:solidFill>
                <a:effectLst/>
                <a:uLnTx/>
                <a:uFillTx/>
                <a:latin typeface="Lato Black" panose="020F0502020204030203" pitchFamily="34" charset="0"/>
                <a:ea typeface="Lato Black" panose="020F0502020204030203" pitchFamily="34" charset="0"/>
                <a:cs typeface="Lato Black" panose="020F0502020204030203" pitchFamily="34" charset="0"/>
                <a:sym typeface="Lato"/>
              </a:rPr>
              <a:t>Roll out  </a:t>
            </a:r>
          </a:p>
        </p:txBody>
      </p:sp>
      <p:sp>
        <p:nvSpPr>
          <p:cNvPr id="15" name="Rectángulo redondeado 141">
            <a:extLst>
              <a:ext uri="{FF2B5EF4-FFF2-40B4-BE49-F238E27FC236}">
                <a16:creationId xmlns:a16="http://schemas.microsoft.com/office/drawing/2014/main" id="{7EE20B2D-9534-8422-1F7C-01CF1D4470B4}"/>
              </a:ext>
            </a:extLst>
          </p:cNvPr>
          <p:cNvSpPr/>
          <p:nvPr/>
        </p:nvSpPr>
        <p:spPr>
          <a:xfrm>
            <a:off x="582665" y="1405537"/>
            <a:ext cx="365640" cy="3371146"/>
          </a:xfrm>
          <a:prstGeom prst="roundRect">
            <a:avLst>
              <a:gd name="adj" fmla="val 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6" name="Rectangle: Rounded Corners 17">
            <a:extLst>
              <a:ext uri="{FF2B5EF4-FFF2-40B4-BE49-F238E27FC236}">
                <a16:creationId xmlns:a16="http://schemas.microsoft.com/office/drawing/2014/main" id="{54F55309-34E2-3AB0-1205-E03CC560B3E9}"/>
              </a:ext>
            </a:extLst>
          </p:cNvPr>
          <p:cNvSpPr/>
          <p:nvPr/>
        </p:nvSpPr>
        <p:spPr>
          <a:xfrm rot="16200000">
            <a:off x="-874828" y="2703355"/>
            <a:ext cx="3295174" cy="351092"/>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50" b="1">
                <a:solidFill>
                  <a:srgbClr val="1E4B3C"/>
                </a:solidFill>
                <a:cs typeface="Arial" pitchFamily="34" charset="0"/>
                <a:sym typeface="Lato"/>
              </a:rPr>
              <a:t>Key elements for success</a:t>
            </a:r>
            <a:endParaRPr kumimoji="0" lang="en-GB" sz="1050" b="1" i="0" u="none" strike="noStrike" kern="1200" cap="none" spc="0" normalizeH="0" baseline="0" noProof="0">
              <a:ln>
                <a:noFill/>
              </a:ln>
              <a:solidFill>
                <a:srgbClr val="1E4B3C"/>
              </a:solidFill>
              <a:effectLst/>
              <a:uLnTx/>
              <a:uFillTx/>
              <a:ea typeface="+mn-ea"/>
              <a:cs typeface="Arial" pitchFamily="34" charset="0"/>
              <a:sym typeface="Lato"/>
            </a:endParaRPr>
          </a:p>
        </p:txBody>
      </p:sp>
      <p:sp>
        <p:nvSpPr>
          <p:cNvPr id="2" name="Content Placeholder 2">
            <a:extLst>
              <a:ext uri="{FF2B5EF4-FFF2-40B4-BE49-F238E27FC236}">
                <a16:creationId xmlns:a16="http://schemas.microsoft.com/office/drawing/2014/main" id="{61E97B40-0495-04E1-265F-F086404A8175}"/>
              </a:ext>
            </a:extLst>
          </p:cNvPr>
          <p:cNvSpPr txBox="1">
            <a:spLocks/>
          </p:cNvSpPr>
          <p:nvPr/>
        </p:nvSpPr>
        <p:spPr>
          <a:xfrm>
            <a:off x="783111" y="1900271"/>
            <a:ext cx="737594" cy="521042"/>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ts val="0"/>
              </a:spcBef>
              <a:spcAft>
                <a:spcPts val="600"/>
              </a:spcAft>
              <a:buNone/>
              <a:defRPr/>
            </a:pPr>
            <a:r>
              <a:rPr lang="en-US" sz="3400" b="1">
                <a:solidFill>
                  <a:srgbClr val="FFC000"/>
                </a:solidFill>
                <a:latin typeface="+mj-lt"/>
              </a:rPr>
              <a:t>N</a:t>
            </a:r>
            <a:endParaRPr lang="en-CH" sz="3400" b="1">
              <a:solidFill>
                <a:srgbClr val="FFC000"/>
              </a:solidFill>
              <a:latin typeface="+mj-lt"/>
            </a:endParaRPr>
          </a:p>
        </p:txBody>
      </p:sp>
      <p:sp>
        <p:nvSpPr>
          <p:cNvPr id="9" name="Content Placeholder 2">
            <a:extLst>
              <a:ext uri="{FF2B5EF4-FFF2-40B4-BE49-F238E27FC236}">
                <a16:creationId xmlns:a16="http://schemas.microsoft.com/office/drawing/2014/main" id="{9ACE8FC0-0381-FF42-20D8-7AA000CA2230}"/>
              </a:ext>
            </a:extLst>
          </p:cNvPr>
          <p:cNvSpPr txBox="1">
            <a:spLocks/>
          </p:cNvSpPr>
          <p:nvPr/>
        </p:nvSpPr>
        <p:spPr>
          <a:xfrm>
            <a:off x="783111" y="2485993"/>
            <a:ext cx="737594" cy="521042"/>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ts val="0"/>
              </a:spcBef>
              <a:spcAft>
                <a:spcPts val="600"/>
              </a:spcAft>
              <a:buNone/>
              <a:defRPr/>
            </a:pPr>
            <a:r>
              <a:rPr lang="en-US" sz="3400" b="1">
                <a:solidFill>
                  <a:srgbClr val="FFC000"/>
                </a:solidFill>
                <a:latin typeface="+mj-lt"/>
              </a:rPr>
              <a:t>V</a:t>
            </a:r>
            <a:endParaRPr lang="en-CH" sz="3400" b="1">
              <a:solidFill>
                <a:srgbClr val="FFC000"/>
              </a:solidFill>
              <a:latin typeface="+mj-lt"/>
            </a:endParaRPr>
          </a:p>
        </p:txBody>
      </p:sp>
      <p:sp>
        <p:nvSpPr>
          <p:cNvPr id="10" name="Content Placeholder 2">
            <a:extLst>
              <a:ext uri="{FF2B5EF4-FFF2-40B4-BE49-F238E27FC236}">
                <a16:creationId xmlns:a16="http://schemas.microsoft.com/office/drawing/2014/main" id="{D50A2C92-790E-30FE-5B76-2537F7CEAB85}"/>
              </a:ext>
            </a:extLst>
          </p:cNvPr>
          <p:cNvSpPr txBox="1">
            <a:spLocks/>
          </p:cNvSpPr>
          <p:nvPr/>
        </p:nvSpPr>
        <p:spPr>
          <a:xfrm>
            <a:off x="783111" y="3069362"/>
            <a:ext cx="737594" cy="521042"/>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ts val="0"/>
              </a:spcBef>
              <a:spcAft>
                <a:spcPts val="600"/>
              </a:spcAft>
              <a:buNone/>
              <a:defRPr/>
            </a:pPr>
            <a:r>
              <a:rPr lang="en-US" sz="3400" b="1">
                <a:solidFill>
                  <a:srgbClr val="FFC000"/>
                </a:solidFill>
                <a:latin typeface="+mj-lt"/>
              </a:rPr>
              <a:t>E</a:t>
            </a:r>
            <a:endParaRPr lang="en-CH" sz="3400" b="1">
              <a:solidFill>
                <a:srgbClr val="FFC000"/>
              </a:solidFill>
              <a:latin typeface="+mj-lt"/>
            </a:endParaRPr>
          </a:p>
        </p:txBody>
      </p:sp>
      <p:sp>
        <p:nvSpPr>
          <p:cNvPr id="11" name="Content Placeholder 2">
            <a:extLst>
              <a:ext uri="{FF2B5EF4-FFF2-40B4-BE49-F238E27FC236}">
                <a16:creationId xmlns:a16="http://schemas.microsoft.com/office/drawing/2014/main" id="{32EB5838-0B3A-E11D-52B2-33407FA7BDBE}"/>
              </a:ext>
            </a:extLst>
          </p:cNvPr>
          <p:cNvSpPr txBox="1">
            <a:spLocks/>
          </p:cNvSpPr>
          <p:nvPr/>
        </p:nvSpPr>
        <p:spPr>
          <a:xfrm>
            <a:off x="783111" y="3621488"/>
            <a:ext cx="737594" cy="521042"/>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ts val="0"/>
              </a:spcBef>
              <a:spcAft>
                <a:spcPts val="600"/>
              </a:spcAft>
              <a:buNone/>
              <a:defRPr/>
            </a:pPr>
            <a:r>
              <a:rPr lang="en-US" sz="3400" b="1">
                <a:solidFill>
                  <a:srgbClr val="FFC000"/>
                </a:solidFill>
                <a:latin typeface="+mj-lt"/>
              </a:rPr>
              <a:t>S</a:t>
            </a:r>
            <a:endParaRPr lang="en-CH" sz="3400" b="1">
              <a:solidFill>
                <a:srgbClr val="FFC000"/>
              </a:solidFill>
              <a:latin typeface="+mj-lt"/>
            </a:endParaRPr>
          </a:p>
        </p:txBody>
      </p:sp>
      <p:sp>
        <p:nvSpPr>
          <p:cNvPr id="17" name="Content Placeholder 2">
            <a:extLst>
              <a:ext uri="{FF2B5EF4-FFF2-40B4-BE49-F238E27FC236}">
                <a16:creationId xmlns:a16="http://schemas.microsoft.com/office/drawing/2014/main" id="{6C0CBC8B-4FBA-1599-204B-1AA547B4C62F}"/>
              </a:ext>
            </a:extLst>
          </p:cNvPr>
          <p:cNvSpPr txBox="1">
            <a:spLocks/>
          </p:cNvSpPr>
          <p:nvPr/>
        </p:nvSpPr>
        <p:spPr>
          <a:xfrm>
            <a:off x="783111" y="4244659"/>
            <a:ext cx="737594" cy="521042"/>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ts val="0"/>
              </a:spcBef>
              <a:spcAft>
                <a:spcPts val="600"/>
              </a:spcAft>
              <a:buNone/>
              <a:defRPr/>
            </a:pPr>
            <a:r>
              <a:rPr lang="en-US" sz="3400" b="1">
                <a:solidFill>
                  <a:srgbClr val="FFC000"/>
                </a:solidFill>
                <a:latin typeface="+mj-lt"/>
              </a:rPr>
              <a:t>T</a:t>
            </a:r>
            <a:endParaRPr lang="en-CH" sz="3400" b="1">
              <a:solidFill>
                <a:srgbClr val="FFC000"/>
              </a:solidFill>
              <a:latin typeface="+mj-lt"/>
            </a:endParaRPr>
          </a:p>
        </p:txBody>
      </p:sp>
      <p:sp>
        <p:nvSpPr>
          <p:cNvPr id="20" name="Content Placeholder 2">
            <a:extLst>
              <a:ext uri="{FF2B5EF4-FFF2-40B4-BE49-F238E27FC236}">
                <a16:creationId xmlns:a16="http://schemas.microsoft.com/office/drawing/2014/main" id="{33E01E3F-D79E-B0D0-08CF-DF0191EB8A95}"/>
              </a:ext>
            </a:extLst>
          </p:cNvPr>
          <p:cNvSpPr txBox="1">
            <a:spLocks/>
          </p:cNvSpPr>
          <p:nvPr/>
        </p:nvSpPr>
        <p:spPr>
          <a:xfrm>
            <a:off x="783111" y="1303794"/>
            <a:ext cx="737594" cy="521042"/>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ts val="0"/>
              </a:spcBef>
              <a:spcAft>
                <a:spcPts val="600"/>
              </a:spcAft>
              <a:buNone/>
              <a:defRPr/>
            </a:pPr>
            <a:r>
              <a:rPr lang="en-US" sz="3400" b="1">
                <a:solidFill>
                  <a:srgbClr val="FFC000"/>
                </a:solidFill>
                <a:latin typeface="+mj-lt"/>
              </a:rPr>
              <a:t>I</a:t>
            </a:r>
            <a:endParaRPr lang="en-CH" sz="3400" b="1">
              <a:solidFill>
                <a:srgbClr val="FFC000"/>
              </a:solidFill>
              <a:latin typeface="+mj-lt"/>
            </a:endParaRPr>
          </a:p>
        </p:txBody>
      </p:sp>
      <p:grpSp>
        <p:nvGrpSpPr>
          <p:cNvPr id="31" name="Group 30">
            <a:extLst>
              <a:ext uri="{FF2B5EF4-FFF2-40B4-BE49-F238E27FC236}">
                <a16:creationId xmlns:a16="http://schemas.microsoft.com/office/drawing/2014/main" id="{A6DB34F8-6266-27B0-9537-5FF79CF41BCB}"/>
              </a:ext>
            </a:extLst>
          </p:cNvPr>
          <p:cNvGrpSpPr/>
          <p:nvPr/>
        </p:nvGrpSpPr>
        <p:grpSpPr>
          <a:xfrm>
            <a:off x="3571631" y="1903452"/>
            <a:ext cx="4954156" cy="495036"/>
            <a:chOff x="3571631" y="1954691"/>
            <a:chExt cx="4954156" cy="495036"/>
          </a:xfrm>
        </p:grpSpPr>
        <p:sp>
          <p:nvSpPr>
            <p:cNvPr id="24" name="Rectángulo redondeado 150">
              <a:extLst>
                <a:ext uri="{FF2B5EF4-FFF2-40B4-BE49-F238E27FC236}">
                  <a16:creationId xmlns:a16="http://schemas.microsoft.com/office/drawing/2014/main" id="{6070F6D8-15D4-97AC-0AF6-C71C4F87E589}"/>
                </a:ext>
              </a:extLst>
            </p:cNvPr>
            <p:cNvSpPr/>
            <p:nvPr/>
          </p:nvSpPr>
          <p:spPr>
            <a:xfrm>
              <a:off x="3764427" y="1954691"/>
              <a:ext cx="4761360" cy="495036"/>
            </a:xfrm>
            <a:prstGeom prst="roundRect">
              <a:avLst/>
            </a:prstGeom>
            <a:solidFill>
              <a:srgbClr val="FFFC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1440" defTabSz="914256">
                <a:spcAft>
                  <a:spcPts val="1200"/>
                </a:spcAft>
              </a:pPr>
              <a:r>
                <a:rPr lang="en-US" sz="1100" b="1">
                  <a:solidFill>
                    <a:prstClr val="black"/>
                  </a:solidFill>
                  <a:cs typeface="Arial" pitchFamily="34" charset="0"/>
                </a:rPr>
                <a:t>Non-financial services </a:t>
              </a:r>
              <a:r>
                <a:rPr lang="mr-IN" sz="1000">
                  <a:solidFill>
                    <a:prstClr val="black"/>
                  </a:solidFill>
                  <a:cs typeface="Arial" pitchFamily="34" charset="0"/>
                </a:rPr>
                <a:t>–</a:t>
              </a:r>
              <a:r>
                <a:rPr lang="en-US" sz="1000">
                  <a:solidFill>
                    <a:prstClr val="black"/>
                  </a:solidFill>
                  <a:cs typeface="Arial" pitchFamily="34" charset="0"/>
                </a:rPr>
                <a:t> Enhance the value proposition to increase customer loyalty and financial returns</a:t>
              </a:r>
              <a:endParaRPr lang="en-US" sz="1200">
                <a:solidFill>
                  <a:prstClr val="black"/>
                </a:solidFill>
                <a:cs typeface="Arial" pitchFamily="34" charset="0"/>
              </a:endParaRPr>
            </a:p>
          </p:txBody>
        </p:sp>
        <p:pic>
          <p:nvPicPr>
            <p:cNvPr id="34" name="Gráfico 113">
              <a:extLst>
                <a:ext uri="{FF2B5EF4-FFF2-40B4-BE49-F238E27FC236}">
                  <a16:creationId xmlns:a16="http://schemas.microsoft.com/office/drawing/2014/main" id="{6D1962FE-9078-741C-342C-2D3041FE1F79}"/>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71631" y="2000138"/>
              <a:ext cx="385591" cy="404142"/>
            </a:xfrm>
            <a:prstGeom prst="rect">
              <a:avLst/>
            </a:prstGeom>
          </p:spPr>
        </p:pic>
      </p:grpSp>
      <p:grpSp>
        <p:nvGrpSpPr>
          <p:cNvPr id="29" name="Group 28">
            <a:extLst>
              <a:ext uri="{FF2B5EF4-FFF2-40B4-BE49-F238E27FC236}">
                <a16:creationId xmlns:a16="http://schemas.microsoft.com/office/drawing/2014/main" id="{753494D1-4CE4-73B4-576D-926A304AD8EB}"/>
              </a:ext>
            </a:extLst>
          </p:cNvPr>
          <p:cNvGrpSpPr/>
          <p:nvPr/>
        </p:nvGrpSpPr>
        <p:grpSpPr>
          <a:xfrm>
            <a:off x="4596225" y="2520402"/>
            <a:ext cx="3911330" cy="488175"/>
            <a:chOff x="4596225" y="2549786"/>
            <a:chExt cx="3911330" cy="488175"/>
          </a:xfrm>
        </p:grpSpPr>
        <p:sp>
          <p:nvSpPr>
            <p:cNvPr id="25" name="Rectángulo redondeado 153">
              <a:extLst>
                <a:ext uri="{FF2B5EF4-FFF2-40B4-BE49-F238E27FC236}">
                  <a16:creationId xmlns:a16="http://schemas.microsoft.com/office/drawing/2014/main" id="{7A01718D-4427-C9B9-BF2A-7B1B8D6B8C6B}"/>
                </a:ext>
              </a:extLst>
            </p:cNvPr>
            <p:cNvSpPr/>
            <p:nvPr/>
          </p:nvSpPr>
          <p:spPr>
            <a:xfrm>
              <a:off x="4787725" y="2549786"/>
              <a:ext cx="3719830" cy="488175"/>
            </a:xfrm>
            <a:prstGeom prst="roundRect">
              <a:avLst/>
            </a:prstGeom>
            <a:solidFill>
              <a:srgbClr val="FFFC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1440" defTabSz="914256">
                <a:spcAft>
                  <a:spcPts val="1200"/>
                </a:spcAft>
              </a:pPr>
              <a:r>
                <a:rPr lang="en-US" sz="1100" b="1">
                  <a:solidFill>
                    <a:prstClr val="black"/>
                  </a:solidFill>
                  <a:cs typeface="Arial" pitchFamily="34" charset="0"/>
                </a:rPr>
                <a:t>Versatile implementation </a:t>
              </a:r>
              <a:r>
                <a:rPr lang="mr-IN" sz="1000">
                  <a:solidFill>
                    <a:prstClr val="black"/>
                  </a:solidFill>
                  <a:cs typeface="Arial" pitchFamily="34" charset="0"/>
                </a:rPr>
                <a:t>–</a:t>
              </a:r>
              <a:r>
                <a:rPr lang="en-US" sz="1000">
                  <a:solidFill>
                    <a:prstClr val="black"/>
                  </a:solidFill>
                  <a:cs typeface="Arial" pitchFamily="34" charset="0"/>
                </a:rPr>
                <a:t> Ensure that a change management structure is in place across departments for implementation</a:t>
              </a:r>
              <a:r>
                <a:rPr lang="en-US" sz="1100" b="1">
                  <a:solidFill>
                    <a:prstClr val="black"/>
                  </a:solidFill>
                  <a:cs typeface="Arial" pitchFamily="34" charset="0"/>
                </a:rPr>
                <a:t> </a:t>
              </a:r>
              <a:endParaRPr lang="en-US" sz="1100">
                <a:solidFill>
                  <a:prstClr val="black"/>
                </a:solidFill>
                <a:cs typeface="Arial" pitchFamily="34" charset="0"/>
              </a:endParaRPr>
            </a:p>
          </p:txBody>
        </p:sp>
        <p:pic>
          <p:nvPicPr>
            <p:cNvPr id="35" name="Gráfico 113">
              <a:extLst>
                <a:ext uri="{FF2B5EF4-FFF2-40B4-BE49-F238E27FC236}">
                  <a16:creationId xmlns:a16="http://schemas.microsoft.com/office/drawing/2014/main" id="{5DE01D08-D81F-2435-1A44-EF1C12D98B2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96225" y="2590097"/>
              <a:ext cx="385591" cy="404142"/>
            </a:xfrm>
            <a:prstGeom prst="rect">
              <a:avLst/>
            </a:prstGeom>
          </p:spPr>
        </p:pic>
      </p:grpSp>
      <p:grpSp>
        <p:nvGrpSpPr>
          <p:cNvPr id="27" name="Group 26">
            <a:extLst>
              <a:ext uri="{FF2B5EF4-FFF2-40B4-BE49-F238E27FC236}">
                <a16:creationId xmlns:a16="http://schemas.microsoft.com/office/drawing/2014/main" id="{4877EDDA-082E-CBA5-AE89-64CDB847C52D}"/>
              </a:ext>
            </a:extLst>
          </p:cNvPr>
          <p:cNvGrpSpPr/>
          <p:nvPr/>
        </p:nvGrpSpPr>
        <p:grpSpPr>
          <a:xfrm>
            <a:off x="3307149" y="3130491"/>
            <a:ext cx="5200406" cy="476349"/>
            <a:chOff x="3307149" y="3145139"/>
            <a:chExt cx="5200406" cy="476349"/>
          </a:xfrm>
        </p:grpSpPr>
        <p:sp>
          <p:nvSpPr>
            <p:cNvPr id="28" name="Rectángulo redondeado 157">
              <a:extLst>
                <a:ext uri="{FF2B5EF4-FFF2-40B4-BE49-F238E27FC236}">
                  <a16:creationId xmlns:a16="http://schemas.microsoft.com/office/drawing/2014/main" id="{E403B3C5-4145-9F0C-0288-2785B213C9D1}"/>
                </a:ext>
              </a:extLst>
            </p:cNvPr>
            <p:cNvSpPr/>
            <p:nvPr/>
          </p:nvSpPr>
          <p:spPr>
            <a:xfrm>
              <a:off x="3499945" y="3145139"/>
              <a:ext cx="5007610" cy="476349"/>
            </a:xfrm>
            <a:prstGeom prst="roundRect">
              <a:avLst/>
            </a:prstGeom>
            <a:solidFill>
              <a:srgbClr val="FFFC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1440" defTabSz="914256">
                <a:spcAft>
                  <a:spcPts val="1200"/>
                </a:spcAft>
              </a:pPr>
              <a:r>
                <a:rPr lang="en-US" sz="1100" b="1">
                  <a:solidFill>
                    <a:prstClr val="black"/>
                  </a:solidFill>
                  <a:cs typeface="Arial" pitchFamily="34" charset="0"/>
                </a:rPr>
                <a:t>Embed relationship banking </a:t>
              </a:r>
              <a:r>
                <a:rPr lang="mr-IN" sz="1000">
                  <a:solidFill>
                    <a:prstClr val="black"/>
                  </a:solidFill>
                  <a:cs typeface="Arial" pitchFamily="34" charset="0"/>
                </a:rPr>
                <a:t>–</a:t>
              </a:r>
              <a:r>
                <a:rPr lang="en-US" sz="1000">
                  <a:solidFill>
                    <a:prstClr val="black"/>
                  </a:solidFill>
                  <a:cs typeface="Arial" pitchFamily="34" charset="0"/>
                </a:rPr>
                <a:t> Implement a customer-centric relationship model that fosters higher customer satisfaction and cross-selling opportunities</a:t>
              </a:r>
              <a:endParaRPr lang="en-US" sz="1100">
                <a:solidFill>
                  <a:prstClr val="black"/>
                </a:solidFill>
                <a:cs typeface="Arial" pitchFamily="34" charset="0"/>
              </a:endParaRPr>
            </a:p>
          </p:txBody>
        </p:sp>
        <p:pic>
          <p:nvPicPr>
            <p:cNvPr id="38" name="Gráfico 113">
              <a:extLst>
                <a:ext uri="{FF2B5EF4-FFF2-40B4-BE49-F238E27FC236}">
                  <a16:creationId xmlns:a16="http://schemas.microsoft.com/office/drawing/2014/main" id="{B10E9297-A20E-6C42-8189-E81799B5C036}"/>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07149" y="3176387"/>
              <a:ext cx="385591" cy="404142"/>
            </a:xfrm>
            <a:prstGeom prst="rect">
              <a:avLst/>
            </a:prstGeom>
          </p:spPr>
        </p:pic>
      </p:grpSp>
      <p:grpSp>
        <p:nvGrpSpPr>
          <p:cNvPr id="7" name="Group 6">
            <a:extLst>
              <a:ext uri="{FF2B5EF4-FFF2-40B4-BE49-F238E27FC236}">
                <a16:creationId xmlns:a16="http://schemas.microsoft.com/office/drawing/2014/main" id="{4C81DF19-61C8-8BE2-4EAA-9A6106C6C058}"/>
              </a:ext>
            </a:extLst>
          </p:cNvPr>
          <p:cNvGrpSpPr/>
          <p:nvPr/>
        </p:nvGrpSpPr>
        <p:grpSpPr>
          <a:xfrm>
            <a:off x="1895117" y="3728754"/>
            <a:ext cx="6630670" cy="438864"/>
            <a:chOff x="1895117" y="3703665"/>
            <a:chExt cx="6630670" cy="438864"/>
          </a:xfrm>
        </p:grpSpPr>
        <p:sp>
          <p:nvSpPr>
            <p:cNvPr id="30" name="Rectángulo redondeado 160">
              <a:extLst>
                <a:ext uri="{FF2B5EF4-FFF2-40B4-BE49-F238E27FC236}">
                  <a16:creationId xmlns:a16="http://schemas.microsoft.com/office/drawing/2014/main" id="{5FD53AD0-5699-D3EC-150F-4234A8BB89C5}"/>
                </a:ext>
              </a:extLst>
            </p:cNvPr>
            <p:cNvSpPr/>
            <p:nvPr/>
          </p:nvSpPr>
          <p:spPr>
            <a:xfrm>
              <a:off x="2087913" y="3703665"/>
              <a:ext cx="6437874" cy="438864"/>
            </a:xfrm>
            <a:prstGeom prst="roundRect">
              <a:avLst/>
            </a:prstGeom>
            <a:solidFill>
              <a:srgbClr val="FFFC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1440" defTabSz="914256">
                <a:spcAft>
                  <a:spcPts val="1200"/>
                </a:spcAft>
              </a:pPr>
              <a:r>
                <a:rPr lang="en-US" sz="1100" b="1">
                  <a:solidFill>
                    <a:prstClr val="black"/>
                  </a:solidFill>
                  <a:cs typeface="Arial" pitchFamily="34" charset="0"/>
                </a:rPr>
                <a:t>Segmentation </a:t>
              </a:r>
              <a:r>
                <a:rPr lang="mr-IN" sz="1000">
                  <a:solidFill>
                    <a:prstClr val="black"/>
                  </a:solidFill>
                  <a:cs typeface="Arial" pitchFamily="34" charset="0"/>
                </a:rPr>
                <a:t>–</a:t>
              </a:r>
              <a:r>
                <a:rPr lang="en-US" sz="1000">
                  <a:solidFill>
                    <a:prstClr val="black"/>
                  </a:solidFill>
                  <a:cs typeface="Arial" pitchFamily="34" charset="0"/>
                </a:rPr>
                <a:t> Identify market segments for which there is a strong business model; tailor the value proposition accordingly to nuanced needs and characteristics (e.g., sector, lifecycle stage, formality level, etc.)</a:t>
              </a:r>
            </a:p>
          </p:txBody>
        </p:sp>
        <p:pic>
          <p:nvPicPr>
            <p:cNvPr id="39" name="Gráfico 113">
              <a:extLst>
                <a:ext uri="{FF2B5EF4-FFF2-40B4-BE49-F238E27FC236}">
                  <a16:creationId xmlns:a16="http://schemas.microsoft.com/office/drawing/2014/main" id="{0A616341-9C0D-DB84-8374-4996CD7F67F2}"/>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95117" y="3721026"/>
              <a:ext cx="385591" cy="404142"/>
            </a:xfrm>
            <a:prstGeom prst="rect">
              <a:avLst/>
            </a:prstGeom>
          </p:spPr>
        </p:pic>
      </p:grpSp>
      <p:grpSp>
        <p:nvGrpSpPr>
          <p:cNvPr id="6" name="Group 5">
            <a:extLst>
              <a:ext uri="{FF2B5EF4-FFF2-40B4-BE49-F238E27FC236}">
                <a16:creationId xmlns:a16="http://schemas.microsoft.com/office/drawing/2014/main" id="{D1C9D92E-86C1-F5F4-3C81-F5DF6206ACFA}"/>
              </a:ext>
            </a:extLst>
          </p:cNvPr>
          <p:cNvGrpSpPr/>
          <p:nvPr/>
        </p:nvGrpSpPr>
        <p:grpSpPr>
          <a:xfrm>
            <a:off x="2359018" y="4289531"/>
            <a:ext cx="6166769" cy="431299"/>
            <a:chOff x="2359018" y="4247387"/>
            <a:chExt cx="6166769" cy="431299"/>
          </a:xfrm>
        </p:grpSpPr>
        <p:sp>
          <p:nvSpPr>
            <p:cNvPr id="32" name="Rectángulo redondeado 165">
              <a:extLst>
                <a:ext uri="{FF2B5EF4-FFF2-40B4-BE49-F238E27FC236}">
                  <a16:creationId xmlns:a16="http://schemas.microsoft.com/office/drawing/2014/main" id="{C88F2CBD-3BDD-2209-F511-CBD783A3F083}"/>
                </a:ext>
              </a:extLst>
            </p:cNvPr>
            <p:cNvSpPr/>
            <p:nvPr/>
          </p:nvSpPr>
          <p:spPr>
            <a:xfrm>
              <a:off x="2558057" y="4247387"/>
              <a:ext cx="5967730" cy="431299"/>
            </a:xfrm>
            <a:prstGeom prst="roundRect">
              <a:avLst/>
            </a:prstGeom>
            <a:solidFill>
              <a:srgbClr val="FFFC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1440" defTabSz="342900">
                <a:defRPr/>
              </a:pPr>
              <a:r>
                <a:rPr lang="en-US" sz="1100" b="1">
                  <a:solidFill>
                    <a:prstClr val="black"/>
                  </a:solidFill>
                  <a:cs typeface="Arial" pitchFamily="34" charset="0"/>
                </a:rPr>
                <a:t>Technology</a:t>
              </a:r>
              <a:r>
                <a:rPr lang="en-US" sz="1050" b="1">
                  <a:solidFill>
                    <a:prstClr val="black"/>
                  </a:solidFill>
                  <a:cs typeface="Arial" pitchFamily="34" charset="0"/>
                </a:rPr>
                <a:t> </a:t>
              </a:r>
              <a:r>
                <a:rPr lang="mr-IN" sz="1000">
                  <a:solidFill>
                    <a:prstClr val="black"/>
                  </a:solidFill>
                  <a:cs typeface="Arial" pitchFamily="34" charset="0"/>
                </a:rPr>
                <a:t>–</a:t>
              </a:r>
              <a:r>
                <a:rPr lang="en-US" sz="1000">
                  <a:solidFill>
                    <a:prstClr val="black"/>
                  </a:solidFill>
                  <a:cs typeface="Arial" pitchFamily="34" charset="0"/>
                </a:rPr>
                <a:t> Leverage data and digital tools to optimize new and existing client identification, credit assessment, and disbursement times—driving market share growth and profitability</a:t>
              </a:r>
            </a:p>
          </p:txBody>
        </p:sp>
        <p:pic>
          <p:nvPicPr>
            <p:cNvPr id="40" name="Gráfico 113">
              <a:extLst>
                <a:ext uri="{FF2B5EF4-FFF2-40B4-BE49-F238E27FC236}">
                  <a16:creationId xmlns:a16="http://schemas.microsoft.com/office/drawing/2014/main" id="{42E96E1A-652A-F481-8295-061651C8AD9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359018" y="4260965"/>
              <a:ext cx="385591" cy="404142"/>
            </a:xfrm>
            <a:prstGeom prst="rect">
              <a:avLst/>
            </a:prstGeom>
          </p:spPr>
        </p:pic>
      </p:grpSp>
      <p:sp>
        <p:nvSpPr>
          <p:cNvPr id="41" name="Rectángulo redondeado 150">
            <a:extLst>
              <a:ext uri="{FF2B5EF4-FFF2-40B4-BE49-F238E27FC236}">
                <a16:creationId xmlns:a16="http://schemas.microsoft.com/office/drawing/2014/main" id="{93B38280-A9C2-46BC-C4C0-D42AE7D7CBB1}"/>
              </a:ext>
            </a:extLst>
          </p:cNvPr>
          <p:cNvSpPr/>
          <p:nvPr/>
        </p:nvSpPr>
        <p:spPr>
          <a:xfrm>
            <a:off x="1777106" y="1347092"/>
            <a:ext cx="6748681" cy="434446"/>
          </a:xfrm>
          <a:prstGeom prst="roundRect">
            <a:avLst/>
          </a:prstGeom>
          <a:solidFill>
            <a:srgbClr val="FFFC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1440" defTabSz="914256">
              <a:spcAft>
                <a:spcPts val="1200"/>
              </a:spcAft>
            </a:pPr>
            <a:r>
              <a:rPr lang="en-US" sz="1100" b="1">
                <a:solidFill>
                  <a:schemeClr val="tx1"/>
                </a:solidFill>
                <a:cs typeface="Arial" pitchFamily="34" charset="0"/>
              </a:rPr>
              <a:t>Incentives</a:t>
            </a:r>
            <a:r>
              <a:rPr lang="en-US" sz="1100" b="1">
                <a:solidFill>
                  <a:prstClr val="black"/>
                </a:solidFill>
                <a:cs typeface="Arial" pitchFamily="34" charset="0"/>
              </a:rPr>
              <a:t> </a:t>
            </a:r>
            <a:r>
              <a:rPr lang="mr-IN" sz="1100">
                <a:solidFill>
                  <a:prstClr val="black"/>
                </a:solidFill>
                <a:cs typeface="Arial" pitchFamily="34" charset="0"/>
              </a:rPr>
              <a:t>–</a:t>
            </a:r>
            <a:r>
              <a:rPr lang="en-US" sz="1100" b="1">
                <a:solidFill>
                  <a:prstClr val="black"/>
                </a:solidFill>
                <a:cs typeface="Arial" pitchFamily="34" charset="0"/>
              </a:rPr>
              <a:t> </a:t>
            </a:r>
            <a:r>
              <a:rPr lang="en-US" sz="1000">
                <a:solidFill>
                  <a:prstClr val="black"/>
                </a:solidFill>
                <a:cs typeface="Arial" pitchFamily="34" charset="0"/>
              </a:rPr>
              <a:t>Establish an incentive structure throughout the organization that enables long-term commitment across departments</a:t>
            </a:r>
            <a:endParaRPr lang="en-US" sz="1200">
              <a:solidFill>
                <a:prstClr val="black"/>
              </a:solidFill>
              <a:cs typeface="Arial" pitchFamily="34" charset="0"/>
            </a:endParaRPr>
          </a:p>
        </p:txBody>
      </p:sp>
      <p:sp>
        <p:nvSpPr>
          <p:cNvPr id="23" name="Oval 22">
            <a:extLst>
              <a:ext uri="{FF2B5EF4-FFF2-40B4-BE49-F238E27FC236}">
                <a16:creationId xmlns:a16="http://schemas.microsoft.com/office/drawing/2014/main" id="{6D526BF9-88F1-BB38-D6DC-DE8CC920CBC4}"/>
              </a:ext>
            </a:extLst>
          </p:cNvPr>
          <p:cNvSpPr/>
          <p:nvPr/>
        </p:nvSpPr>
        <p:spPr>
          <a:xfrm>
            <a:off x="1661660" y="1458907"/>
            <a:ext cx="192795" cy="205480"/>
          </a:xfrm>
          <a:prstGeom prst="ellipse">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áfico 113">
            <a:extLst>
              <a:ext uri="{FF2B5EF4-FFF2-40B4-BE49-F238E27FC236}">
                <a16:creationId xmlns:a16="http://schemas.microsoft.com/office/drawing/2014/main" id="{24475DA8-F322-8413-EDD2-7BB5CA32A3B2}"/>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84310" y="1362244"/>
            <a:ext cx="385591" cy="404142"/>
          </a:xfrm>
          <a:prstGeom prst="rect">
            <a:avLst/>
          </a:prstGeom>
        </p:spPr>
      </p:pic>
      <p:pic>
        <p:nvPicPr>
          <p:cNvPr id="8" name="Imagen 148">
            <a:extLst>
              <a:ext uri="{FF2B5EF4-FFF2-40B4-BE49-F238E27FC236}">
                <a16:creationId xmlns:a16="http://schemas.microsoft.com/office/drawing/2014/main" id="{54B998C2-B0DB-5D97-3367-995FF4CF6622}"/>
              </a:ext>
            </a:extLst>
          </p:cNvPr>
          <p:cNvPicPr>
            <a:picLocks noChangeAspect="1"/>
          </p:cNvPicPr>
          <p:nvPr/>
        </p:nvPicPr>
        <p:blipFill>
          <a:blip r:embed="rId7"/>
          <a:srcRect r="66185" b="5269"/>
          <a:stretch>
            <a:fillRect/>
          </a:stretch>
        </p:blipFill>
        <p:spPr>
          <a:xfrm>
            <a:off x="8601679" y="4778619"/>
            <a:ext cx="255761" cy="263364"/>
          </a:xfrm>
          <a:prstGeom prst="rect">
            <a:avLst/>
          </a:prstGeom>
        </p:spPr>
      </p:pic>
    </p:spTree>
    <p:extLst>
      <p:ext uri="{BB962C8B-B14F-4D97-AF65-F5344CB8AC3E}">
        <p14:creationId xmlns:p14="http://schemas.microsoft.com/office/powerpoint/2010/main" val="11311736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5A2B7C9-7809-F178-B83D-A0A71CC619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2" name="think-cell data - do not delete" hidden="1">
                        <a:extLst>
                          <a:ext uri="{FF2B5EF4-FFF2-40B4-BE49-F238E27FC236}">
                            <a16:creationId xmlns:a16="http://schemas.microsoft.com/office/drawing/2014/main" id="{35A2B7C9-7809-F178-B83D-A0A71CC619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C7845CB8-2688-0AE7-6408-A59138DB9940}"/>
              </a:ext>
            </a:extLst>
          </p:cNvPr>
          <p:cNvSpPr>
            <a:spLocks noGrp="1"/>
          </p:cNvSpPr>
          <p:nvPr>
            <p:ph type="body" sz="quarter" idx="27"/>
          </p:nvPr>
        </p:nvSpPr>
        <p:spPr/>
        <p:txBody>
          <a:bodyPr>
            <a:noAutofit/>
          </a:bodyPr>
          <a:lstStyle/>
          <a:p>
            <a:r>
              <a:rPr lang="en-US">
                <a:ea typeface="Lato"/>
                <a:cs typeface="Lato"/>
              </a:rPr>
              <a:t>The toolkit provides banks, funders and TA providers with tools to apply the INVEST process across diverse contexts, including WSMEs</a:t>
            </a:r>
            <a:endParaRPr lang="en-US" b="0">
              <a:solidFill>
                <a:srgbClr val="000000"/>
              </a:solidFill>
              <a:ea typeface="Lato"/>
              <a:cs typeface="Lato"/>
            </a:endParaRPr>
          </a:p>
        </p:txBody>
      </p:sp>
      <p:sp>
        <p:nvSpPr>
          <p:cNvPr id="4" name="Slide Number Placeholder 3">
            <a:extLst>
              <a:ext uri="{FF2B5EF4-FFF2-40B4-BE49-F238E27FC236}">
                <a16:creationId xmlns:a16="http://schemas.microsoft.com/office/drawing/2014/main" id="{0A250B76-0313-8C9E-0214-78ABDCACA088}"/>
              </a:ext>
            </a:extLst>
          </p:cNvPr>
          <p:cNvSpPr>
            <a:spLocks noGrp="1"/>
          </p:cNvSpPr>
          <p:nvPr>
            <p:ph type="sldNum" sz="quarter" idx="4294967295"/>
          </p:nvPr>
        </p:nvSpPr>
        <p:spPr>
          <a:xfrm>
            <a:off x="8729560" y="4911474"/>
            <a:ext cx="342581" cy="96296"/>
          </a:xfrm>
        </p:spPr>
        <p:txBody>
          <a:bodyPr/>
          <a:lstStyle/>
          <a:p>
            <a:fld id="{A90607E6-BCED-4FC1-A345-AB2A307AB80F}" type="slidenum">
              <a:rPr lang="en-US" sz="700" b="1" noProof="0" smtClean="0"/>
              <a:pPr/>
              <a:t>5</a:t>
            </a:fld>
            <a:endParaRPr lang="en-US" b="1" noProof="0"/>
          </a:p>
        </p:txBody>
      </p:sp>
      <p:sp>
        <p:nvSpPr>
          <p:cNvPr id="43" name="Rectángulo redondeado 123">
            <a:extLst>
              <a:ext uri="{FF2B5EF4-FFF2-40B4-BE49-F238E27FC236}">
                <a16:creationId xmlns:a16="http://schemas.microsoft.com/office/drawing/2014/main" id="{FC3E7D64-83D3-3063-CA72-275E92653ABE}"/>
              </a:ext>
            </a:extLst>
          </p:cNvPr>
          <p:cNvSpPr/>
          <p:nvPr/>
        </p:nvSpPr>
        <p:spPr>
          <a:xfrm>
            <a:off x="4438453" y="3862831"/>
            <a:ext cx="3939001" cy="616501"/>
          </a:xfrm>
          <a:prstGeom prst="roundRect">
            <a:avLst>
              <a:gd name="adj" fmla="val 816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chemeClr val="bg1">
                  <a:lumMod val="85000"/>
                </a:schemeClr>
              </a:solidFill>
            </a:endParaRPr>
          </a:p>
        </p:txBody>
      </p:sp>
      <p:cxnSp>
        <p:nvCxnSpPr>
          <p:cNvPr id="44" name="Straight Connector 21">
            <a:extLst>
              <a:ext uri="{FF2B5EF4-FFF2-40B4-BE49-F238E27FC236}">
                <a16:creationId xmlns:a16="http://schemas.microsoft.com/office/drawing/2014/main" id="{AD60AEBD-A98A-4BED-25E7-9781770CE5F9}"/>
              </a:ext>
            </a:extLst>
          </p:cNvPr>
          <p:cNvCxnSpPr>
            <a:cxnSpLocks/>
          </p:cNvCxnSpPr>
          <p:nvPr/>
        </p:nvCxnSpPr>
        <p:spPr>
          <a:xfrm flipH="1">
            <a:off x="4340218" y="1144410"/>
            <a:ext cx="3817" cy="3162924"/>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57" name="Rectángulo redondeado 94">
            <a:extLst>
              <a:ext uri="{FF2B5EF4-FFF2-40B4-BE49-F238E27FC236}">
                <a16:creationId xmlns:a16="http://schemas.microsoft.com/office/drawing/2014/main" id="{F7FCC087-027D-0799-A46E-2DF1E87DCECE}"/>
              </a:ext>
            </a:extLst>
          </p:cNvPr>
          <p:cNvSpPr/>
          <p:nvPr/>
        </p:nvSpPr>
        <p:spPr>
          <a:xfrm>
            <a:off x="2583010" y="2258309"/>
            <a:ext cx="3824944" cy="1328725"/>
          </a:xfrm>
          <a:prstGeom prst="roundRect">
            <a:avLst>
              <a:gd name="adj" fmla="val 816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chemeClr val="bg1">
                  <a:lumMod val="85000"/>
                </a:schemeClr>
              </a:solidFill>
            </a:endParaRPr>
          </a:p>
        </p:txBody>
      </p:sp>
      <p:sp>
        <p:nvSpPr>
          <p:cNvPr id="65" name="Rectángulo redondeado 93">
            <a:extLst>
              <a:ext uri="{FF2B5EF4-FFF2-40B4-BE49-F238E27FC236}">
                <a16:creationId xmlns:a16="http://schemas.microsoft.com/office/drawing/2014/main" id="{6286E484-DCD9-E155-C931-7B20F4F44C6B}"/>
              </a:ext>
            </a:extLst>
          </p:cNvPr>
          <p:cNvSpPr/>
          <p:nvPr/>
        </p:nvSpPr>
        <p:spPr>
          <a:xfrm>
            <a:off x="554061" y="1144410"/>
            <a:ext cx="3755891" cy="1050370"/>
          </a:xfrm>
          <a:prstGeom prst="roundRect">
            <a:avLst>
              <a:gd name="adj" fmla="val 816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chemeClr val="bg1">
                  <a:lumMod val="85000"/>
                </a:schemeClr>
              </a:solidFill>
            </a:endParaRPr>
          </a:p>
        </p:txBody>
      </p:sp>
      <p:sp>
        <p:nvSpPr>
          <p:cNvPr id="66" name="Arrow: Pentagon 49">
            <a:extLst>
              <a:ext uri="{FF2B5EF4-FFF2-40B4-BE49-F238E27FC236}">
                <a16:creationId xmlns:a16="http://schemas.microsoft.com/office/drawing/2014/main" id="{0AFA78D3-8965-554E-33EF-3B4AF7D63967}"/>
              </a:ext>
            </a:extLst>
          </p:cNvPr>
          <p:cNvSpPr/>
          <p:nvPr/>
        </p:nvSpPr>
        <p:spPr>
          <a:xfrm>
            <a:off x="537914" y="764603"/>
            <a:ext cx="3535051" cy="347752"/>
          </a:xfrm>
          <a:prstGeom prst="homePlate">
            <a:avLst/>
          </a:prstGeom>
          <a:solidFill>
            <a:srgbClr val="ECC115"/>
          </a:solidFill>
          <a:ln w="9525">
            <a:solidFill>
              <a:schemeClr val="bg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E4B3C"/>
                </a:solidFill>
                <a:effectLst/>
                <a:uLnTx/>
                <a:uFillTx/>
                <a:ea typeface="+mn-ea"/>
                <a:cs typeface="Arial" pitchFamily="34" charset="0"/>
                <a:sym typeface="Lato"/>
              </a:rPr>
              <a:t>Research &amp; Diagnostics</a:t>
            </a:r>
          </a:p>
        </p:txBody>
      </p:sp>
      <p:sp>
        <p:nvSpPr>
          <p:cNvPr id="67" name="Arrow: Chevron 50">
            <a:extLst>
              <a:ext uri="{FF2B5EF4-FFF2-40B4-BE49-F238E27FC236}">
                <a16:creationId xmlns:a16="http://schemas.microsoft.com/office/drawing/2014/main" id="{3F2201B9-59A7-2E74-9CB7-5879490B2A27}"/>
              </a:ext>
            </a:extLst>
          </p:cNvPr>
          <p:cNvSpPr/>
          <p:nvPr/>
        </p:nvSpPr>
        <p:spPr>
          <a:xfrm>
            <a:off x="3969562" y="764572"/>
            <a:ext cx="2577250" cy="347752"/>
          </a:xfrm>
          <a:prstGeom prst="chevron">
            <a:avLst/>
          </a:prstGeom>
          <a:solidFill>
            <a:srgbClr val="ECC115"/>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E4B3C"/>
                </a:solidFill>
                <a:effectLst/>
                <a:uLnTx/>
                <a:uFillTx/>
                <a:ea typeface="+mn-ea"/>
                <a:cs typeface="Arial" pitchFamily="34" charset="0"/>
                <a:sym typeface="Lato"/>
              </a:rPr>
              <a:t>Pilot &amp; refinement</a:t>
            </a:r>
          </a:p>
        </p:txBody>
      </p:sp>
      <p:sp>
        <p:nvSpPr>
          <p:cNvPr id="68" name="Arrow: Chevron 53">
            <a:extLst>
              <a:ext uri="{FF2B5EF4-FFF2-40B4-BE49-F238E27FC236}">
                <a16:creationId xmlns:a16="http://schemas.microsoft.com/office/drawing/2014/main" id="{F2114F77-8D16-88CE-FE2B-F062562B6918}"/>
              </a:ext>
            </a:extLst>
          </p:cNvPr>
          <p:cNvSpPr/>
          <p:nvPr/>
        </p:nvSpPr>
        <p:spPr>
          <a:xfrm>
            <a:off x="6457089" y="765242"/>
            <a:ext cx="1901649" cy="347752"/>
          </a:xfrm>
          <a:prstGeom prst="chevron">
            <a:avLst/>
          </a:prstGeom>
          <a:solidFill>
            <a:srgbClr val="ECC115"/>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1E4B3C"/>
                </a:solidFill>
                <a:effectLst/>
                <a:uLnTx/>
                <a:uFillTx/>
                <a:ea typeface="+mn-ea"/>
                <a:cs typeface="Arial" pitchFamily="34" charset="0"/>
                <a:sym typeface="Lato"/>
              </a:rPr>
              <a:t>Roll out  </a:t>
            </a:r>
          </a:p>
        </p:txBody>
      </p:sp>
      <p:sp>
        <p:nvSpPr>
          <p:cNvPr id="69" name="Rectangle: Rounded Corners 68">
            <a:extLst>
              <a:ext uri="{FF2B5EF4-FFF2-40B4-BE49-F238E27FC236}">
                <a16:creationId xmlns:a16="http://schemas.microsoft.com/office/drawing/2014/main" id="{ABD24DDB-CF9E-FDEA-A6F2-AEDCE0611B04}"/>
              </a:ext>
            </a:extLst>
          </p:cNvPr>
          <p:cNvSpPr/>
          <p:nvPr/>
        </p:nvSpPr>
        <p:spPr>
          <a:xfrm rot="16200000">
            <a:off x="-1248785" y="2649867"/>
            <a:ext cx="2892218" cy="351092"/>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400" b="1">
                <a:solidFill>
                  <a:schemeClr val="accent1">
                    <a:lumMod val="60000"/>
                    <a:lumOff val="40000"/>
                  </a:schemeClr>
                </a:solidFill>
                <a:cs typeface="Arial" pitchFamily="34" charset="0"/>
                <a:sym typeface="Lato"/>
              </a:rPr>
              <a:t>Order of use</a:t>
            </a:r>
            <a:endParaRPr kumimoji="0" lang="en-GB" sz="1400" b="1" i="0" u="none" strike="noStrike" kern="1200" cap="none" spc="0" normalizeH="0" baseline="0" noProof="0">
              <a:ln>
                <a:noFill/>
              </a:ln>
              <a:solidFill>
                <a:schemeClr val="accent1">
                  <a:lumMod val="60000"/>
                  <a:lumOff val="40000"/>
                </a:schemeClr>
              </a:solidFill>
              <a:effectLst/>
              <a:uLnTx/>
              <a:uFillTx/>
              <a:ea typeface="+mn-ea"/>
              <a:cs typeface="Arial" pitchFamily="34" charset="0"/>
              <a:sym typeface="Lato"/>
            </a:endParaRPr>
          </a:p>
        </p:txBody>
      </p:sp>
      <p:sp>
        <p:nvSpPr>
          <p:cNvPr id="70" name="Rectangle 4">
            <a:extLst>
              <a:ext uri="{FF2B5EF4-FFF2-40B4-BE49-F238E27FC236}">
                <a16:creationId xmlns:a16="http://schemas.microsoft.com/office/drawing/2014/main" id="{E7B8A46E-0F40-8FD8-08E6-79AF96D4D812}"/>
              </a:ext>
            </a:extLst>
          </p:cNvPr>
          <p:cNvSpPr/>
          <p:nvPr/>
        </p:nvSpPr>
        <p:spPr>
          <a:xfrm>
            <a:off x="924825" y="1080890"/>
            <a:ext cx="2935048" cy="5203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96000" rIns="144000" bIns="0" numCol="1" spcCol="0" rtlCol="0" fromWordArt="0" anchor="t" anchorCtr="0" forceAA="0" compatLnSpc="1">
            <a:prstTxWarp prst="textNoShape">
              <a:avLst/>
            </a:prstTxWarp>
            <a:noAutofit/>
          </a:bodyPr>
          <a:lstStyle/>
          <a:p>
            <a:pPr defTabSz="914256">
              <a:spcAft>
                <a:spcPts val="1200"/>
              </a:spcAft>
            </a:pPr>
            <a:r>
              <a:rPr lang="en-US" sz="1000" b="1">
                <a:solidFill>
                  <a:prstClr val="black"/>
                </a:solidFill>
                <a:cs typeface="Arial" pitchFamily="34" charset="0"/>
              </a:rPr>
              <a:t>To evaluate the market opportunity and identify strategically aligned partners</a:t>
            </a:r>
          </a:p>
          <a:p>
            <a:pPr defTabSz="914256">
              <a:spcAft>
                <a:spcPts val="1200"/>
              </a:spcAft>
            </a:pPr>
            <a:endParaRPr lang="en-US" sz="1000" b="1">
              <a:solidFill>
                <a:prstClr val="black"/>
              </a:solidFill>
              <a:cs typeface="Arial" pitchFamily="34" charset="0"/>
            </a:endParaRPr>
          </a:p>
        </p:txBody>
      </p:sp>
      <p:pic>
        <p:nvPicPr>
          <p:cNvPr id="71" name="Graphic 70" descr="Folder Search with solid fill">
            <a:extLst>
              <a:ext uri="{FF2B5EF4-FFF2-40B4-BE49-F238E27FC236}">
                <a16:creationId xmlns:a16="http://schemas.microsoft.com/office/drawing/2014/main" id="{4FB6443F-3919-9C9D-503B-08BB01E8CB33}"/>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41323" y="1132563"/>
            <a:ext cx="385696" cy="385696"/>
          </a:xfrm>
          <a:prstGeom prst="rect">
            <a:avLst/>
          </a:prstGeom>
        </p:spPr>
      </p:pic>
      <p:grpSp>
        <p:nvGrpSpPr>
          <p:cNvPr id="72" name="Group 71">
            <a:extLst>
              <a:ext uri="{FF2B5EF4-FFF2-40B4-BE49-F238E27FC236}">
                <a16:creationId xmlns:a16="http://schemas.microsoft.com/office/drawing/2014/main" id="{D341565A-FA20-1BEF-68B0-944C7B235A35}"/>
              </a:ext>
            </a:extLst>
          </p:cNvPr>
          <p:cNvGrpSpPr/>
          <p:nvPr/>
        </p:nvGrpSpPr>
        <p:grpSpPr>
          <a:xfrm>
            <a:off x="766123" y="1563063"/>
            <a:ext cx="1205473" cy="137160"/>
            <a:chOff x="1002883" y="1619210"/>
            <a:chExt cx="1205473" cy="137160"/>
          </a:xfrm>
        </p:grpSpPr>
        <p:sp>
          <p:nvSpPr>
            <p:cNvPr id="73" name="TextBox 28">
              <a:extLst>
                <a:ext uri="{FF2B5EF4-FFF2-40B4-BE49-F238E27FC236}">
                  <a16:creationId xmlns:a16="http://schemas.microsoft.com/office/drawing/2014/main" id="{33131C59-EF68-464A-3F2B-CE6E2EFFA44B}"/>
                </a:ext>
              </a:extLst>
            </p:cNvPr>
            <p:cNvSpPr txBox="1"/>
            <p:nvPr/>
          </p:nvSpPr>
          <p:spPr>
            <a:xfrm>
              <a:off x="1070016" y="1619210"/>
              <a:ext cx="1138340" cy="137160"/>
            </a:xfrm>
            <a:prstGeom prst="roundRect">
              <a:avLst/>
            </a:prstGeom>
            <a:solidFill>
              <a:schemeClr val="accent2">
                <a:lumMod val="20000"/>
                <a:lumOff val="80000"/>
              </a:schemeClr>
            </a:solidFill>
            <a:ln>
              <a:noFill/>
            </a:ln>
          </p:spPr>
          <p:txBody>
            <a:bodyPr wrap="square" lIns="45720" rIns="45720" rtlCol="0" anchor="ctr">
              <a:noAutofit/>
            </a:bodyPr>
            <a:lstStyle/>
            <a:p>
              <a:pPr algn="ctr" defTabSz="342900">
                <a:defRPr/>
              </a:pPr>
              <a:r>
                <a:rPr lang="en-US" sz="900" b="1" kern="0">
                  <a:solidFill>
                    <a:srgbClr val="1E4B3C"/>
                  </a:solidFill>
                  <a:latin typeface="+mj-lt"/>
                </a:rPr>
                <a:t>Market assessment</a:t>
              </a:r>
              <a:endParaRPr lang="en-KE" sz="900" b="1" kern="0">
                <a:solidFill>
                  <a:srgbClr val="1E4B3C"/>
                </a:solidFill>
                <a:latin typeface="+mj-lt"/>
              </a:endParaRPr>
            </a:p>
          </p:txBody>
        </p:sp>
        <p:sp>
          <p:nvSpPr>
            <p:cNvPr id="74" name="Oval 15">
              <a:extLst>
                <a:ext uri="{FF2B5EF4-FFF2-40B4-BE49-F238E27FC236}">
                  <a16:creationId xmlns:a16="http://schemas.microsoft.com/office/drawing/2014/main" id="{51F5918C-D843-F4A8-3F3D-C96382236BC5}"/>
                </a:ext>
              </a:extLst>
            </p:cNvPr>
            <p:cNvSpPr/>
            <p:nvPr/>
          </p:nvSpPr>
          <p:spPr>
            <a:xfrm>
              <a:off x="1002883" y="1628354"/>
              <a:ext cx="118872" cy="11887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a:t>1</a:t>
              </a:r>
              <a:endParaRPr lang="en-US" sz="1050" b="1"/>
            </a:p>
          </p:txBody>
        </p:sp>
      </p:grpSp>
      <p:grpSp>
        <p:nvGrpSpPr>
          <p:cNvPr id="75" name="Group 74">
            <a:extLst>
              <a:ext uri="{FF2B5EF4-FFF2-40B4-BE49-F238E27FC236}">
                <a16:creationId xmlns:a16="http://schemas.microsoft.com/office/drawing/2014/main" id="{A04B3C9A-CB7F-6CF2-1388-F1764495FFE0}"/>
              </a:ext>
            </a:extLst>
          </p:cNvPr>
          <p:cNvGrpSpPr/>
          <p:nvPr/>
        </p:nvGrpSpPr>
        <p:grpSpPr>
          <a:xfrm>
            <a:off x="1596618" y="1718308"/>
            <a:ext cx="1039718" cy="137160"/>
            <a:chOff x="2167275" y="1785946"/>
            <a:chExt cx="1039718" cy="137160"/>
          </a:xfrm>
        </p:grpSpPr>
        <p:sp>
          <p:nvSpPr>
            <p:cNvPr id="76" name="TextBox 29">
              <a:extLst>
                <a:ext uri="{FF2B5EF4-FFF2-40B4-BE49-F238E27FC236}">
                  <a16:creationId xmlns:a16="http://schemas.microsoft.com/office/drawing/2014/main" id="{1F1965AD-A756-471C-31AA-B3FA3CD94550}"/>
                </a:ext>
              </a:extLst>
            </p:cNvPr>
            <p:cNvSpPr txBox="1"/>
            <p:nvPr/>
          </p:nvSpPr>
          <p:spPr>
            <a:xfrm>
              <a:off x="2233253" y="1785946"/>
              <a:ext cx="973740" cy="137160"/>
            </a:xfrm>
            <a:prstGeom prst="roundRect">
              <a:avLst/>
            </a:prstGeom>
            <a:solidFill>
              <a:schemeClr val="accent2">
                <a:lumMod val="20000"/>
                <a:lumOff val="80000"/>
              </a:schemeClr>
            </a:solidFill>
            <a:ln>
              <a:noFill/>
            </a:ln>
          </p:spPr>
          <p:txBody>
            <a:bodyPr wrap="square" lIns="45720" rIns="45720" rtlCol="0" anchor="ctr">
              <a:noAutofit/>
            </a:bodyPr>
            <a:lstStyle/>
            <a:p>
              <a:pPr algn="ctr" defTabSz="342900">
                <a:defRPr/>
              </a:pPr>
              <a:r>
                <a:rPr lang="en-US" sz="900" b="1" kern="0">
                  <a:solidFill>
                    <a:schemeClr val="accent1"/>
                  </a:solidFill>
                  <a:latin typeface="+mj-lt"/>
                </a:rPr>
                <a:t>Market sizing</a:t>
              </a:r>
              <a:endParaRPr lang="en-KE" sz="900" b="1" kern="0">
                <a:solidFill>
                  <a:schemeClr val="accent1"/>
                </a:solidFill>
                <a:latin typeface="+mj-lt"/>
              </a:endParaRPr>
            </a:p>
          </p:txBody>
        </p:sp>
        <p:sp>
          <p:nvSpPr>
            <p:cNvPr id="77" name="Oval 16">
              <a:extLst>
                <a:ext uri="{FF2B5EF4-FFF2-40B4-BE49-F238E27FC236}">
                  <a16:creationId xmlns:a16="http://schemas.microsoft.com/office/drawing/2014/main" id="{F21BBA54-C6E0-9723-7C2C-E20DE51D16E7}"/>
                </a:ext>
              </a:extLst>
            </p:cNvPr>
            <p:cNvSpPr/>
            <p:nvPr/>
          </p:nvSpPr>
          <p:spPr>
            <a:xfrm>
              <a:off x="2167275" y="1795090"/>
              <a:ext cx="118872" cy="11887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a:t>2</a:t>
              </a:r>
              <a:endParaRPr lang="en-US" sz="1050" b="1"/>
            </a:p>
          </p:txBody>
        </p:sp>
      </p:grpSp>
      <p:grpSp>
        <p:nvGrpSpPr>
          <p:cNvPr id="78" name="Group 77">
            <a:extLst>
              <a:ext uri="{FF2B5EF4-FFF2-40B4-BE49-F238E27FC236}">
                <a16:creationId xmlns:a16="http://schemas.microsoft.com/office/drawing/2014/main" id="{1AFAC722-6B20-C937-9164-438B9AEA4121}"/>
              </a:ext>
            </a:extLst>
          </p:cNvPr>
          <p:cNvGrpSpPr/>
          <p:nvPr/>
        </p:nvGrpSpPr>
        <p:grpSpPr>
          <a:xfrm>
            <a:off x="2261358" y="1873553"/>
            <a:ext cx="1343335" cy="137160"/>
            <a:chOff x="3159661" y="1899348"/>
            <a:chExt cx="1343335" cy="137160"/>
          </a:xfrm>
        </p:grpSpPr>
        <p:sp>
          <p:nvSpPr>
            <p:cNvPr id="79" name="TextBox 24">
              <a:extLst>
                <a:ext uri="{FF2B5EF4-FFF2-40B4-BE49-F238E27FC236}">
                  <a16:creationId xmlns:a16="http://schemas.microsoft.com/office/drawing/2014/main" id="{512A7D2D-5384-7D05-090B-17409332EB91}"/>
                </a:ext>
              </a:extLst>
            </p:cNvPr>
            <p:cNvSpPr txBox="1"/>
            <p:nvPr/>
          </p:nvSpPr>
          <p:spPr>
            <a:xfrm>
              <a:off x="3234492" y="1899348"/>
              <a:ext cx="1268504" cy="137160"/>
            </a:xfrm>
            <a:prstGeom prst="roundRect">
              <a:avLst/>
            </a:prstGeom>
            <a:solidFill>
              <a:schemeClr val="accent2">
                <a:lumMod val="20000"/>
                <a:lumOff val="80000"/>
              </a:schemeClr>
            </a:solidFill>
            <a:ln>
              <a:noFill/>
            </a:ln>
          </p:spPr>
          <p:txBody>
            <a:bodyPr wrap="square" lIns="45720" rIns="45720" rtlCol="0" anchor="ctr">
              <a:noAutofit/>
            </a:bodyPr>
            <a:lstStyle/>
            <a:p>
              <a:pPr algn="ctr" defTabSz="342900">
                <a:defRPr/>
              </a:pPr>
              <a:r>
                <a:rPr lang="en-US" sz="900" b="1" kern="0">
                  <a:solidFill>
                    <a:srgbClr val="1E4B3C"/>
                  </a:solidFill>
                  <a:latin typeface="+mj-lt"/>
                </a:rPr>
                <a:t>Partner screening tool</a:t>
              </a:r>
            </a:p>
          </p:txBody>
        </p:sp>
        <p:sp>
          <p:nvSpPr>
            <p:cNvPr id="80" name="Oval 17">
              <a:extLst>
                <a:ext uri="{FF2B5EF4-FFF2-40B4-BE49-F238E27FC236}">
                  <a16:creationId xmlns:a16="http://schemas.microsoft.com/office/drawing/2014/main" id="{46D1F7FD-E129-5C9A-8371-8B77057F8EE7}"/>
                </a:ext>
              </a:extLst>
            </p:cNvPr>
            <p:cNvSpPr/>
            <p:nvPr/>
          </p:nvSpPr>
          <p:spPr>
            <a:xfrm>
              <a:off x="3159661" y="1908492"/>
              <a:ext cx="118872" cy="11887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a:t>3</a:t>
              </a:r>
              <a:endParaRPr lang="en-US" sz="1050" b="1"/>
            </a:p>
          </p:txBody>
        </p:sp>
      </p:grpSp>
      <p:sp>
        <p:nvSpPr>
          <p:cNvPr id="81" name="Rectangle 4">
            <a:extLst>
              <a:ext uri="{FF2B5EF4-FFF2-40B4-BE49-F238E27FC236}">
                <a16:creationId xmlns:a16="http://schemas.microsoft.com/office/drawing/2014/main" id="{9CD15560-A19F-C39F-3ECE-1C71EF221673}"/>
              </a:ext>
            </a:extLst>
          </p:cNvPr>
          <p:cNvSpPr/>
          <p:nvPr/>
        </p:nvSpPr>
        <p:spPr>
          <a:xfrm>
            <a:off x="3046052" y="2188690"/>
            <a:ext cx="3297599" cy="5203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96000" rIns="144000" bIns="0" numCol="1" spcCol="0" rtlCol="0" fromWordArt="0" anchor="t" anchorCtr="0" forceAA="0" compatLnSpc="1">
            <a:prstTxWarp prst="textNoShape">
              <a:avLst/>
            </a:prstTxWarp>
            <a:noAutofit/>
          </a:bodyPr>
          <a:lstStyle/>
          <a:p>
            <a:pPr defTabSz="914256">
              <a:spcAft>
                <a:spcPts val="1200"/>
              </a:spcAft>
            </a:pPr>
            <a:r>
              <a:rPr lang="en-US" sz="900" b="1">
                <a:solidFill>
                  <a:prstClr val="black"/>
                </a:solidFill>
                <a:cs typeface="Arial" pitchFamily="34" charset="0"/>
              </a:rPr>
              <a:t>To understand the TA needs of banks to effectively focus capacity building</a:t>
            </a:r>
          </a:p>
          <a:p>
            <a:pPr defTabSz="914256">
              <a:spcAft>
                <a:spcPts val="1200"/>
              </a:spcAft>
            </a:pPr>
            <a:endParaRPr lang="en-US" sz="900" b="1">
              <a:solidFill>
                <a:prstClr val="black"/>
              </a:solidFill>
              <a:cs typeface="Arial" pitchFamily="34" charset="0"/>
            </a:endParaRPr>
          </a:p>
          <a:p>
            <a:pPr defTabSz="914256">
              <a:spcAft>
                <a:spcPts val="1200"/>
              </a:spcAft>
            </a:pPr>
            <a:endParaRPr lang="en-US" sz="900" b="1">
              <a:solidFill>
                <a:prstClr val="black"/>
              </a:solidFill>
              <a:cs typeface="Arial" pitchFamily="34" charset="0"/>
            </a:endParaRPr>
          </a:p>
        </p:txBody>
      </p:sp>
      <p:grpSp>
        <p:nvGrpSpPr>
          <p:cNvPr id="82" name="Group 81">
            <a:extLst>
              <a:ext uri="{FF2B5EF4-FFF2-40B4-BE49-F238E27FC236}">
                <a16:creationId xmlns:a16="http://schemas.microsoft.com/office/drawing/2014/main" id="{47F5AE37-4D07-FB77-35B0-EDF4C1CCED72}"/>
              </a:ext>
            </a:extLst>
          </p:cNvPr>
          <p:cNvGrpSpPr/>
          <p:nvPr/>
        </p:nvGrpSpPr>
        <p:grpSpPr>
          <a:xfrm>
            <a:off x="3204915" y="2637903"/>
            <a:ext cx="3090121" cy="137160"/>
            <a:chOff x="3441675" y="2702071"/>
            <a:chExt cx="3090121" cy="137160"/>
          </a:xfrm>
        </p:grpSpPr>
        <p:sp>
          <p:nvSpPr>
            <p:cNvPr id="83" name="TextBox 61">
              <a:extLst>
                <a:ext uri="{FF2B5EF4-FFF2-40B4-BE49-F238E27FC236}">
                  <a16:creationId xmlns:a16="http://schemas.microsoft.com/office/drawing/2014/main" id="{9D5BCB2D-E0D0-6F35-E72E-5F5486C42F99}"/>
                </a:ext>
              </a:extLst>
            </p:cNvPr>
            <p:cNvSpPr txBox="1"/>
            <p:nvPr/>
          </p:nvSpPr>
          <p:spPr>
            <a:xfrm>
              <a:off x="3505978" y="2702071"/>
              <a:ext cx="3025818" cy="137160"/>
            </a:xfrm>
            <a:prstGeom prst="roundRect">
              <a:avLst/>
            </a:prstGeom>
            <a:solidFill>
              <a:schemeClr val="accent2">
                <a:lumMod val="20000"/>
                <a:lumOff val="80000"/>
              </a:schemeClr>
            </a:solidFill>
            <a:ln>
              <a:noFill/>
            </a:ln>
          </p:spPr>
          <p:txBody>
            <a:bodyPr wrap="square" lIns="45720" rIns="45720" rtlCol="0" anchor="ctr">
              <a:noAutofit/>
            </a:bodyPr>
            <a:lstStyle>
              <a:defPPr>
                <a:defRPr lang="en-US"/>
              </a:defPPr>
              <a:lvl1pPr algn="ctr" defTabSz="342900">
                <a:defRPr sz="1000" kern="0">
                  <a:solidFill>
                    <a:srgbClr val="1E4B3C"/>
                  </a:solidFill>
                  <a:latin typeface="+mj-lt"/>
                </a:defRPr>
              </a:lvl1pPr>
            </a:lstStyle>
            <a:p>
              <a:r>
                <a:rPr lang="en-US" sz="900" b="1"/>
                <a:t>Bank diagnostic</a:t>
              </a:r>
              <a:endParaRPr lang="en-KE" sz="900" b="1"/>
            </a:p>
          </p:txBody>
        </p:sp>
        <p:sp>
          <p:nvSpPr>
            <p:cNvPr id="84" name="Oval 23">
              <a:extLst>
                <a:ext uri="{FF2B5EF4-FFF2-40B4-BE49-F238E27FC236}">
                  <a16:creationId xmlns:a16="http://schemas.microsoft.com/office/drawing/2014/main" id="{644EBEE2-A6F5-994E-8973-5F5BBBB72314}"/>
                </a:ext>
              </a:extLst>
            </p:cNvPr>
            <p:cNvSpPr/>
            <p:nvPr/>
          </p:nvSpPr>
          <p:spPr>
            <a:xfrm>
              <a:off x="3441675" y="2711215"/>
              <a:ext cx="118872" cy="11887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a:t>5</a:t>
              </a:r>
              <a:endParaRPr lang="en-US" sz="1050" b="1"/>
            </a:p>
          </p:txBody>
        </p:sp>
      </p:grpSp>
      <p:grpSp>
        <p:nvGrpSpPr>
          <p:cNvPr id="85" name="Group 84">
            <a:extLst>
              <a:ext uri="{FF2B5EF4-FFF2-40B4-BE49-F238E27FC236}">
                <a16:creationId xmlns:a16="http://schemas.microsoft.com/office/drawing/2014/main" id="{C5216389-3360-1484-65E9-A1B10F0C8472}"/>
              </a:ext>
            </a:extLst>
          </p:cNvPr>
          <p:cNvGrpSpPr/>
          <p:nvPr/>
        </p:nvGrpSpPr>
        <p:grpSpPr>
          <a:xfrm>
            <a:off x="3213581" y="2876259"/>
            <a:ext cx="3072789" cy="137160"/>
            <a:chOff x="3441675" y="2972187"/>
            <a:chExt cx="3072789" cy="137160"/>
          </a:xfrm>
        </p:grpSpPr>
        <p:sp>
          <p:nvSpPr>
            <p:cNvPr id="86" name="TextBox 62">
              <a:extLst>
                <a:ext uri="{FF2B5EF4-FFF2-40B4-BE49-F238E27FC236}">
                  <a16:creationId xmlns:a16="http://schemas.microsoft.com/office/drawing/2014/main" id="{A54324E4-9D24-5293-D858-121F0BCDA816}"/>
                </a:ext>
              </a:extLst>
            </p:cNvPr>
            <p:cNvSpPr txBox="1"/>
            <p:nvPr/>
          </p:nvSpPr>
          <p:spPr>
            <a:xfrm>
              <a:off x="3499891" y="2972187"/>
              <a:ext cx="3014573" cy="137160"/>
            </a:xfrm>
            <a:prstGeom prst="roundRect">
              <a:avLst/>
            </a:prstGeom>
            <a:solidFill>
              <a:schemeClr val="accent1">
                <a:lumMod val="20000"/>
                <a:lumOff val="80000"/>
              </a:schemeClr>
            </a:solidFill>
            <a:ln>
              <a:noFill/>
            </a:ln>
          </p:spPr>
          <p:txBody>
            <a:bodyPr wrap="square" lIns="45720" rIns="45720" rtlCol="0" anchor="ctr">
              <a:noAutofit/>
            </a:bodyPr>
            <a:lstStyle>
              <a:defPPr>
                <a:defRPr lang="en-US"/>
              </a:defPPr>
              <a:lvl1pPr algn="ctr" defTabSz="342900">
                <a:defRPr sz="1000" kern="0">
                  <a:solidFill>
                    <a:srgbClr val="1E4B3C"/>
                  </a:solidFill>
                  <a:latin typeface="+mj-lt"/>
                </a:defRPr>
              </a:lvl1pPr>
            </a:lstStyle>
            <a:p>
              <a:r>
                <a:rPr lang="en-US" sz="900" b="1"/>
                <a:t>Segmentation tool*</a:t>
              </a:r>
              <a:endParaRPr lang="en-KE" sz="900" b="1"/>
            </a:p>
          </p:txBody>
        </p:sp>
        <p:sp>
          <p:nvSpPr>
            <p:cNvPr id="87" name="Oval 25">
              <a:extLst>
                <a:ext uri="{FF2B5EF4-FFF2-40B4-BE49-F238E27FC236}">
                  <a16:creationId xmlns:a16="http://schemas.microsoft.com/office/drawing/2014/main" id="{A6ECD032-14C3-24CD-9F12-63F4255E1DCE}"/>
                </a:ext>
              </a:extLst>
            </p:cNvPr>
            <p:cNvSpPr/>
            <p:nvPr/>
          </p:nvSpPr>
          <p:spPr>
            <a:xfrm>
              <a:off x="3441675" y="2981331"/>
              <a:ext cx="118872" cy="11887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a:t>6</a:t>
              </a:r>
              <a:endParaRPr lang="en-US" sz="1050" b="1"/>
            </a:p>
          </p:txBody>
        </p:sp>
      </p:grpSp>
      <p:sp>
        <p:nvSpPr>
          <p:cNvPr id="88" name="Rectangle 4">
            <a:extLst>
              <a:ext uri="{FF2B5EF4-FFF2-40B4-BE49-F238E27FC236}">
                <a16:creationId xmlns:a16="http://schemas.microsoft.com/office/drawing/2014/main" id="{9CBA303F-807F-3AA2-B5CB-F714B5257407}"/>
              </a:ext>
            </a:extLst>
          </p:cNvPr>
          <p:cNvSpPr/>
          <p:nvPr/>
        </p:nvSpPr>
        <p:spPr>
          <a:xfrm>
            <a:off x="4831947" y="3758180"/>
            <a:ext cx="3610457" cy="23637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96000" rIns="144000" bIns="0" numCol="1" spcCol="0" rtlCol="0" fromWordArt="0" anchor="t" anchorCtr="0" forceAA="0" compatLnSpc="1">
            <a:prstTxWarp prst="textNoShape">
              <a:avLst/>
            </a:prstTxWarp>
            <a:noAutofit/>
          </a:bodyPr>
          <a:lstStyle/>
          <a:p>
            <a:pPr defTabSz="914256">
              <a:spcAft>
                <a:spcPts val="1200"/>
              </a:spcAft>
            </a:pPr>
            <a:r>
              <a:rPr lang="en-US" sz="1000" b="1">
                <a:solidFill>
                  <a:prstClr val="black"/>
                </a:solidFill>
                <a:cs typeface="Arial" pitchFamily="34" charset="0"/>
              </a:rPr>
              <a:t>To effectively track and communicate impact of programs</a:t>
            </a:r>
          </a:p>
        </p:txBody>
      </p:sp>
      <p:sp>
        <p:nvSpPr>
          <p:cNvPr id="89" name="TextBox 31">
            <a:extLst>
              <a:ext uri="{FF2B5EF4-FFF2-40B4-BE49-F238E27FC236}">
                <a16:creationId xmlns:a16="http://schemas.microsoft.com/office/drawing/2014/main" id="{DE989024-46A7-CB81-D233-FEB159992598}"/>
              </a:ext>
            </a:extLst>
          </p:cNvPr>
          <p:cNvSpPr txBox="1"/>
          <p:nvPr/>
        </p:nvSpPr>
        <p:spPr>
          <a:xfrm>
            <a:off x="5189911" y="4235383"/>
            <a:ext cx="3102601" cy="137161"/>
          </a:xfrm>
          <a:prstGeom prst="roundRect">
            <a:avLst/>
          </a:prstGeom>
          <a:solidFill>
            <a:schemeClr val="accent2">
              <a:lumMod val="20000"/>
              <a:lumOff val="80000"/>
            </a:schemeClr>
          </a:solidFill>
          <a:ln>
            <a:noFill/>
          </a:ln>
        </p:spPr>
        <p:txBody>
          <a:bodyPr wrap="square" lIns="45720" rIns="45720" rtlCol="0" anchor="ctr">
            <a:noAutofit/>
          </a:bodyPr>
          <a:lstStyle/>
          <a:p>
            <a:pPr algn="ctr" defTabSz="342900">
              <a:defRPr/>
            </a:pPr>
            <a:r>
              <a:rPr lang="en-US" sz="900" b="1" kern="0">
                <a:solidFill>
                  <a:srgbClr val="1E4B3C"/>
                </a:solidFill>
                <a:latin typeface="+mj-lt"/>
              </a:rPr>
              <a:t>Case study template*</a:t>
            </a:r>
          </a:p>
        </p:txBody>
      </p:sp>
      <p:pic>
        <p:nvPicPr>
          <p:cNvPr id="90" name="Gráfico 8">
            <a:extLst>
              <a:ext uri="{FF2B5EF4-FFF2-40B4-BE49-F238E27FC236}">
                <a16:creationId xmlns:a16="http://schemas.microsoft.com/office/drawing/2014/main" id="{BAB5EA86-8ECD-8040-C73B-92A4DE574CA2}"/>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2719296" y="2268076"/>
            <a:ext cx="379803" cy="379803"/>
          </a:xfrm>
          <a:prstGeom prst="rect">
            <a:avLst/>
          </a:prstGeom>
        </p:spPr>
      </p:pic>
      <p:pic>
        <p:nvPicPr>
          <p:cNvPr id="91" name="Gráfico 10">
            <a:extLst>
              <a:ext uri="{FF2B5EF4-FFF2-40B4-BE49-F238E27FC236}">
                <a16:creationId xmlns:a16="http://schemas.microsoft.com/office/drawing/2014/main" id="{284BFE68-1F0F-1EE3-A89F-D94984607FE3}"/>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4495290" y="3871714"/>
            <a:ext cx="440034" cy="440034"/>
          </a:xfrm>
          <a:prstGeom prst="rect">
            <a:avLst/>
          </a:prstGeom>
        </p:spPr>
      </p:pic>
      <p:sp>
        <p:nvSpPr>
          <p:cNvPr id="92" name="CuadroTexto 17">
            <a:extLst>
              <a:ext uri="{FF2B5EF4-FFF2-40B4-BE49-F238E27FC236}">
                <a16:creationId xmlns:a16="http://schemas.microsoft.com/office/drawing/2014/main" id="{8442E871-28D0-0D7B-72BF-C49D8912FD83}"/>
              </a:ext>
            </a:extLst>
          </p:cNvPr>
          <p:cNvSpPr txBox="1"/>
          <p:nvPr/>
        </p:nvSpPr>
        <p:spPr>
          <a:xfrm>
            <a:off x="4411094" y="4468819"/>
            <a:ext cx="4081705" cy="184666"/>
          </a:xfrm>
          <a:prstGeom prst="rect">
            <a:avLst/>
          </a:prstGeom>
          <a:noFill/>
        </p:spPr>
        <p:txBody>
          <a:bodyPr wrap="square">
            <a:spAutoFit/>
          </a:bodyPr>
          <a:lstStyle/>
          <a:p>
            <a:r>
              <a:rPr lang="en-US" sz="600" b="1">
                <a:solidFill>
                  <a:schemeClr val="accent4">
                    <a:lumMod val="75000"/>
                  </a:schemeClr>
                </a:solidFill>
              </a:rPr>
              <a:t>*Note: the case study template can also be leveraged to gain strategic alignment and advocate for program funding.</a:t>
            </a:r>
          </a:p>
        </p:txBody>
      </p:sp>
      <p:grpSp>
        <p:nvGrpSpPr>
          <p:cNvPr id="94" name="Group 93">
            <a:extLst>
              <a:ext uri="{FF2B5EF4-FFF2-40B4-BE49-F238E27FC236}">
                <a16:creationId xmlns:a16="http://schemas.microsoft.com/office/drawing/2014/main" id="{1E3DB329-D9E9-577F-6C97-B834B44777AC}"/>
              </a:ext>
            </a:extLst>
          </p:cNvPr>
          <p:cNvGrpSpPr/>
          <p:nvPr/>
        </p:nvGrpSpPr>
        <p:grpSpPr>
          <a:xfrm>
            <a:off x="3212844" y="3349903"/>
            <a:ext cx="3074262" cy="137160"/>
            <a:chOff x="3441675" y="3253651"/>
            <a:chExt cx="3074262" cy="137160"/>
          </a:xfrm>
        </p:grpSpPr>
        <p:sp>
          <p:nvSpPr>
            <p:cNvPr id="95" name="TextBox 64">
              <a:extLst>
                <a:ext uri="{FF2B5EF4-FFF2-40B4-BE49-F238E27FC236}">
                  <a16:creationId xmlns:a16="http://schemas.microsoft.com/office/drawing/2014/main" id="{2C570CE8-B759-1055-0F26-45D2B430D1E1}"/>
                </a:ext>
              </a:extLst>
            </p:cNvPr>
            <p:cNvSpPr txBox="1"/>
            <p:nvPr/>
          </p:nvSpPr>
          <p:spPr>
            <a:xfrm>
              <a:off x="3498417" y="3253651"/>
              <a:ext cx="3017520" cy="137160"/>
            </a:xfrm>
            <a:prstGeom prst="roundRect">
              <a:avLst/>
            </a:prstGeom>
            <a:solidFill>
              <a:schemeClr val="accent2">
                <a:lumMod val="20000"/>
                <a:lumOff val="80000"/>
              </a:schemeClr>
            </a:solidFill>
            <a:ln>
              <a:noFill/>
            </a:ln>
          </p:spPr>
          <p:txBody>
            <a:bodyPr wrap="square" lIns="45720" rIns="45720" rtlCol="0" anchor="ctr">
              <a:noAutofit/>
            </a:bodyPr>
            <a:lstStyle/>
            <a:p>
              <a:pPr algn="ctr" defTabSz="342900">
                <a:defRPr/>
              </a:pPr>
              <a:r>
                <a:rPr lang="en-US" sz="900" b="1" kern="0">
                  <a:solidFill>
                    <a:srgbClr val="1E4B3C"/>
                  </a:solidFill>
                  <a:latin typeface="+mj-lt"/>
                </a:rPr>
                <a:t>Credit risk management primer</a:t>
              </a:r>
              <a:endParaRPr lang="en-KE" sz="900" b="1" kern="0">
                <a:solidFill>
                  <a:srgbClr val="1E4B3C"/>
                </a:solidFill>
                <a:latin typeface="+mj-lt"/>
              </a:endParaRPr>
            </a:p>
          </p:txBody>
        </p:sp>
        <p:sp>
          <p:nvSpPr>
            <p:cNvPr id="96" name="Oval 27">
              <a:extLst>
                <a:ext uri="{FF2B5EF4-FFF2-40B4-BE49-F238E27FC236}">
                  <a16:creationId xmlns:a16="http://schemas.microsoft.com/office/drawing/2014/main" id="{0E2FC2E6-0FAB-377A-411A-F464788097E6}"/>
                </a:ext>
              </a:extLst>
            </p:cNvPr>
            <p:cNvSpPr/>
            <p:nvPr/>
          </p:nvSpPr>
          <p:spPr>
            <a:xfrm>
              <a:off x="3441675" y="3262795"/>
              <a:ext cx="118872" cy="11887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a:t>8</a:t>
              </a:r>
              <a:endParaRPr lang="en-US" sz="1050" b="1"/>
            </a:p>
          </p:txBody>
        </p:sp>
      </p:grpSp>
      <p:cxnSp>
        <p:nvCxnSpPr>
          <p:cNvPr id="97" name="Straight Arrow Connector 96">
            <a:extLst>
              <a:ext uri="{FF2B5EF4-FFF2-40B4-BE49-F238E27FC236}">
                <a16:creationId xmlns:a16="http://schemas.microsoft.com/office/drawing/2014/main" id="{594E107E-EF54-BB9B-9063-DD89868461A9}"/>
              </a:ext>
            </a:extLst>
          </p:cNvPr>
          <p:cNvCxnSpPr>
            <a:cxnSpLocks/>
          </p:cNvCxnSpPr>
          <p:nvPr/>
        </p:nvCxnSpPr>
        <p:spPr>
          <a:xfrm>
            <a:off x="367795" y="1144410"/>
            <a:ext cx="6488" cy="3362006"/>
          </a:xfrm>
          <a:prstGeom prst="straightConnector1">
            <a:avLst/>
          </a:prstGeom>
          <a:ln w="76200">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0187142F-FD02-300A-6F4E-A4374023BEDA}"/>
              </a:ext>
            </a:extLst>
          </p:cNvPr>
          <p:cNvGrpSpPr/>
          <p:nvPr/>
        </p:nvGrpSpPr>
        <p:grpSpPr>
          <a:xfrm>
            <a:off x="3229716" y="2028798"/>
            <a:ext cx="1054329" cy="137160"/>
            <a:chOff x="4568043" y="1883851"/>
            <a:chExt cx="1054329" cy="137160"/>
          </a:xfrm>
        </p:grpSpPr>
        <p:sp>
          <p:nvSpPr>
            <p:cNvPr id="99" name="TextBox 24">
              <a:extLst>
                <a:ext uri="{FF2B5EF4-FFF2-40B4-BE49-F238E27FC236}">
                  <a16:creationId xmlns:a16="http://schemas.microsoft.com/office/drawing/2014/main" id="{7CA3848C-AC45-C1DB-00B6-8D1A90CC5EE3}"/>
                </a:ext>
              </a:extLst>
            </p:cNvPr>
            <p:cNvSpPr txBox="1"/>
            <p:nvPr/>
          </p:nvSpPr>
          <p:spPr>
            <a:xfrm>
              <a:off x="4643552" y="1883851"/>
              <a:ext cx="978820" cy="137160"/>
            </a:xfrm>
            <a:prstGeom prst="roundRect">
              <a:avLst/>
            </a:prstGeom>
            <a:solidFill>
              <a:schemeClr val="accent1">
                <a:lumMod val="20000"/>
                <a:lumOff val="80000"/>
              </a:schemeClr>
            </a:solidFill>
            <a:ln>
              <a:noFill/>
            </a:ln>
          </p:spPr>
          <p:txBody>
            <a:bodyPr wrap="square" lIns="45720" rIns="45720" rtlCol="0" anchor="ctr">
              <a:noAutofit/>
            </a:bodyPr>
            <a:lstStyle/>
            <a:p>
              <a:pPr algn="ctr" defTabSz="342900">
                <a:defRPr/>
              </a:pPr>
              <a:r>
                <a:rPr lang="en-US" sz="900" b="1" kern="0">
                  <a:solidFill>
                    <a:srgbClr val="1E4B3C"/>
                  </a:solidFill>
                  <a:latin typeface="+mj-lt"/>
                </a:rPr>
                <a:t>Business case</a:t>
              </a:r>
              <a:endParaRPr lang="en-KE" sz="900" b="1" kern="0">
                <a:solidFill>
                  <a:srgbClr val="1E4B3C"/>
                </a:solidFill>
                <a:latin typeface="+mj-lt"/>
              </a:endParaRPr>
            </a:p>
          </p:txBody>
        </p:sp>
        <p:sp>
          <p:nvSpPr>
            <p:cNvPr id="100" name="Oval 17">
              <a:extLst>
                <a:ext uri="{FF2B5EF4-FFF2-40B4-BE49-F238E27FC236}">
                  <a16:creationId xmlns:a16="http://schemas.microsoft.com/office/drawing/2014/main" id="{A96BDA67-697A-0D0C-41D6-2BC9A3427C2B}"/>
                </a:ext>
              </a:extLst>
            </p:cNvPr>
            <p:cNvSpPr/>
            <p:nvPr/>
          </p:nvSpPr>
          <p:spPr>
            <a:xfrm>
              <a:off x="4568043" y="1892995"/>
              <a:ext cx="118872" cy="11887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a:t>4</a:t>
              </a:r>
              <a:endParaRPr lang="en-US" sz="1050" b="1"/>
            </a:p>
          </p:txBody>
        </p:sp>
      </p:grpSp>
      <p:grpSp>
        <p:nvGrpSpPr>
          <p:cNvPr id="101" name="Group 100">
            <a:extLst>
              <a:ext uri="{FF2B5EF4-FFF2-40B4-BE49-F238E27FC236}">
                <a16:creationId xmlns:a16="http://schemas.microsoft.com/office/drawing/2014/main" id="{D0A858A8-5951-FEA1-25C5-937E19B8CDB2}"/>
              </a:ext>
            </a:extLst>
          </p:cNvPr>
          <p:cNvGrpSpPr/>
          <p:nvPr/>
        </p:nvGrpSpPr>
        <p:grpSpPr>
          <a:xfrm>
            <a:off x="3209817" y="3114615"/>
            <a:ext cx="3080317" cy="134093"/>
            <a:chOff x="6386679" y="2975685"/>
            <a:chExt cx="3080317" cy="134093"/>
          </a:xfrm>
        </p:grpSpPr>
        <p:sp>
          <p:nvSpPr>
            <p:cNvPr id="102" name="TextBox 60">
              <a:extLst>
                <a:ext uri="{FF2B5EF4-FFF2-40B4-BE49-F238E27FC236}">
                  <a16:creationId xmlns:a16="http://schemas.microsoft.com/office/drawing/2014/main" id="{4E70C0D5-B9E4-F79C-B5B7-7B299F99D774}"/>
                </a:ext>
              </a:extLst>
            </p:cNvPr>
            <p:cNvSpPr txBox="1"/>
            <p:nvPr/>
          </p:nvSpPr>
          <p:spPr>
            <a:xfrm>
              <a:off x="6449476" y="2975685"/>
              <a:ext cx="3017520" cy="134093"/>
            </a:xfrm>
            <a:prstGeom prst="roundRect">
              <a:avLst/>
            </a:prstGeom>
            <a:solidFill>
              <a:schemeClr val="accent1">
                <a:lumMod val="20000"/>
                <a:lumOff val="80000"/>
              </a:schemeClr>
            </a:solidFill>
            <a:ln>
              <a:noFill/>
            </a:ln>
          </p:spPr>
          <p:txBody>
            <a:bodyPr wrap="square" lIns="45720" rIns="45720" rtlCol="0" anchor="ctr">
              <a:noAutofit/>
            </a:bodyPr>
            <a:lstStyle/>
            <a:p>
              <a:pPr algn="ctr" defTabSz="342900">
                <a:defRPr/>
              </a:pPr>
              <a:r>
                <a:rPr lang="en-US" sz="900" b="1" kern="0">
                  <a:solidFill>
                    <a:srgbClr val="1E4B3C"/>
                  </a:solidFill>
                  <a:latin typeface="+mj-lt"/>
                </a:rPr>
                <a:t>Enterprise needs assessment</a:t>
              </a:r>
              <a:endParaRPr lang="en-KE" sz="900" b="1" kern="0">
                <a:solidFill>
                  <a:srgbClr val="1E4B3C"/>
                </a:solidFill>
                <a:latin typeface="+mj-lt"/>
              </a:endParaRPr>
            </a:p>
          </p:txBody>
        </p:sp>
        <p:sp>
          <p:nvSpPr>
            <p:cNvPr id="103" name="Oval 26">
              <a:extLst>
                <a:ext uri="{FF2B5EF4-FFF2-40B4-BE49-F238E27FC236}">
                  <a16:creationId xmlns:a16="http://schemas.microsoft.com/office/drawing/2014/main" id="{B331E474-C804-99FE-D29F-260BBDB1EBF0}"/>
                </a:ext>
              </a:extLst>
            </p:cNvPr>
            <p:cNvSpPr/>
            <p:nvPr/>
          </p:nvSpPr>
          <p:spPr>
            <a:xfrm>
              <a:off x="6386679" y="2984829"/>
              <a:ext cx="118872" cy="11887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a:t>7</a:t>
              </a:r>
              <a:endParaRPr lang="en-US" sz="1050" b="1"/>
            </a:p>
          </p:txBody>
        </p:sp>
      </p:grpSp>
      <p:grpSp>
        <p:nvGrpSpPr>
          <p:cNvPr id="104" name="Group 103">
            <a:extLst>
              <a:ext uri="{FF2B5EF4-FFF2-40B4-BE49-F238E27FC236}">
                <a16:creationId xmlns:a16="http://schemas.microsoft.com/office/drawing/2014/main" id="{F97A2995-544E-A597-2B2F-A0DBF6F4A023}"/>
              </a:ext>
            </a:extLst>
          </p:cNvPr>
          <p:cNvGrpSpPr/>
          <p:nvPr/>
        </p:nvGrpSpPr>
        <p:grpSpPr>
          <a:xfrm>
            <a:off x="5117603" y="4044590"/>
            <a:ext cx="3174909" cy="137160"/>
            <a:chOff x="6175019" y="5331926"/>
            <a:chExt cx="3174909" cy="137160"/>
          </a:xfrm>
        </p:grpSpPr>
        <p:sp>
          <p:nvSpPr>
            <p:cNvPr id="105" name="TextBox 31">
              <a:extLst>
                <a:ext uri="{FF2B5EF4-FFF2-40B4-BE49-F238E27FC236}">
                  <a16:creationId xmlns:a16="http://schemas.microsoft.com/office/drawing/2014/main" id="{0A2D2D4A-A95B-0BE9-5665-A59790BF0F2B}"/>
                </a:ext>
              </a:extLst>
            </p:cNvPr>
            <p:cNvSpPr txBox="1"/>
            <p:nvPr/>
          </p:nvSpPr>
          <p:spPr>
            <a:xfrm>
              <a:off x="6247327" y="5331926"/>
              <a:ext cx="3102601" cy="137160"/>
            </a:xfrm>
            <a:prstGeom prst="roundRect">
              <a:avLst/>
            </a:prstGeom>
            <a:solidFill>
              <a:schemeClr val="accent1">
                <a:lumMod val="20000"/>
                <a:lumOff val="80000"/>
              </a:schemeClr>
            </a:solidFill>
            <a:ln>
              <a:noFill/>
            </a:ln>
          </p:spPr>
          <p:txBody>
            <a:bodyPr wrap="square" lIns="45720" rIns="45720" rtlCol="0" anchor="ctr">
              <a:noAutofit/>
            </a:bodyPr>
            <a:lstStyle/>
            <a:p>
              <a:pPr algn="ctr" defTabSz="342900">
                <a:defRPr/>
              </a:pPr>
              <a:r>
                <a:rPr lang="en-US" sz="900" b="1" kern="0">
                  <a:solidFill>
                    <a:srgbClr val="1E4B3C"/>
                  </a:solidFill>
                  <a:latin typeface="+mj-lt"/>
                </a:rPr>
                <a:t>Bank performance dashboard</a:t>
              </a:r>
              <a:endParaRPr lang="en-KE" sz="900" b="1" kern="0">
                <a:solidFill>
                  <a:srgbClr val="1E4B3C"/>
                </a:solidFill>
                <a:latin typeface="+mj-lt"/>
              </a:endParaRPr>
            </a:p>
          </p:txBody>
        </p:sp>
        <p:sp>
          <p:nvSpPr>
            <p:cNvPr id="106" name="Oval 33">
              <a:extLst>
                <a:ext uri="{FF2B5EF4-FFF2-40B4-BE49-F238E27FC236}">
                  <a16:creationId xmlns:a16="http://schemas.microsoft.com/office/drawing/2014/main" id="{A4D26CC7-F6E3-CF7B-12A3-D38E563006D9}"/>
                </a:ext>
              </a:extLst>
            </p:cNvPr>
            <p:cNvSpPr/>
            <p:nvPr/>
          </p:nvSpPr>
          <p:spPr>
            <a:xfrm>
              <a:off x="6175019" y="5341070"/>
              <a:ext cx="118872" cy="11887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a:t>9</a:t>
              </a:r>
              <a:endParaRPr lang="en-US" sz="1050" b="1"/>
            </a:p>
          </p:txBody>
        </p:sp>
      </p:grpSp>
      <p:sp>
        <p:nvSpPr>
          <p:cNvPr id="107" name="Oval 33">
            <a:extLst>
              <a:ext uri="{FF2B5EF4-FFF2-40B4-BE49-F238E27FC236}">
                <a16:creationId xmlns:a16="http://schemas.microsoft.com/office/drawing/2014/main" id="{73003818-4AEE-63C7-A089-8CE8A53FD405}"/>
              </a:ext>
            </a:extLst>
          </p:cNvPr>
          <p:cNvSpPr/>
          <p:nvPr/>
        </p:nvSpPr>
        <p:spPr>
          <a:xfrm>
            <a:off x="5117603" y="4235383"/>
            <a:ext cx="137160" cy="13716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b="1"/>
          </a:p>
        </p:txBody>
      </p:sp>
      <p:sp>
        <p:nvSpPr>
          <p:cNvPr id="108" name="Rectangle 107">
            <a:extLst>
              <a:ext uri="{FF2B5EF4-FFF2-40B4-BE49-F238E27FC236}">
                <a16:creationId xmlns:a16="http://schemas.microsoft.com/office/drawing/2014/main" id="{826ECE24-E63E-21C9-A7BB-1E4F7A94A665}"/>
              </a:ext>
            </a:extLst>
          </p:cNvPr>
          <p:cNvSpPr/>
          <p:nvPr/>
        </p:nvSpPr>
        <p:spPr>
          <a:xfrm>
            <a:off x="4945024" y="4235090"/>
            <a:ext cx="482318" cy="145017"/>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700" b="1"/>
              <a:t>10</a:t>
            </a:r>
          </a:p>
        </p:txBody>
      </p:sp>
      <p:grpSp>
        <p:nvGrpSpPr>
          <p:cNvPr id="109" name="Group 108">
            <a:extLst>
              <a:ext uri="{FF2B5EF4-FFF2-40B4-BE49-F238E27FC236}">
                <a16:creationId xmlns:a16="http://schemas.microsoft.com/office/drawing/2014/main" id="{0DA4C70D-06CC-BB9D-B1A8-C6DAB5B9C6A7}"/>
              </a:ext>
            </a:extLst>
          </p:cNvPr>
          <p:cNvGrpSpPr/>
          <p:nvPr/>
        </p:nvGrpSpPr>
        <p:grpSpPr>
          <a:xfrm>
            <a:off x="5520451" y="1235532"/>
            <a:ext cx="2747235" cy="305886"/>
            <a:chOff x="547481" y="4729136"/>
            <a:chExt cx="2747235" cy="305886"/>
          </a:xfrm>
        </p:grpSpPr>
        <p:grpSp>
          <p:nvGrpSpPr>
            <p:cNvPr id="110" name="Group 109">
              <a:extLst>
                <a:ext uri="{FF2B5EF4-FFF2-40B4-BE49-F238E27FC236}">
                  <a16:creationId xmlns:a16="http://schemas.microsoft.com/office/drawing/2014/main" id="{9A3F379F-354B-4DBC-AC30-D3C6E77B9C34}"/>
                </a:ext>
              </a:extLst>
            </p:cNvPr>
            <p:cNvGrpSpPr/>
            <p:nvPr/>
          </p:nvGrpSpPr>
          <p:grpSpPr>
            <a:xfrm>
              <a:off x="639242" y="4805094"/>
              <a:ext cx="2560768" cy="155087"/>
              <a:chOff x="602477" y="4805651"/>
              <a:chExt cx="2560768" cy="155087"/>
            </a:xfrm>
          </p:grpSpPr>
          <p:sp>
            <p:nvSpPr>
              <p:cNvPr id="112" name="Rectangle 111">
                <a:extLst>
                  <a:ext uri="{FF2B5EF4-FFF2-40B4-BE49-F238E27FC236}">
                    <a16:creationId xmlns:a16="http://schemas.microsoft.com/office/drawing/2014/main" id="{DC72F474-7A7E-DC43-67C0-42D935F7E537}"/>
                  </a:ext>
                </a:extLst>
              </p:cNvPr>
              <p:cNvSpPr/>
              <p:nvPr/>
            </p:nvSpPr>
            <p:spPr>
              <a:xfrm>
                <a:off x="602477" y="4805651"/>
                <a:ext cx="1250607" cy="155087"/>
              </a:xfrm>
              <a:prstGeom prst="rect">
                <a:avLst/>
              </a:prstGeom>
              <a:solidFill>
                <a:schemeClr val="accent2">
                  <a:lumMod val="20000"/>
                  <a:lumOff val="80000"/>
                </a:schemeClr>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b="1">
                    <a:solidFill>
                      <a:schemeClr val="accent1"/>
                    </a:solidFill>
                    <a:latin typeface="+mj-lt"/>
                  </a:rPr>
                  <a:t>Tools for TA funders</a:t>
                </a:r>
              </a:p>
            </p:txBody>
          </p:sp>
          <p:sp>
            <p:nvSpPr>
              <p:cNvPr id="113" name="Rectangle 112">
                <a:extLst>
                  <a:ext uri="{FF2B5EF4-FFF2-40B4-BE49-F238E27FC236}">
                    <a16:creationId xmlns:a16="http://schemas.microsoft.com/office/drawing/2014/main" id="{5C9F3D97-FCC3-E701-E3DD-9A0FD1286210}"/>
                  </a:ext>
                </a:extLst>
              </p:cNvPr>
              <p:cNvSpPr/>
              <p:nvPr/>
            </p:nvSpPr>
            <p:spPr>
              <a:xfrm>
                <a:off x="1912638" y="4805651"/>
                <a:ext cx="1250607" cy="155087"/>
              </a:xfrm>
              <a:prstGeom prst="rect">
                <a:avLst/>
              </a:prstGeom>
              <a:solidFill>
                <a:schemeClr val="accent1">
                  <a:lumMod val="20000"/>
                  <a:lumOff val="80000"/>
                </a:schemeClr>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b="1">
                    <a:solidFill>
                      <a:schemeClr val="accent1"/>
                    </a:solidFill>
                    <a:latin typeface="+mj-lt"/>
                  </a:rPr>
                  <a:t>Tools for banks</a:t>
                </a:r>
              </a:p>
            </p:txBody>
          </p:sp>
        </p:grpSp>
        <p:sp>
          <p:nvSpPr>
            <p:cNvPr id="111" name="Rectangle 110">
              <a:extLst>
                <a:ext uri="{FF2B5EF4-FFF2-40B4-BE49-F238E27FC236}">
                  <a16:creationId xmlns:a16="http://schemas.microsoft.com/office/drawing/2014/main" id="{D97879A3-174F-FB1F-3C61-965A63992025}"/>
                </a:ext>
              </a:extLst>
            </p:cNvPr>
            <p:cNvSpPr/>
            <p:nvPr/>
          </p:nvSpPr>
          <p:spPr>
            <a:xfrm>
              <a:off x="547481" y="4729136"/>
              <a:ext cx="2747235" cy="305886"/>
            </a:xfrm>
            <a:prstGeom prst="rect">
              <a:avLst/>
            </a:prstGeom>
            <a:noFill/>
            <a:ln w="6350">
              <a:solidFill>
                <a:srgbClr val="8B8B8B"/>
              </a:solidFill>
              <a:prstDash val="dash"/>
            </a:ln>
            <a:extLst>
              <a:ext uri="{909E8E84-426E-40DD-AFC4-6F175D3DCCD1}">
                <a14:hiddenFill xmlns:a14="http://schemas.microsoft.com/office/drawing/2010/main">
                  <a:solidFill>
                    <a:schemeClr val="accent6">
                      <a:lumMod val="20000"/>
                      <a:lumOff val="80000"/>
                    </a:schemeClr>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ysClr val="windowText" lastClr="000000"/>
                </a:solidFill>
              </a:endParaRPr>
            </a:p>
          </p:txBody>
        </p:sp>
      </p:grpSp>
      <p:pic>
        <p:nvPicPr>
          <p:cNvPr id="114" name="Imagen 148">
            <a:extLst>
              <a:ext uri="{FF2B5EF4-FFF2-40B4-BE49-F238E27FC236}">
                <a16:creationId xmlns:a16="http://schemas.microsoft.com/office/drawing/2014/main" id="{34847658-C0DE-281E-9BB4-A790855B613A}"/>
              </a:ext>
            </a:extLst>
          </p:cNvPr>
          <p:cNvPicPr>
            <a:picLocks noChangeAspect="1"/>
          </p:cNvPicPr>
          <p:nvPr/>
        </p:nvPicPr>
        <p:blipFill>
          <a:blip r:embed="rId9"/>
          <a:srcRect r="66185" b="5269"/>
          <a:stretch>
            <a:fillRect/>
          </a:stretch>
        </p:blipFill>
        <p:spPr>
          <a:xfrm>
            <a:off x="8601679" y="4778619"/>
            <a:ext cx="255761" cy="263364"/>
          </a:xfrm>
          <a:prstGeom prst="rect">
            <a:avLst/>
          </a:prstGeom>
        </p:spPr>
      </p:pic>
      <p:pic>
        <p:nvPicPr>
          <p:cNvPr id="115" name="Picture 114" descr="A black background with a black square&#10;&#10;AI-generated content may be incorrect.">
            <a:extLst>
              <a:ext uri="{FF2B5EF4-FFF2-40B4-BE49-F238E27FC236}">
                <a16:creationId xmlns:a16="http://schemas.microsoft.com/office/drawing/2014/main" id="{BC8B535A-A0AA-0B5B-5EFD-96D65F82837D}"/>
              </a:ext>
            </a:extLst>
          </p:cNvPr>
          <p:cNvPicPr>
            <a:picLocks noChangeAspect="1"/>
          </p:cNvPicPr>
          <p:nvPr/>
        </p:nvPicPr>
        <p:blipFill>
          <a:blip r:embed="rId10">
            <a:duotone>
              <a:schemeClr val="accent1">
                <a:shade val="45000"/>
                <a:satMod val="135000"/>
              </a:schemeClr>
              <a:prstClr val="white"/>
            </a:duotone>
          </a:blip>
          <a:srcRect b="18969"/>
          <a:stretch>
            <a:fillRect/>
          </a:stretch>
        </p:blipFill>
        <p:spPr>
          <a:xfrm>
            <a:off x="5177709" y="2735046"/>
            <a:ext cx="425003" cy="344383"/>
          </a:xfrm>
          <a:prstGeom prst="rect">
            <a:avLst/>
          </a:prstGeom>
        </p:spPr>
      </p:pic>
      <p:sp>
        <p:nvSpPr>
          <p:cNvPr id="117" name="CuadroTexto 17">
            <a:extLst>
              <a:ext uri="{FF2B5EF4-FFF2-40B4-BE49-F238E27FC236}">
                <a16:creationId xmlns:a16="http://schemas.microsoft.com/office/drawing/2014/main" id="{2D7EA58C-BA10-5E49-24E3-9C5B197415E8}"/>
              </a:ext>
            </a:extLst>
          </p:cNvPr>
          <p:cNvSpPr txBox="1"/>
          <p:nvPr/>
        </p:nvSpPr>
        <p:spPr>
          <a:xfrm>
            <a:off x="6663042" y="3387683"/>
            <a:ext cx="2393181" cy="184666"/>
          </a:xfrm>
          <a:prstGeom prst="rect">
            <a:avLst/>
          </a:prstGeom>
          <a:noFill/>
        </p:spPr>
        <p:txBody>
          <a:bodyPr wrap="square">
            <a:spAutoFit/>
          </a:bodyPr>
          <a:lstStyle/>
          <a:p>
            <a:r>
              <a:rPr lang="en-US" sz="600" b="1">
                <a:solidFill>
                  <a:schemeClr val="accent4">
                    <a:lumMod val="75000"/>
                  </a:schemeClr>
                </a:solidFill>
              </a:rPr>
              <a:t>*Note  : All of these are available on wsmesegmentation.com</a:t>
            </a:r>
            <a:endParaRPr lang="en-US" sz="600" b="1">
              <a:solidFill>
                <a:schemeClr val="accent4">
                  <a:lumMod val="75000"/>
                </a:schemeClr>
              </a:solidFill>
              <a:latin typeface="+mj-lt"/>
            </a:endParaRPr>
          </a:p>
        </p:txBody>
      </p:sp>
      <p:sp>
        <p:nvSpPr>
          <p:cNvPr id="8" name="Speech Bubble: Rectangle with Corners Rounded 7">
            <a:extLst>
              <a:ext uri="{FF2B5EF4-FFF2-40B4-BE49-F238E27FC236}">
                <a16:creationId xmlns:a16="http://schemas.microsoft.com/office/drawing/2014/main" id="{0ADEA0F9-6F45-04EF-B00D-BB9C25E32AF0}"/>
              </a:ext>
            </a:extLst>
          </p:cNvPr>
          <p:cNvSpPr/>
          <p:nvPr/>
        </p:nvSpPr>
        <p:spPr>
          <a:xfrm>
            <a:off x="6686124" y="2001569"/>
            <a:ext cx="2149518" cy="1338101"/>
          </a:xfrm>
          <a:prstGeom prst="wedgeRoundRectCallout">
            <a:avLst>
              <a:gd name="adj1" fmla="val -65735"/>
              <a:gd name="adj2" fmla="val -3265"/>
              <a:gd name="adj3" fmla="val 16667"/>
            </a:avLst>
          </a:prstGeom>
          <a:solidFill>
            <a:srgbClr val="7CB1A9"/>
          </a:solidFill>
          <a:ln>
            <a:noFill/>
          </a:ln>
          <a:effectLst>
            <a:outerShdw blurRad="63500" dist="38100" dir="2700000">
              <a:srgbClr val="000000">
                <a:alpha val="4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a:solidFill>
                <a:schemeClr val="bg1"/>
              </a:solidFill>
              <a:ea typeface="Lato"/>
              <a:cs typeface="Lato"/>
            </a:endParaRPr>
          </a:p>
        </p:txBody>
      </p:sp>
      <p:sp>
        <p:nvSpPr>
          <p:cNvPr id="10" name="Rectangle 2">
            <a:extLst>
              <a:ext uri="{FF2B5EF4-FFF2-40B4-BE49-F238E27FC236}">
                <a16:creationId xmlns:a16="http://schemas.microsoft.com/office/drawing/2014/main" id="{0A6F3CCA-51C4-A286-F7EC-E11FD96A049F}"/>
              </a:ext>
            </a:extLst>
          </p:cNvPr>
          <p:cNvSpPr>
            <a:spLocks noChangeArrowheads="1"/>
          </p:cNvSpPr>
          <p:nvPr/>
        </p:nvSpPr>
        <p:spPr bwMode="auto">
          <a:xfrm rot="10800000" flipV="1">
            <a:off x="6774470" y="2007514"/>
            <a:ext cx="2108580" cy="13029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ts val="200"/>
              </a:spcBef>
              <a:spcAft>
                <a:spcPts val="200"/>
              </a:spcAft>
              <a:buClrTx/>
              <a:buSzTx/>
              <a:buFontTx/>
              <a:buChar char="•"/>
              <a:tabLst/>
            </a:pPr>
            <a:r>
              <a:rPr lang="en-US" altLang="en-US" sz="900" b="1" kern="0">
                <a:solidFill>
                  <a:schemeClr val="bg1"/>
                </a:solidFill>
                <a:latin typeface="+mj-lt"/>
              </a:rPr>
              <a:t>WSME Segmentation Toolkit</a:t>
            </a:r>
            <a:br>
              <a:rPr lang="en-US" altLang="en-US" sz="900" kern="0">
                <a:solidFill>
                  <a:schemeClr val="bg1"/>
                </a:solidFill>
                <a:latin typeface="+mj-lt"/>
              </a:rPr>
            </a:br>
            <a:r>
              <a:rPr lang="en-US" altLang="en-US" sz="900" kern="0">
                <a:solidFill>
                  <a:schemeClr val="bg1"/>
                </a:solidFill>
                <a:latin typeface="+mj-lt"/>
              </a:rPr>
              <a:t>Understand different profiles of women-led SMEs and tailor solutions accordingly </a:t>
            </a:r>
          </a:p>
          <a:p>
            <a:pPr marL="0" marR="0" lvl="0" indent="0" algn="l" defTabSz="914400" rtl="0" eaLnBrk="0" fontAlgn="base" latinLnBrk="0" hangingPunct="0">
              <a:lnSpc>
                <a:spcPct val="100000"/>
              </a:lnSpc>
              <a:spcBef>
                <a:spcPts val="200"/>
              </a:spcBef>
              <a:spcAft>
                <a:spcPts val="200"/>
              </a:spcAft>
              <a:buClrTx/>
              <a:buSzTx/>
              <a:buFontTx/>
              <a:buChar char="•"/>
              <a:tabLst/>
            </a:pPr>
            <a:r>
              <a:rPr lang="en-US" altLang="en-US" sz="900" b="1" kern="0">
                <a:solidFill>
                  <a:schemeClr val="bg1"/>
                </a:solidFill>
                <a:latin typeface="+mj-lt"/>
              </a:rPr>
              <a:t>WSME product &amp; service mapping</a:t>
            </a:r>
            <a:br>
              <a:rPr lang="en-US" altLang="en-US" sz="900" kern="0">
                <a:solidFill>
                  <a:schemeClr val="bg1"/>
                </a:solidFill>
                <a:latin typeface="+mj-lt"/>
              </a:rPr>
            </a:br>
            <a:r>
              <a:rPr lang="en-US" altLang="en-US" sz="900" kern="0">
                <a:solidFill>
                  <a:schemeClr val="bg1"/>
                </a:solidFill>
                <a:latin typeface="+mj-lt"/>
              </a:rPr>
              <a:t>Identify relevant products and gaps across lifecycle stages </a:t>
            </a:r>
          </a:p>
          <a:p>
            <a:pPr marL="0" marR="0" lvl="0" indent="0" algn="l" defTabSz="914400" rtl="0" eaLnBrk="0" fontAlgn="base" latinLnBrk="0" hangingPunct="0">
              <a:lnSpc>
                <a:spcPct val="100000"/>
              </a:lnSpc>
              <a:spcBef>
                <a:spcPts val="200"/>
              </a:spcBef>
              <a:spcAft>
                <a:spcPts val="200"/>
              </a:spcAft>
              <a:buClrTx/>
              <a:buSzTx/>
              <a:buFontTx/>
              <a:buChar char="•"/>
              <a:tabLst/>
            </a:pPr>
            <a:r>
              <a:rPr lang="en-US" altLang="en-US" sz="900" b="1" kern="0">
                <a:solidFill>
                  <a:schemeClr val="bg1"/>
                </a:solidFill>
                <a:latin typeface="+mj-lt"/>
              </a:rPr>
              <a:t>Case studies </a:t>
            </a:r>
            <a:r>
              <a:rPr lang="en-US" altLang="en-US" sz="900" kern="0">
                <a:solidFill>
                  <a:schemeClr val="bg1"/>
                </a:solidFill>
                <a:latin typeface="+mj-lt"/>
              </a:rPr>
              <a:t>(e.g., Wema, Itaú) </a:t>
            </a:r>
          </a:p>
        </p:txBody>
      </p:sp>
    </p:spTree>
    <p:extLst>
      <p:ext uri="{BB962C8B-B14F-4D97-AF65-F5344CB8AC3E}">
        <p14:creationId xmlns:p14="http://schemas.microsoft.com/office/powerpoint/2010/main" val="40086031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DC3CE1-DD48-D1F3-4B86-46A0257B007A}"/>
            </a:ext>
          </a:extLst>
        </p:cNvPr>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0D5CFFB2-2A57-7CC6-C9C5-E429F57C500E}"/>
              </a:ext>
            </a:extLst>
          </p:cNvPr>
          <p:cNvGraphicFramePr>
            <a:graphicFrameLocks noChangeAspect="1"/>
          </p:cNvGraphicFramePr>
          <p:nvPr>
            <p:custDataLst>
              <p:tags r:id="rId1"/>
            </p:custDataLst>
            <p:extLst>
              <p:ext uri="{D42A27DB-BD31-4B8C-83A1-F6EECF244321}">
                <p14:modId xmlns:p14="http://schemas.microsoft.com/office/powerpoint/2010/main" val="3828640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27" name="think-cell data - do not delete" hidden="1">
                        <a:extLst>
                          <a:ext uri="{FF2B5EF4-FFF2-40B4-BE49-F238E27FC236}">
                            <a16:creationId xmlns:a16="http://schemas.microsoft.com/office/drawing/2014/main" id="{0D5CFFB2-2A57-7CC6-C9C5-E429F57C50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Rectangle: Rounded Corners 56">
            <a:extLst>
              <a:ext uri="{FF2B5EF4-FFF2-40B4-BE49-F238E27FC236}">
                <a16:creationId xmlns:a16="http://schemas.microsoft.com/office/drawing/2014/main" id="{7BB26E1D-D474-3C89-FC04-B55CD1DD5ACC}"/>
              </a:ext>
            </a:extLst>
          </p:cNvPr>
          <p:cNvSpPr/>
          <p:nvPr/>
        </p:nvSpPr>
        <p:spPr>
          <a:xfrm>
            <a:off x="3281565" y="1766593"/>
            <a:ext cx="2569794" cy="3162216"/>
          </a:xfrm>
          <a:prstGeom prst="roundRect">
            <a:avLst>
              <a:gd name="adj" fmla="val 6808"/>
            </a:avLst>
          </a:prstGeom>
          <a:solidFill>
            <a:schemeClr val="bg1"/>
          </a:solidFill>
          <a:ln>
            <a:solidFill>
              <a:schemeClr val="bg1"/>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Rounded Corners 57">
            <a:extLst>
              <a:ext uri="{FF2B5EF4-FFF2-40B4-BE49-F238E27FC236}">
                <a16:creationId xmlns:a16="http://schemas.microsoft.com/office/drawing/2014/main" id="{35E2ED7E-830A-A6D1-E1B8-FF50FBCF6586}"/>
              </a:ext>
            </a:extLst>
          </p:cNvPr>
          <p:cNvSpPr/>
          <p:nvPr/>
        </p:nvSpPr>
        <p:spPr>
          <a:xfrm>
            <a:off x="6066060" y="1766593"/>
            <a:ext cx="2569794" cy="3162216"/>
          </a:xfrm>
          <a:prstGeom prst="roundRect">
            <a:avLst>
              <a:gd name="adj" fmla="val 6808"/>
            </a:avLst>
          </a:prstGeom>
          <a:solidFill>
            <a:schemeClr val="bg1"/>
          </a:solidFill>
          <a:ln>
            <a:solidFill>
              <a:schemeClr val="bg1"/>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Rounded Corners 55">
            <a:extLst>
              <a:ext uri="{FF2B5EF4-FFF2-40B4-BE49-F238E27FC236}">
                <a16:creationId xmlns:a16="http://schemas.microsoft.com/office/drawing/2014/main" id="{CA251237-3DEE-7188-00D7-FFA12898B4B8}"/>
              </a:ext>
            </a:extLst>
          </p:cNvPr>
          <p:cNvSpPr/>
          <p:nvPr/>
        </p:nvSpPr>
        <p:spPr>
          <a:xfrm>
            <a:off x="483422" y="1740211"/>
            <a:ext cx="2569794" cy="3162216"/>
          </a:xfrm>
          <a:prstGeom prst="roundRect">
            <a:avLst>
              <a:gd name="adj" fmla="val 6808"/>
            </a:avLst>
          </a:prstGeom>
          <a:solidFill>
            <a:schemeClr val="bg1"/>
          </a:solidFill>
          <a:ln>
            <a:solidFill>
              <a:schemeClr val="bg1"/>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84204CAD-9CB6-D110-59F7-450004A7230D}"/>
              </a:ext>
            </a:extLst>
          </p:cNvPr>
          <p:cNvSpPr>
            <a:spLocks noGrp="1"/>
          </p:cNvSpPr>
          <p:nvPr>
            <p:ph type="sldNum" sz="quarter" idx="4294967295"/>
          </p:nvPr>
        </p:nvSpPr>
        <p:spPr>
          <a:xfrm>
            <a:off x="8729560" y="4911474"/>
            <a:ext cx="342581" cy="96296"/>
          </a:xfrm>
        </p:spPr>
        <p:txBody>
          <a:bodyPr/>
          <a:lstStyle/>
          <a:p>
            <a:fld id="{A90607E6-BCED-4FC1-A345-AB2A307AB80F}" type="slidenum">
              <a:rPr lang="en-US" sz="700" b="1" noProof="0" smtClean="0"/>
              <a:pPr/>
              <a:t>6</a:t>
            </a:fld>
            <a:endParaRPr lang="en-US" b="1" noProof="0"/>
          </a:p>
        </p:txBody>
      </p:sp>
      <p:sp>
        <p:nvSpPr>
          <p:cNvPr id="19" name="Text Placeholder 18">
            <a:extLst>
              <a:ext uri="{FF2B5EF4-FFF2-40B4-BE49-F238E27FC236}">
                <a16:creationId xmlns:a16="http://schemas.microsoft.com/office/drawing/2014/main" id="{12143341-C2DE-EEDF-06AD-6E9E1DCC5D4F}"/>
              </a:ext>
            </a:extLst>
          </p:cNvPr>
          <p:cNvSpPr>
            <a:spLocks noGrp="1"/>
          </p:cNvSpPr>
          <p:nvPr>
            <p:ph type="body" sz="quarter" idx="27"/>
          </p:nvPr>
        </p:nvSpPr>
        <p:spPr/>
        <p:txBody>
          <a:bodyPr>
            <a:noAutofit/>
          </a:bodyPr>
          <a:lstStyle/>
          <a:p>
            <a:r>
              <a:rPr lang="en-US" b="1"/>
              <a:t>We categorized WSME products and services through the lens of lifecycle stage, segmentation, challenges addressed, and level of innovation</a:t>
            </a:r>
          </a:p>
        </p:txBody>
      </p:sp>
      <p:pic>
        <p:nvPicPr>
          <p:cNvPr id="4" name="Imagen 148">
            <a:extLst>
              <a:ext uri="{FF2B5EF4-FFF2-40B4-BE49-F238E27FC236}">
                <a16:creationId xmlns:a16="http://schemas.microsoft.com/office/drawing/2014/main" id="{08A1A181-3257-8224-6374-D00041CBCC63}"/>
              </a:ext>
            </a:extLst>
          </p:cNvPr>
          <p:cNvPicPr>
            <a:picLocks noChangeAspect="1"/>
          </p:cNvPicPr>
          <p:nvPr/>
        </p:nvPicPr>
        <p:blipFill>
          <a:blip r:embed="rId6"/>
          <a:srcRect r="66185" b="5269"/>
          <a:stretch>
            <a:fillRect/>
          </a:stretch>
        </p:blipFill>
        <p:spPr>
          <a:xfrm>
            <a:off x="8601679" y="4778619"/>
            <a:ext cx="255761" cy="263364"/>
          </a:xfrm>
          <a:prstGeom prst="rect">
            <a:avLst/>
          </a:prstGeom>
        </p:spPr>
      </p:pic>
      <p:sp>
        <p:nvSpPr>
          <p:cNvPr id="34" name="Text Placeholder 1">
            <a:extLst>
              <a:ext uri="{FF2B5EF4-FFF2-40B4-BE49-F238E27FC236}">
                <a16:creationId xmlns:a16="http://schemas.microsoft.com/office/drawing/2014/main" id="{F505F283-28A7-4F89-5862-A3FAE348006B}"/>
              </a:ext>
            </a:extLst>
          </p:cNvPr>
          <p:cNvSpPr>
            <a:spLocks noGrp="1"/>
          </p:cNvSpPr>
          <p:nvPr>
            <p:ph type="body" sz="quarter" idx="60"/>
          </p:nvPr>
        </p:nvSpPr>
        <p:spPr>
          <a:xfrm>
            <a:off x="483422" y="1515735"/>
            <a:ext cx="2578608" cy="2688336"/>
          </a:xfrm>
        </p:spPr>
        <p:txBody>
          <a:bodyPr/>
          <a:lstStyle/>
          <a:p>
            <a:r>
              <a:rPr lang="en-US" noProof="0"/>
              <a:t> </a:t>
            </a:r>
          </a:p>
        </p:txBody>
      </p:sp>
      <p:sp>
        <p:nvSpPr>
          <p:cNvPr id="37" name="Text Placeholder 4">
            <a:extLst>
              <a:ext uri="{FF2B5EF4-FFF2-40B4-BE49-F238E27FC236}">
                <a16:creationId xmlns:a16="http://schemas.microsoft.com/office/drawing/2014/main" id="{8412A09A-FE71-AB82-DDC1-957008ADC1B5}"/>
              </a:ext>
            </a:extLst>
          </p:cNvPr>
          <p:cNvSpPr txBox="1">
            <a:spLocks/>
          </p:cNvSpPr>
          <p:nvPr/>
        </p:nvSpPr>
        <p:spPr>
          <a:xfrm>
            <a:off x="440383" y="2094683"/>
            <a:ext cx="2633272" cy="1286534"/>
          </a:xfrm>
          <a:prstGeom prst="rect">
            <a:avLst/>
          </a:prstGeom>
        </p:spPr>
        <p:txBody>
          <a:bodyPr vert="horz" lIns="91440" tIns="45720" rIns="91440" bIns="45720" rtlCol="0">
            <a:noAutofit/>
          </a:bodyPr>
          <a:lstStyle>
            <a:lvl1pPr marL="0" indent="0" algn="l" defTabSz="685783" rtl="0" eaLnBrk="1" latinLnBrk="0" hangingPunct="1">
              <a:lnSpc>
                <a:spcPct val="130000"/>
              </a:lnSpc>
              <a:spcBef>
                <a:spcPts val="750"/>
              </a:spcBef>
              <a:buFont typeface="Arial" panose="020B0604020202020204" pitchFamily="34" charset="0"/>
              <a:buNone/>
              <a:defRPr sz="900" b="0" i="0" kern="1200">
                <a:solidFill>
                  <a:srgbClr val="414244"/>
                </a:solidFill>
                <a:latin typeface="Lato" panose="020F0502020204030203" pitchFamily="34" charset="77"/>
                <a:ea typeface="Open Sans" pitchFamily="2" charset="0"/>
                <a:cs typeface="Open Sans" pitchFamily="2" charset="0"/>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0"/>
              </a:spcBef>
              <a:spcAft>
                <a:spcPts val="300"/>
              </a:spcAft>
            </a:pPr>
            <a:r>
              <a:rPr lang="en-US" sz="1050" spc="-10"/>
              <a:t>We used </a:t>
            </a:r>
            <a:r>
              <a:rPr lang="en-US" sz="1050" b="1" spc="-10"/>
              <a:t>lifecycle stages </a:t>
            </a:r>
            <a:r>
              <a:rPr lang="en-US" sz="1050" spc="-10"/>
              <a:t>to categorize products and assess their coverage across:</a:t>
            </a:r>
          </a:p>
          <a:p>
            <a:pPr marL="171450" indent="-171450">
              <a:lnSpc>
                <a:spcPct val="100000"/>
              </a:lnSpc>
              <a:spcBef>
                <a:spcPts val="0"/>
              </a:spcBef>
              <a:spcAft>
                <a:spcPts val="300"/>
              </a:spcAft>
              <a:buFont typeface="Arial" panose="020B0604020202020204" pitchFamily="34" charset="0"/>
              <a:buChar char="•"/>
            </a:pPr>
            <a:r>
              <a:rPr lang="en-US" sz="1050" b="1" spc="-10"/>
              <a:t>Pre-entrepreneurship</a:t>
            </a:r>
            <a:endParaRPr lang="en-US" sz="1050" spc="-10"/>
          </a:p>
          <a:p>
            <a:pPr marL="171450" indent="-171450">
              <a:lnSpc>
                <a:spcPct val="100000"/>
              </a:lnSpc>
              <a:spcBef>
                <a:spcPts val="0"/>
              </a:spcBef>
              <a:spcAft>
                <a:spcPts val="300"/>
              </a:spcAft>
              <a:buFont typeface="Arial" panose="020B0604020202020204" pitchFamily="34" charset="0"/>
              <a:buChar char="•"/>
            </a:pPr>
            <a:r>
              <a:rPr lang="en-US" sz="1050" b="1" spc="-10"/>
              <a:t>Start-up</a:t>
            </a:r>
            <a:r>
              <a:rPr lang="en-US" sz="1050" spc="-10"/>
              <a:t>: 0-2 years</a:t>
            </a:r>
          </a:p>
          <a:p>
            <a:pPr marL="171450" indent="-171450">
              <a:lnSpc>
                <a:spcPct val="100000"/>
              </a:lnSpc>
              <a:spcBef>
                <a:spcPts val="0"/>
              </a:spcBef>
              <a:spcAft>
                <a:spcPts val="300"/>
              </a:spcAft>
              <a:buFont typeface="Arial" panose="020B0604020202020204" pitchFamily="34" charset="0"/>
              <a:buChar char="•"/>
            </a:pPr>
            <a:r>
              <a:rPr lang="en-US" sz="1050" b="1" spc="-10"/>
              <a:t>Early growth</a:t>
            </a:r>
            <a:r>
              <a:rPr lang="en-US" sz="1050" spc="-10"/>
              <a:t>: 2–5+ years</a:t>
            </a:r>
          </a:p>
          <a:p>
            <a:pPr marL="171450" indent="-171450">
              <a:lnSpc>
                <a:spcPct val="100000"/>
              </a:lnSpc>
              <a:spcBef>
                <a:spcPts val="0"/>
              </a:spcBef>
              <a:spcAft>
                <a:spcPts val="300"/>
              </a:spcAft>
              <a:buFont typeface="Arial" panose="020B0604020202020204" pitchFamily="34" charset="0"/>
              <a:buChar char="•"/>
            </a:pPr>
            <a:r>
              <a:rPr lang="en-US" sz="1050" b="1" spc="-10"/>
              <a:t>Scaling</a:t>
            </a:r>
            <a:r>
              <a:rPr lang="en-US" sz="1050" spc="-10"/>
              <a:t>: growth in markets/segments</a:t>
            </a:r>
          </a:p>
        </p:txBody>
      </p:sp>
      <p:sp>
        <p:nvSpPr>
          <p:cNvPr id="39" name="Text Placeholder 8">
            <a:extLst>
              <a:ext uri="{FF2B5EF4-FFF2-40B4-BE49-F238E27FC236}">
                <a16:creationId xmlns:a16="http://schemas.microsoft.com/office/drawing/2014/main" id="{08F1B196-C90A-C342-B6FA-BB9E8941B1A2}"/>
              </a:ext>
            </a:extLst>
          </p:cNvPr>
          <p:cNvSpPr txBox="1">
            <a:spLocks/>
          </p:cNvSpPr>
          <p:nvPr/>
        </p:nvSpPr>
        <p:spPr>
          <a:xfrm>
            <a:off x="6057246" y="1515735"/>
            <a:ext cx="2578608" cy="2688336"/>
          </a:xfrm>
          <a:prstGeom prst="round2SameRect">
            <a:avLst>
              <a:gd name="adj1" fmla="val 0"/>
              <a:gd name="adj2" fmla="val 7288"/>
            </a:avLst>
          </a:prstGeom>
          <a:solidFill>
            <a:schemeClr val="bg1"/>
          </a:solidFill>
        </p:spPr>
        <p:txBody>
          <a:bodyPr vert="horz" lIns="91440" tIns="45720" rIns="91440" bIns="45720" rtlCol="0">
            <a:normAutofit/>
          </a:bodyPr>
          <a:lstStyle>
            <a:lvl1pPr marL="0" indent="0" algn="l" defTabSz="685783" rtl="0" eaLnBrk="1" latinLnBrk="0" hangingPunct="1">
              <a:lnSpc>
                <a:spcPct val="130000"/>
              </a:lnSpc>
              <a:spcBef>
                <a:spcPts val="750"/>
              </a:spcBef>
              <a:buFont typeface="Arial" panose="020B0604020202020204" pitchFamily="34" charset="0"/>
              <a:buNone/>
              <a:defRPr sz="900" b="0" i="0" kern="1200">
                <a:solidFill>
                  <a:srgbClr val="414244"/>
                </a:solidFill>
                <a:latin typeface="Lato" panose="020F0502020204030203" pitchFamily="34" charset="77"/>
                <a:ea typeface="Open Sans" pitchFamily="2" charset="0"/>
                <a:cs typeface="Open Sans" pitchFamily="2" charset="0"/>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t> </a:t>
            </a:r>
          </a:p>
        </p:txBody>
      </p:sp>
      <p:sp>
        <p:nvSpPr>
          <p:cNvPr id="40" name="Text Placeholder 9">
            <a:extLst>
              <a:ext uri="{FF2B5EF4-FFF2-40B4-BE49-F238E27FC236}">
                <a16:creationId xmlns:a16="http://schemas.microsoft.com/office/drawing/2014/main" id="{18C62648-56E7-B36F-E9E1-8E4BE9A5760F}"/>
              </a:ext>
            </a:extLst>
          </p:cNvPr>
          <p:cNvSpPr txBox="1">
            <a:spLocks/>
          </p:cNvSpPr>
          <p:nvPr/>
        </p:nvSpPr>
        <p:spPr>
          <a:xfrm>
            <a:off x="6057246" y="1166589"/>
            <a:ext cx="2578608" cy="658368"/>
          </a:xfrm>
          <a:prstGeom prst="round2SameRect">
            <a:avLst>
              <a:gd name="adj1" fmla="val 23992"/>
              <a:gd name="adj2" fmla="val 0"/>
            </a:avLst>
          </a:prstGeom>
          <a:solidFill>
            <a:schemeClr val="accent2"/>
          </a:solidFill>
        </p:spPr>
        <p:txBody>
          <a:bodyPr vert="horz" lIns="91440" tIns="45720" rIns="91440" bIns="45720" rtlCol="0">
            <a:normAutofit/>
          </a:bodyPr>
          <a:lstStyle>
            <a:lvl1pPr marL="0" indent="0" algn="l" defTabSz="685783" rtl="0" eaLnBrk="1" latinLnBrk="0" hangingPunct="1">
              <a:lnSpc>
                <a:spcPct val="130000"/>
              </a:lnSpc>
              <a:spcBef>
                <a:spcPts val="750"/>
              </a:spcBef>
              <a:buFont typeface="Arial" panose="020B0604020202020204" pitchFamily="34" charset="0"/>
              <a:buNone/>
              <a:defRPr sz="900" b="0" i="0" kern="1200">
                <a:solidFill>
                  <a:srgbClr val="414244"/>
                </a:solidFill>
                <a:latin typeface="Lato" panose="020F0502020204030203" pitchFamily="34" charset="77"/>
                <a:ea typeface="Open Sans" pitchFamily="2" charset="0"/>
                <a:cs typeface="Open Sans" pitchFamily="2" charset="0"/>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t> </a:t>
            </a:r>
          </a:p>
        </p:txBody>
      </p:sp>
      <p:sp>
        <p:nvSpPr>
          <p:cNvPr id="41" name="Text Placeholder 11">
            <a:extLst>
              <a:ext uri="{FF2B5EF4-FFF2-40B4-BE49-F238E27FC236}">
                <a16:creationId xmlns:a16="http://schemas.microsoft.com/office/drawing/2014/main" id="{49E1928E-657C-FB62-426D-0637E8457CE6}"/>
              </a:ext>
            </a:extLst>
          </p:cNvPr>
          <p:cNvSpPr txBox="1">
            <a:spLocks/>
          </p:cNvSpPr>
          <p:nvPr/>
        </p:nvSpPr>
        <p:spPr>
          <a:xfrm>
            <a:off x="6074872" y="1859774"/>
            <a:ext cx="2492609" cy="3051700"/>
          </a:xfrm>
          <a:prstGeom prst="rect">
            <a:avLst/>
          </a:prstGeom>
        </p:spPr>
        <p:txBody>
          <a:bodyPr vert="horz" lIns="91440" tIns="45720" rIns="91440" bIns="45720" rtlCol="0">
            <a:normAutofit/>
          </a:bodyPr>
          <a:lstStyle>
            <a:lvl1pPr marL="0" indent="0" algn="l" defTabSz="685783" rtl="0" eaLnBrk="1" latinLnBrk="0" hangingPunct="1">
              <a:lnSpc>
                <a:spcPct val="130000"/>
              </a:lnSpc>
              <a:spcBef>
                <a:spcPts val="750"/>
              </a:spcBef>
              <a:buFont typeface="Arial" panose="020B0604020202020204" pitchFamily="34" charset="0"/>
              <a:buNone/>
              <a:defRPr sz="900" b="0" i="0" kern="1200">
                <a:solidFill>
                  <a:srgbClr val="414244"/>
                </a:solidFill>
                <a:latin typeface="Lato" panose="020F0502020204030203" pitchFamily="34" charset="77"/>
                <a:ea typeface="Open Sans" pitchFamily="2" charset="0"/>
                <a:cs typeface="Open Sans" pitchFamily="2" charset="0"/>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0"/>
              </a:spcBef>
              <a:spcAft>
                <a:spcPts val="300"/>
              </a:spcAft>
            </a:pPr>
            <a:r>
              <a:rPr lang="en-US" sz="1050"/>
              <a:t>We defined an </a:t>
            </a:r>
            <a:r>
              <a:rPr lang="en-US" sz="1050" b="1"/>
              <a:t>innovation rubric </a:t>
            </a:r>
            <a:r>
              <a:rPr lang="en-US" sz="1050"/>
              <a:t>to</a:t>
            </a:r>
            <a:r>
              <a:rPr lang="en-US" sz="1050" b="1"/>
              <a:t> </a:t>
            </a:r>
            <a:r>
              <a:rPr lang="en-US" sz="1050"/>
              <a:t>evaluates the </a:t>
            </a:r>
            <a:r>
              <a:rPr lang="en-US" sz="1050" b="1"/>
              <a:t>degree of intentionality </a:t>
            </a:r>
            <a:r>
              <a:rPr lang="en-US" sz="1050"/>
              <a:t>in product design:</a:t>
            </a:r>
          </a:p>
          <a:p>
            <a:pPr marL="171450" indent="-171450">
              <a:lnSpc>
                <a:spcPct val="100000"/>
              </a:lnSpc>
              <a:spcBef>
                <a:spcPts val="0"/>
              </a:spcBef>
              <a:spcAft>
                <a:spcPts val="300"/>
              </a:spcAft>
              <a:buFont typeface="Arial" panose="020B0604020202020204" pitchFamily="34" charset="0"/>
              <a:buChar char="•"/>
            </a:pPr>
            <a:r>
              <a:rPr lang="en-US" sz="1050" b="1"/>
              <a:t>High: </a:t>
            </a:r>
            <a:r>
              <a:rPr lang="en-US" sz="1050"/>
              <a:t>fit-for-purpose based on data and channeled through gender-focused platforms</a:t>
            </a:r>
          </a:p>
          <a:p>
            <a:pPr marL="171450" indent="-171450">
              <a:lnSpc>
                <a:spcPct val="100000"/>
              </a:lnSpc>
              <a:spcBef>
                <a:spcPts val="0"/>
              </a:spcBef>
              <a:spcAft>
                <a:spcPts val="300"/>
              </a:spcAft>
              <a:buFont typeface="Arial" panose="020B0604020202020204" pitchFamily="34" charset="0"/>
              <a:buChar char="•"/>
            </a:pPr>
            <a:r>
              <a:rPr lang="en-US" sz="1050" b="1"/>
              <a:t>Medium: </a:t>
            </a:r>
            <a:r>
              <a:rPr lang="en-US" sz="1050"/>
              <a:t>Includes meaningful gender-based adaptations, but not fully tailored</a:t>
            </a:r>
          </a:p>
          <a:p>
            <a:pPr marL="171450" indent="-171450">
              <a:lnSpc>
                <a:spcPct val="100000"/>
              </a:lnSpc>
              <a:spcBef>
                <a:spcPts val="0"/>
              </a:spcBef>
              <a:spcAft>
                <a:spcPts val="300"/>
              </a:spcAft>
              <a:buFont typeface="Arial" panose="020B0604020202020204" pitchFamily="34" charset="0"/>
              <a:buChar char="•"/>
            </a:pPr>
            <a:r>
              <a:rPr lang="en-US" sz="1050" b="1"/>
              <a:t>Low: </a:t>
            </a:r>
            <a:r>
              <a:rPr lang="en-US" sz="1050"/>
              <a:t>Lightly rebranded or generic SME offerings with low customization</a:t>
            </a:r>
          </a:p>
          <a:p>
            <a:pPr>
              <a:lnSpc>
                <a:spcPct val="100000"/>
              </a:lnSpc>
              <a:spcBef>
                <a:spcPts val="0"/>
              </a:spcBef>
              <a:spcAft>
                <a:spcPts val="300"/>
              </a:spcAft>
            </a:pPr>
            <a:r>
              <a:rPr lang="en-US" sz="1050"/>
              <a:t>… and assessed how </a:t>
            </a:r>
            <a:r>
              <a:rPr lang="en-US" sz="1050" b="1"/>
              <a:t>frequently each type of solution </a:t>
            </a:r>
            <a:r>
              <a:rPr lang="en-US" sz="1050"/>
              <a:t>appears based on the number of examples identified</a:t>
            </a:r>
          </a:p>
          <a:p>
            <a:endParaRPr lang="en-US" sz="1050"/>
          </a:p>
        </p:txBody>
      </p:sp>
      <p:sp>
        <p:nvSpPr>
          <p:cNvPr id="42" name="Text Placeholder 12">
            <a:extLst>
              <a:ext uri="{FF2B5EF4-FFF2-40B4-BE49-F238E27FC236}">
                <a16:creationId xmlns:a16="http://schemas.microsoft.com/office/drawing/2014/main" id="{4C32D5B7-22EB-D13D-53D1-86317F3F8E35}"/>
              </a:ext>
            </a:extLst>
          </p:cNvPr>
          <p:cNvSpPr txBox="1">
            <a:spLocks/>
          </p:cNvSpPr>
          <p:nvPr/>
        </p:nvSpPr>
        <p:spPr>
          <a:xfrm>
            <a:off x="6999078" y="636473"/>
            <a:ext cx="694944" cy="694944"/>
          </a:xfrm>
          <a:prstGeom prst="ellipse">
            <a:avLst/>
          </a:prstGeom>
          <a:solidFill>
            <a:schemeClr val="accent1"/>
          </a:solidFill>
        </p:spPr>
        <p:txBody>
          <a:bodyPr vert="horz" lIns="91440" tIns="45720" rIns="91440" bIns="45720" rtlCol="0" anchor="ctr">
            <a:normAutofit/>
          </a:bodyPr>
          <a:lstStyle>
            <a:lvl1pPr marL="0" indent="0" algn="ctr" defTabSz="685783" rtl="0" eaLnBrk="1" latinLnBrk="0" hangingPunct="1">
              <a:lnSpc>
                <a:spcPct val="90000"/>
              </a:lnSpc>
              <a:spcBef>
                <a:spcPts val="750"/>
              </a:spcBef>
              <a:buFont typeface="Arial" panose="020B0604020202020204" pitchFamily="34" charset="0"/>
              <a:buNone/>
              <a:defRPr sz="1100" b="0" i="1" kern="1200">
                <a:solidFill>
                  <a:schemeClr val="bg1"/>
                </a:solidFill>
                <a:latin typeface="Lato Medium" panose="020F0502020204030203" pitchFamily="34" charset="77"/>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t> </a:t>
            </a:r>
          </a:p>
        </p:txBody>
      </p:sp>
      <p:sp>
        <p:nvSpPr>
          <p:cNvPr id="43" name="Text Placeholder 13">
            <a:extLst>
              <a:ext uri="{FF2B5EF4-FFF2-40B4-BE49-F238E27FC236}">
                <a16:creationId xmlns:a16="http://schemas.microsoft.com/office/drawing/2014/main" id="{13E26C6A-9C49-5300-10D9-114D89147F85}"/>
              </a:ext>
            </a:extLst>
          </p:cNvPr>
          <p:cNvSpPr txBox="1">
            <a:spLocks/>
          </p:cNvSpPr>
          <p:nvPr/>
        </p:nvSpPr>
        <p:spPr>
          <a:xfrm>
            <a:off x="3267916" y="1515735"/>
            <a:ext cx="2578608" cy="2688336"/>
          </a:xfrm>
          <a:prstGeom prst="round2SameRect">
            <a:avLst>
              <a:gd name="adj1" fmla="val 0"/>
              <a:gd name="adj2" fmla="val 7288"/>
            </a:avLst>
          </a:prstGeom>
          <a:solidFill>
            <a:schemeClr val="bg1"/>
          </a:solidFill>
        </p:spPr>
        <p:txBody>
          <a:bodyPr vert="horz" lIns="91440" tIns="45720" rIns="91440" bIns="45720" rtlCol="0">
            <a:normAutofit/>
          </a:bodyPr>
          <a:lstStyle>
            <a:lvl1pPr marL="0" indent="0" algn="l" defTabSz="685783" rtl="0" eaLnBrk="1" latinLnBrk="0" hangingPunct="1">
              <a:lnSpc>
                <a:spcPct val="130000"/>
              </a:lnSpc>
              <a:spcBef>
                <a:spcPts val="750"/>
              </a:spcBef>
              <a:buFont typeface="Arial" panose="020B0604020202020204" pitchFamily="34" charset="0"/>
              <a:buNone/>
              <a:defRPr sz="900" b="0" i="0" kern="1200">
                <a:solidFill>
                  <a:srgbClr val="414244"/>
                </a:solidFill>
                <a:latin typeface="Lato" panose="020F0502020204030203" pitchFamily="34" charset="77"/>
                <a:ea typeface="Open Sans" pitchFamily="2" charset="0"/>
                <a:cs typeface="Open Sans" pitchFamily="2" charset="0"/>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t> </a:t>
            </a:r>
          </a:p>
        </p:txBody>
      </p:sp>
      <p:sp>
        <p:nvSpPr>
          <p:cNvPr id="44" name="Text Placeholder 14">
            <a:extLst>
              <a:ext uri="{FF2B5EF4-FFF2-40B4-BE49-F238E27FC236}">
                <a16:creationId xmlns:a16="http://schemas.microsoft.com/office/drawing/2014/main" id="{CF749B62-4273-B094-0C65-ACC4FD61CE17}"/>
              </a:ext>
            </a:extLst>
          </p:cNvPr>
          <p:cNvSpPr txBox="1">
            <a:spLocks/>
          </p:cNvSpPr>
          <p:nvPr/>
        </p:nvSpPr>
        <p:spPr>
          <a:xfrm>
            <a:off x="3267916" y="1166589"/>
            <a:ext cx="2578608" cy="658368"/>
          </a:xfrm>
          <a:prstGeom prst="round2SameRect">
            <a:avLst>
              <a:gd name="adj1" fmla="val 23992"/>
              <a:gd name="adj2" fmla="val 0"/>
            </a:avLst>
          </a:prstGeom>
          <a:solidFill>
            <a:schemeClr val="accent2"/>
          </a:solidFill>
        </p:spPr>
        <p:txBody>
          <a:bodyPr vert="horz" lIns="91440" tIns="45720" rIns="91440" bIns="45720" rtlCol="0">
            <a:normAutofit/>
          </a:bodyPr>
          <a:lstStyle>
            <a:lvl1pPr marL="0" indent="0" algn="l" defTabSz="685783" rtl="0" eaLnBrk="1" latinLnBrk="0" hangingPunct="1">
              <a:lnSpc>
                <a:spcPct val="130000"/>
              </a:lnSpc>
              <a:spcBef>
                <a:spcPts val="750"/>
              </a:spcBef>
              <a:buFont typeface="Arial" panose="020B0604020202020204" pitchFamily="34" charset="0"/>
              <a:buNone/>
              <a:defRPr sz="900" b="0" i="0" kern="1200">
                <a:solidFill>
                  <a:srgbClr val="414244"/>
                </a:solidFill>
                <a:latin typeface="Lato" panose="020F0502020204030203" pitchFamily="34" charset="77"/>
                <a:ea typeface="Open Sans" pitchFamily="2" charset="0"/>
                <a:cs typeface="Open Sans" pitchFamily="2" charset="0"/>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t> </a:t>
            </a:r>
          </a:p>
        </p:txBody>
      </p:sp>
      <p:sp>
        <p:nvSpPr>
          <p:cNvPr id="45" name="Text Placeholder 16">
            <a:extLst>
              <a:ext uri="{FF2B5EF4-FFF2-40B4-BE49-F238E27FC236}">
                <a16:creationId xmlns:a16="http://schemas.microsoft.com/office/drawing/2014/main" id="{435DC9F9-04C6-0E05-0279-9A1499E85D6C}"/>
              </a:ext>
            </a:extLst>
          </p:cNvPr>
          <p:cNvSpPr txBox="1">
            <a:spLocks/>
          </p:cNvSpPr>
          <p:nvPr/>
        </p:nvSpPr>
        <p:spPr>
          <a:xfrm>
            <a:off x="3307173" y="1861835"/>
            <a:ext cx="2500095" cy="2309479"/>
          </a:xfrm>
          <a:prstGeom prst="rect">
            <a:avLst/>
          </a:prstGeom>
        </p:spPr>
        <p:txBody>
          <a:bodyPr vert="horz" lIns="91440" tIns="45720" rIns="91440" bIns="45720" rtlCol="0">
            <a:noAutofit/>
          </a:bodyPr>
          <a:lstStyle>
            <a:lvl1pPr marL="0" indent="0" algn="l" defTabSz="685783" rtl="0" eaLnBrk="1" latinLnBrk="0" hangingPunct="1">
              <a:lnSpc>
                <a:spcPct val="130000"/>
              </a:lnSpc>
              <a:spcBef>
                <a:spcPts val="750"/>
              </a:spcBef>
              <a:buFont typeface="Arial" panose="020B0604020202020204" pitchFamily="34" charset="0"/>
              <a:buNone/>
              <a:defRPr sz="900" b="0" i="0" kern="1200">
                <a:solidFill>
                  <a:srgbClr val="414244"/>
                </a:solidFill>
                <a:latin typeface="Lato" panose="020F0502020204030203" pitchFamily="34" charset="77"/>
                <a:ea typeface="Open Sans" pitchFamily="2" charset="0"/>
                <a:cs typeface="Open Sans" pitchFamily="2" charset="0"/>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Aft>
                <a:spcPts val="300"/>
              </a:spcAft>
            </a:pPr>
            <a:r>
              <a:rPr lang="en-US" sz="1050"/>
              <a:t>We</a:t>
            </a:r>
            <a:r>
              <a:rPr lang="en-US" sz="1050" b="1"/>
              <a:t> identified the most pressing and frequent barriers </a:t>
            </a:r>
            <a:r>
              <a:rPr lang="en-US" sz="1050"/>
              <a:t>to understand which products were designed to address them, including:</a:t>
            </a:r>
          </a:p>
          <a:p>
            <a:pPr marL="228600" indent="-228600">
              <a:lnSpc>
                <a:spcPct val="100000"/>
              </a:lnSpc>
              <a:spcBef>
                <a:spcPts val="0"/>
              </a:spcBef>
              <a:spcAft>
                <a:spcPts val="300"/>
              </a:spcAft>
              <a:buFont typeface="Arial" panose="020B0604020202020204" pitchFamily="34" charset="0"/>
              <a:buChar char="•"/>
            </a:pPr>
            <a:r>
              <a:rPr lang="en-US" sz="1050"/>
              <a:t>Limited </a:t>
            </a:r>
            <a:r>
              <a:rPr lang="en-US" sz="1050" b="1"/>
              <a:t>financial literacy</a:t>
            </a:r>
          </a:p>
          <a:p>
            <a:pPr marL="228600" indent="-228600">
              <a:lnSpc>
                <a:spcPct val="100000"/>
              </a:lnSpc>
              <a:spcBef>
                <a:spcPts val="0"/>
              </a:spcBef>
              <a:spcAft>
                <a:spcPts val="300"/>
              </a:spcAft>
              <a:buFont typeface="Arial" panose="020B0604020202020204" pitchFamily="34" charset="0"/>
              <a:buChar char="•"/>
            </a:pPr>
            <a:r>
              <a:rPr lang="en-US" sz="1050"/>
              <a:t>Lack of </a:t>
            </a:r>
            <a:r>
              <a:rPr lang="en-US" sz="1050" b="1"/>
              <a:t>acceptable collateral</a:t>
            </a:r>
          </a:p>
          <a:p>
            <a:pPr marL="228600" indent="-228600">
              <a:lnSpc>
                <a:spcPct val="100000"/>
              </a:lnSpc>
              <a:spcBef>
                <a:spcPts val="0"/>
              </a:spcBef>
              <a:spcAft>
                <a:spcPts val="300"/>
              </a:spcAft>
              <a:buFont typeface="Arial" panose="020B0604020202020204" pitchFamily="34" charset="0"/>
              <a:buChar char="•"/>
            </a:pPr>
            <a:r>
              <a:rPr lang="en-US" sz="1050" b="1"/>
              <a:t>Gender bias </a:t>
            </a:r>
            <a:r>
              <a:rPr lang="en-US" sz="1050"/>
              <a:t>in credit assessment</a:t>
            </a:r>
          </a:p>
          <a:p>
            <a:pPr marL="228600" indent="-228600">
              <a:lnSpc>
                <a:spcPct val="100000"/>
              </a:lnSpc>
              <a:spcBef>
                <a:spcPts val="0"/>
              </a:spcBef>
              <a:spcAft>
                <a:spcPts val="300"/>
              </a:spcAft>
              <a:buFont typeface="Arial" panose="020B0604020202020204" pitchFamily="34" charset="0"/>
              <a:buChar char="•"/>
            </a:pPr>
            <a:r>
              <a:rPr lang="en-US" sz="1050" b="1"/>
              <a:t>Product misalignment </a:t>
            </a:r>
            <a:r>
              <a:rPr lang="en-US" sz="1050"/>
              <a:t>with WSME needs</a:t>
            </a:r>
          </a:p>
          <a:p>
            <a:pPr marL="228600" indent="-228600">
              <a:lnSpc>
                <a:spcPct val="100000"/>
              </a:lnSpc>
              <a:spcBef>
                <a:spcPts val="0"/>
              </a:spcBef>
              <a:spcAft>
                <a:spcPts val="300"/>
              </a:spcAft>
              <a:buFont typeface="Arial" panose="020B0604020202020204" pitchFamily="34" charset="0"/>
              <a:buChar char="•"/>
            </a:pPr>
            <a:r>
              <a:rPr lang="en-US" sz="1050"/>
              <a:t>Weak </a:t>
            </a:r>
            <a:r>
              <a:rPr lang="en-US" sz="1050" b="1"/>
              <a:t>relationship management </a:t>
            </a:r>
            <a:r>
              <a:rPr lang="en-US" sz="1050"/>
              <a:t>from financial institutions</a:t>
            </a:r>
          </a:p>
        </p:txBody>
      </p:sp>
      <p:sp>
        <p:nvSpPr>
          <p:cNvPr id="46" name="Text Placeholder 17">
            <a:extLst>
              <a:ext uri="{FF2B5EF4-FFF2-40B4-BE49-F238E27FC236}">
                <a16:creationId xmlns:a16="http://schemas.microsoft.com/office/drawing/2014/main" id="{782E80C0-2CA7-790D-32BB-91972BCEBE21}"/>
              </a:ext>
            </a:extLst>
          </p:cNvPr>
          <p:cNvSpPr txBox="1">
            <a:spLocks/>
          </p:cNvSpPr>
          <p:nvPr/>
        </p:nvSpPr>
        <p:spPr>
          <a:xfrm>
            <a:off x="4209748" y="636473"/>
            <a:ext cx="694944" cy="694944"/>
          </a:xfrm>
          <a:prstGeom prst="ellipse">
            <a:avLst/>
          </a:prstGeom>
          <a:solidFill>
            <a:schemeClr val="accent1"/>
          </a:solidFill>
        </p:spPr>
        <p:txBody>
          <a:bodyPr vert="horz" lIns="91440" tIns="45720" rIns="91440" bIns="45720" rtlCol="0" anchor="ctr">
            <a:normAutofit/>
          </a:bodyPr>
          <a:lstStyle>
            <a:lvl1pPr marL="0" indent="0" algn="ctr" defTabSz="685783" rtl="0" eaLnBrk="1" latinLnBrk="0" hangingPunct="1">
              <a:lnSpc>
                <a:spcPct val="90000"/>
              </a:lnSpc>
              <a:spcBef>
                <a:spcPts val="750"/>
              </a:spcBef>
              <a:buFont typeface="Arial" panose="020B0604020202020204" pitchFamily="34" charset="0"/>
              <a:buNone/>
              <a:defRPr sz="1100" b="0" i="1" kern="1200">
                <a:solidFill>
                  <a:schemeClr val="bg1"/>
                </a:solidFill>
                <a:latin typeface="Lato Medium" panose="020F0502020204030203" pitchFamily="34" charset="77"/>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t> </a:t>
            </a:r>
          </a:p>
        </p:txBody>
      </p:sp>
      <p:sp>
        <p:nvSpPr>
          <p:cNvPr id="47" name="Text Placeholder 10">
            <a:extLst>
              <a:ext uri="{FF2B5EF4-FFF2-40B4-BE49-F238E27FC236}">
                <a16:creationId xmlns:a16="http://schemas.microsoft.com/office/drawing/2014/main" id="{01DD4D6E-2936-66AB-44CB-C67D8A0D08C7}"/>
              </a:ext>
            </a:extLst>
          </p:cNvPr>
          <p:cNvSpPr txBox="1">
            <a:spLocks/>
          </p:cNvSpPr>
          <p:nvPr/>
        </p:nvSpPr>
        <p:spPr>
          <a:xfrm>
            <a:off x="6125618" y="1443118"/>
            <a:ext cx="2441864" cy="279757"/>
          </a:xfrm>
          <a:prstGeom prst="rect">
            <a:avLst/>
          </a:prstGeom>
        </p:spPr>
        <p:txBody>
          <a:bodyPr vert="horz" lIns="91440" tIns="45720" rIns="91440" bIns="45720" rtlCol="0" anchor="ctr" anchorCtr="0">
            <a:noAutofit/>
          </a:bodyPr>
          <a:lstStyle>
            <a:lvl1pPr marL="0" indent="0" algn="ctr" defTabSz="685783" rtl="0" eaLnBrk="1" latinLnBrk="0" hangingPunct="1">
              <a:lnSpc>
                <a:spcPct val="90000"/>
              </a:lnSpc>
              <a:spcBef>
                <a:spcPts val="750"/>
              </a:spcBef>
              <a:buFont typeface="Arial" panose="020B0604020202020204" pitchFamily="34" charset="0"/>
              <a:buNone/>
              <a:defRPr sz="1300" kern="1200" spc="100" baseline="0">
                <a:solidFill>
                  <a:schemeClr val="tx2"/>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200" b="1" noProof="0">
                <a:solidFill>
                  <a:schemeClr val="accent1"/>
                </a:solidFill>
              </a:rPr>
              <a:t>Level of innovation in product design</a:t>
            </a:r>
            <a:endParaRPr lang="en-US" sz="1200" noProof="0">
              <a:solidFill>
                <a:schemeClr val="accent1"/>
              </a:solidFill>
            </a:endParaRPr>
          </a:p>
        </p:txBody>
      </p:sp>
      <p:pic>
        <p:nvPicPr>
          <p:cNvPr id="49" name="Graphic 48">
            <a:extLst>
              <a:ext uri="{FF2B5EF4-FFF2-40B4-BE49-F238E27FC236}">
                <a16:creationId xmlns:a16="http://schemas.microsoft.com/office/drawing/2014/main" id="{1664E2C1-60C0-EB2F-8E31-F4521E9ECB08}"/>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7146525" y="771467"/>
            <a:ext cx="400050" cy="447675"/>
          </a:xfrm>
          <a:prstGeom prst="rect">
            <a:avLst/>
          </a:prstGeom>
        </p:spPr>
      </p:pic>
      <p:sp>
        <p:nvSpPr>
          <p:cNvPr id="51" name="Text Placeholder 3">
            <a:extLst>
              <a:ext uri="{FF2B5EF4-FFF2-40B4-BE49-F238E27FC236}">
                <a16:creationId xmlns:a16="http://schemas.microsoft.com/office/drawing/2014/main" id="{614BB1E9-7456-3BDF-D293-64EB2B7449A3}"/>
              </a:ext>
            </a:extLst>
          </p:cNvPr>
          <p:cNvSpPr txBox="1">
            <a:spLocks/>
          </p:cNvSpPr>
          <p:nvPr/>
        </p:nvSpPr>
        <p:spPr>
          <a:xfrm>
            <a:off x="3339284" y="1441752"/>
            <a:ext cx="2441864" cy="279757"/>
          </a:xfrm>
          <a:prstGeom prst="rect">
            <a:avLst/>
          </a:prstGeom>
        </p:spPr>
        <p:txBody>
          <a:bodyPr vert="horz" lIns="91440" tIns="45720" rIns="91440" bIns="45720" rtlCol="0" anchor="ctr" anchorCtr="0">
            <a:noAutofit/>
          </a:bodyPr>
          <a:lstStyle>
            <a:lvl1pPr marL="0" indent="0" algn="ctr" defTabSz="685783" rtl="0" eaLnBrk="1" latinLnBrk="0" hangingPunct="1">
              <a:lnSpc>
                <a:spcPct val="90000"/>
              </a:lnSpc>
              <a:spcBef>
                <a:spcPts val="750"/>
              </a:spcBef>
              <a:buFont typeface="Arial" panose="020B0604020202020204" pitchFamily="34" charset="0"/>
              <a:buNone/>
              <a:defRPr sz="1300" kern="1200" spc="100" baseline="0">
                <a:solidFill>
                  <a:schemeClr val="tx2"/>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200" b="1" noProof="0">
                <a:solidFill>
                  <a:schemeClr val="accent1"/>
                </a:solidFill>
              </a:rPr>
              <a:t>Unique challenges faced                    by WSMEs</a:t>
            </a:r>
            <a:endParaRPr lang="en-US" sz="1200" noProof="0">
              <a:solidFill>
                <a:schemeClr val="accent1"/>
              </a:solidFill>
            </a:endParaRPr>
          </a:p>
        </p:txBody>
      </p:sp>
      <p:pic>
        <p:nvPicPr>
          <p:cNvPr id="52" name="Graphic 51">
            <a:extLst>
              <a:ext uri="{FF2B5EF4-FFF2-40B4-BE49-F238E27FC236}">
                <a16:creationId xmlns:a16="http://schemas.microsoft.com/office/drawing/2014/main" id="{23423C44-C252-4B41-5A62-38A11809DF29}"/>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4345533" y="780993"/>
            <a:ext cx="438150" cy="428625"/>
          </a:xfrm>
          <a:prstGeom prst="rect">
            <a:avLst/>
          </a:prstGeom>
        </p:spPr>
      </p:pic>
      <p:sp>
        <p:nvSpPr>
          <p:cNvPr id="54" name="Rectangle: Rounded Corners 53">
            <a:extLst>
              <a:ext uri="{FF2B5EF4-FFF2-40B4-BE49-F238E27FC236}">
                <a16:creationId xmlns:a16="http://schemas.microsoft.com/office/drawing/2014/main" id="{5C3D4A9E-0302-B961-4852-7E95975251C2}"/>
              </a:ext>
            </a:extLst>
          </p:cNvPr>
          <p:cNvSpPr/>
          <p:nvPr/>
        </p:nvSpPr>
        <p:spPr>
          <a:xfrm>
            <a:off x="483422" y="3347701"/>
            <a:ext cx="2573772" cy="24026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Segmentation lens</a:t>
            </a:r>
          </a:p>
        </p:txBody>
      </p:sp>
      <p:sp>
        <p:nvSpPr>
          <p:cNvPr id="55" name="Text Placeholder 16">
            <a:extLst>
              <a:ext uri="{FF2B5EF4-FFF2-40B4-BE49-F238E27FC236}">
                <a16:creationId xmlns:a16="http://schemas.microsoft.com/office/drawing/2014/main" id="{4D8E1730-8D96-5CBA-23EB-6137F8112B0F}"/>
              </a:ext>
            </a:extLst>
          </p:cNvPr>
          <p:cNvSpPr txBox="1">
            <a:spLocks/>
          </p:cNvSpPr>
          <p:nvPr/>
        </p:nvSpPr>
        <p:spPr>
          <a:xfrm>
            <a:off x="440383" y="3560451"/>
            <a:ext cx="2652089" cy="1280530"/>
          </a:xfrm>
          <a:prstGeom prst="rect">
            <a:avLst/>
          </a:prstGeom>
        </p:spPr>
        <p:txBody>
          <a:bodyPr vert="horz" lIns="91440" tIns="45720" rIns="91440" bIns="45720" rtlCol="0">
            <a:noAutofit/>
          </a:bodyPr>
          <a:lstStyle>
            <a:lvl1pPr marL="0" indent="0" algn="l" defTabSz="685783" rtl="0" eaLnBrk="1" latinLnBrk="0" hangingPunct="1">
              <a:lnSpc>
                <a:spcPct val="130000"/>
              </a:lnSpc>
              <a:spcBef>
                <a:spcPts val="750"/>
              </a:spcBef>
              <a:buFont typeface="Arial" panose="020B0604020202020204" pitchFamily="34" charset="0"/>
              <a:buNone/>
              <a:defRPr sz="900" b="0" i="0" kern="1200">
                <a:solidFill>
                  <a:srgbClr val="414244"/>
                </a:solidFill>
                <a:latin typeface="Lato" panose="020F0502020204030203" pitchFamily="34" charset="77"/>
                <a:ea typeface="Open Sans" pitchFamily="2" charset="0"/>
                <a:cs typeface="Open Sans" pitchFamily="2" charset="0"/>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0"/>
              </a:spcBef>
              <a:spcAft>
                <a:spcPts val="300"/>
              </a:spcAft>
            </a:pPr>
            <a:r>
              <a:rPr lang="en-US" sz="1050" spc="-10"/>
              <a:t>We complemented this with a </a:t>
            </a:r>
            <a:r>
              <a:rPr lang="en-US" sz="1050" b="1" spc="-10"/>
              <a:t>segmentation lens</a:t>
            </a:r>
            <a:r>
              <a:rPr lang="en-US" sz="1050" spc="-10"/>
              <a:t> to understand the </a:t>
            </a:r>
            <a:r>
              <a:rPr lang="en-US" sz="1050" b="1" spc="-10"/>
              <a:t>key challenges and the differentiated needs</a:t>
            </a:r>
            <a:r>
              <a:rPr lang="en-US" sz="1050" spc="-10"/>
              <a:t>:</a:t>
            </a:r>
          </a:p>
          <a:p>
            <a:pPr marL="171450" indent="-171450">
              <a:lnSpc>
                <a:spcPct val="100000"/>
              </a:lnSpc>
              <a:spcBef>
                <a:spcPts val="0"/>
              </a:spcBef>
              <a:spcAft>
                <a:spcPts val="300"/>
              </a:spcAft>
              <a:buFont typeface="Arial" panose="020B0604020202020204" pitchFamily="34" charset="0"/>
              <a:buChar char="•"/>
            </a:pPr>
            <a:r>
              <a:rPr lang="en-US" sz="1050" b="1" spc="-10"/>
              <a:t>Segments by growth profile:</a:t>
            </a:r>
            <a:r>
              <a:rPr lang="en-US" sz="1050" spc="-10"/>
              <a:t> </a:t>
            </a:r>
            <a:r>
              <a:rPr lang="en-US" sz="1050" b="1" spc="-10"/>
              <a:t>High</a:t>
            </a:r>
            <a:r>
              <a:rPr lang="en-US" sz="1050" spc="-10"/>
              <a:t> (Wealth Creation, Legacy building), </a:t>
            </a:r>
            <a:r>
              <a:rPr lang="en-US" sz="1050" b="1" spc="-10"/>
              <a:t>Moderate</a:t>
            </a:r>
            <a:r>
              <a:rPr lang="en-US" sz="1050" spc="-10"/>
              <a:t> (Aspired Expansion, S</a:t>
            </a:r>
            <a:r>
              <a:rPr lang="en-US" sz="1050"/>
              <a:t>tability), </a:t>
            </a:r>
            <a:r>
              <a:rPr lang="en-US" sz="1050" b="1"/>
              <a:t>Low</a:t>
            </a:r>
            <a:r>
              <a:rPr lang="en-US" sz="1050"/>
              <a:t> (Livelihood, Survival)</a:t>
            </a:r>
            <a:endParaRPr lang="en-US" sz="1050" spc="-10"/>
          </a:p>
        </p:txBody>
      </p:sp>
      <p:sp>
        <p:nvSpPr>
          <p:cNvPr id="35" name="Text Placeholder 2">
            <a:extLst>
              <a:ext uri="{FF2B5EF4-FFF2-40B4-BE49-F238E27FC236}">
                <a16:creationId xmlns:a16="http://schemas.microsoft.com/office/drawing/2014/main" id="{B4DEEE72-78F5-E775-7E6A-D65D72848D64}"/>
              </a:ext>
            </a:extLst>
          </p:cNvPr>
          <p:cNvSpPr>
            <a:spLocks noGrp="1"/>
          </p:cNvSpPr>
          <p:nvPr>
            <p:ph type="body" sz="quarter" idx="62"/>
          </p:nvPr>
        </p:nvSpPr>
        <p:spPr>
          <a:xfrm>
            <a:off x="483422" y="1166589"/>
            <a:ext cx="2578608" cy="658368"/>
          </a:xfrm>
        </p:spPr>
        <p:txBody>
          <a:bodyPr/>
          <a:lstStyle/>
          <a:p>
            <a:r>
              <a:rPr lang="en-US" noProof="0"/>
              <a:t> </a:t>
            </a:r>
          </a:p>
        </p:txBody>
      </p:sp>
      <p:sp>
        <p:nvSpPr>
          <p:cNvPr id="48" name="Text Placeholder 15">
            <a:extLst>
              <a:ext uri="{FF2B5EF4-FFF2-40B4-BE49-F238E27FC236}">
                <a16:creationId xmlns:a16="http://schemas.microsoft.com/office/drawing/2014/main" id="{DAA2A743-1C2F-A1F4-4329-A930E14CFB7E}"/>
              </a:ext>
            </a:extLst>
          </p:cNvPr>
          <p:cNvSpPr txBox="1">
            <a:spLocks/>
          </p:cNvSpPr>
          <p:nvPr/>
        </p:nvSpPr>
        <p:spPr>
          <a:xfrm>
            <a:off x="565837" y="1436315"/>
            <a:ext cx="2441864" cy="279757"/>
          </a:xfrm>
          <a:prstGeom prst="rect">
            <a:avLst/>
          </a:prstGeom>
        </p:spPr>
        <p:txBody>
          <a:bodyPr vert="horz" lIns="91440" tIns="45720" rIns="91440" bIns="45720" rtlCol="0" anchor="ctr" anchorCtr="0">
            <a:noAutofit/>
          </a:bodyPr>
          <a:lstStyle>
            <a:lvl1pPr marL="0" indent="0" algn="ctr" defTabSz="685783" rtl="0" eaLnBrk="1" latinLnBrk="0" hangingPunct="1">
              <a:lnSpc>
                <a:spcPct val="90000"/>
              </a:lnSpc>
              <a:spcBef>
                <a:spcPts val="750"/>
              </a:spcBef>
              <a:buFont typeface="Arial" panose="020B0604020202020204" pitchFamily="34" charset="0"/>
              <a:buNone/>
              <a:defRPr sz="1300" kern="1200" spc="100" baseline="0">
                <a:solidFill>
                  <a:schemeClr val="tx2"/>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200" b="1" noProof="0">
                <a:solidFill>
                  <a:schemeClr val="accent1"/>
                </a:solidFill>
              </a:rPr>
              <a:t>WSME journey across two lenses</a:t>
            </a:r>
            <a:endParaRPr lang="en-US" sz="1200" noProof="0">
              <a:solidFill>
                <a:schemeClr val="accent1"/>
              </a:solidFill>
            </a:endParaRPr>
          </a:p>
        </p:txBody>
      </p:sp>
      <p:sp>
        <p:nvSpPr>
          <p:cNvPr id="53" name="Rectangle: Rounded Corners 52">
            <a:extLst>
              <a:ext uri="{FF2B5EF4-FFF2-40B4-BE49-F238E27FC236}">
                <a16:creationId xmlns:a16="http://schemas.microsoft.com/office/drawing/2014/main" id="{F5F8909C-D77B-2AEE-8360-F151AF448465}"/>
              </a:ext>
            </a:extLst>
          </p:cNvPr>
          <p:cNvSpPr/>
          <p:nvPr/>
        </p:nvSpPr>
        <p:spPr>
          <a:xfrm>
            <a:off x="483422" y="1824957"/>
            <a:ext cx="2573772" cy="24026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ifecycle lens</a:t>
            </a:r>
          </a:p>
        </p:txBody>
      </p:sp>
      <p:sp>
        <p:nvSpPr>
          <p:cNvPr id="38" name="Text Placeholder 7">
            <a:extLst>
              <a:ext uri="{FF2B5EF4-FFF2-40B4-BE49-F238E27FC236}">
                <a16:creationId xmlns:a16="http://schemas.microsoft.com/office/drawing/2014/main" id="{1849BA36-E967-8AF4-8118-3F4E12CF5E73}"/>
              </a:ext>
            </a:extLst>
          </p:cNvPr>
          <p:cNvSpPr txBox="1">
            <a:spLocks/>
          </p:cNvSpPr>
          <p:nvPr/>
        </p:nvSpPr>
        <p:spPr>
          <a:xfrm>
            <a:off x="1425254" y="636473"/>
            <a:ext cx="694944" cy="694944"/>
          </a:xfrm>
          <a:prstGeom prst="ellipse">
            <a:avLst/>
          </a:prstGeom>
          <a:solidFill>
            <a:schemeClr val="accent1"/>
          </a:solidFill>
        </p:spPr>
        <p:txBody>
          <a:bodyPr vert="horz" lIns="91440" tIns="45720" rIns="91440" bIns="45720" rtlCol="0" anchor="ctr">
            <a:normAutofit/>
          </a:bodyPr>
          <a:lstStyle>
            <a:lvl1pPr marL="0" indent="0" algn="ctr" defTabSz="685783" rtl="0" eaLnBrk="1" latinLnBrk="0" hangingPunct="1">
              <a:lnSpc>
                <a:spcPct val="90000"/>
              </a:lnSpc>
              <a:spcBef>
                <a:spcPts val="750"/>
              </a:spcBef>
              <a:buFont typeface="Arial" panose="020B0604020202020204" pitchFamily="34" charset="0"/>
              <a:buNone/>
              <a:defRPr sz="1100" b="0" i="1" kern="1200">
                <a:solidFill>
                  <a:schemeClr val="bg1"/>
                </a:solidFill>
                <a:latin typeface="Lato Medium" panose="020F0502020204030203" pitchFamily="34" charset="77"/>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t> </a:t>
            </a:r>
          </a:p>
        </p:txBody>
      </p:sp>
      <p:pic>
        <p:nvPicPr>
          <p:cNvPr id="50" name="Graphic 49">
            <a:extLst>
              <a:ext uri="{FF2B5EF4-FFF2-40B4-BE49-F238E27FC236}">
                <a16:creationId xmlns:a16="http://schemas.microsoft.com/office/drawing/2014/main" id="{EC89F672-0EA6-C30D-0014-B23A0FFFF578}"/>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1548205" y="780517"/>
            <a:ext cx="481965" cy="429578"/>
          </a:xfrm>
          <a:prstGeom prst="rect">
            <a:avLst/>
          </a:prstGeom>
        </p:spPr>
      </p:pic>
      <p:sp>
        <p:nvSpPr>
          <p:cNvPr id="2" name="CuadroTexto 1">
            <a:extLst>
              <a:ext uri="{FF2B5EF4-FFF2-40B4-BE49-F238E27FC236}">
                <a16:creationId xmlns:a16="http://schemas.microsoft.com/office/drawing/2014/main" id="{9972B2C0-0EB6-9FB4-4146-D787CF2EDD76}"/>
              </a:ext>
            </a:extLst>
          </p:cNvPr>
          <p:cNvSpPr txBox="1"/>
          <p:nvPr/>
        </p:nvSpPr>
        <p:spPr>
          <a:xfrm>
            <a:off x="-452437" y="2468562"/>
            <a:ext cx="2743199" cy="36575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s-ES"/>
          </a:p>
        </p:txBody>
      </p:sp>
    </p:spTree>
    <p:extLst>
      <p:ext uri="{BB962C8B-B14F-4D97-AF65-F5344CB8AC3E}">
        <p14:creationId xmlns:p14="http://schemas.microsoft.com/office/powerpoint/2010/main" val="25551140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FB8308-35DE-438B-8CF0-80EB053225AE}"/>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82E51586-B7E7-00D4-AD74-D6328DE69F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12" name="think-cell data - do not delete" hidden="1">
                        <a:extLst>
                          <a:ext uri="{FF2B5EF4-FFF2-40B4-BE49-F238E27FC236}">
                            <a16:creationId xmlns:a16="http://schemas.microsoft.com/office/drawing/2014/main" id="{82E51586-B7E7-00D4-AD74-D6328DE69F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EE608F95-0627-4AD7-4235-9AB1058FD8F7}"/>
              </a:ext>
            </a:extLst>
          </p:cNvPr>
          <p:cNvSpPr>
            <a:spLocks noGrp="1"/>
          </p:cNvSpPr>
          <p:nvPr>
            <p:ph type="body" sz="quarter" idx="27"/>
          </p:nvPr>
        </p:nvSpPr>
        <p:spPr>
          <a:xfrm>
            <a:off x="206574" y="58653"/>
            <a:ext cx="8480226" cy="429768"/>
          </a:xfrm>
        </p:spPr>
        <p:txBody>
          <a:bodyPr>
            <a:noAutofit/>
          </a:bodyPr>
          <a:lstStyle/>
          <a:p>
            <a:r>
              <a:rPr lang="en-US" noProof="0"/>
              <a:t>The analysis resulted in an online database that mapped 19 WSME product and service categories profiling 58 good practice examples from FSPs and</a:t>
            </a:r>
            <a:r>
              <a:rPr lang="en-US"/>
              <a:t> two case studies</a:t>
            </a:r>
            <a:endParaRPr lang="en-US" noProof="0"/>
          </a:p>
        </p:txBody>
      </p:sp>
      <p:sp>
        <p:nvSpPr>
          <p:cNvPr id="4" name="Slide Number Placeholder 3">
            <a:extLst>
              <a:ext uri="{FF2B5EF4-FFF2-40B4-BE49-F238E27FC236}">
                <a16:creationId xmlns:a16="http://schemas.microsoft.com/office/drawing/2014/main" id="{9A2ECA21-376B-8737-F99E-047BDB836416}"/>
              </a:ext>
            </a:extLst>
          </p:cNvPr>
          <p:cNvSpPr>
            <a:spLocks noGrp="1"/>
          </p:cNvSpPr>
          <p:nvPr>
            <p:ph type="sldNum" sz="quarter" idx="4294967295"/>
          </p:nvPr>
        </p:nvSpPr>
        <p:spPr>
          <a:xfrm>
            <a:off x="8729560" y="4911474"/>
            <a:ext cx="342581" cy="96296"/>
          </a:xfrm>
        </p:spPr>
        <p:txBody>
          <a:bodyPr/>
          <a:lstStyle/>
          <a:p>
            <a:fld id="{A90607E6-BCED-4FC1-A345-AB2A307AB80F}" type="slidenum">
              <a:rPr lang="en-US" sz="700" b="1" noProof="0" smtClean="0"/>
              <a:pPr/>
              <a:t>7</a:t>
            </a:fld>
            <a:endParaRPr lang="en-US" b="1" noProof="0"/>
          </a:p>
        </p:txBody>
      </p:sp>
      <p:sp>
        <p:nvSpPr>
          <p:cNvPr id="22" name="TextBox 21">
            <a:extLst>
              <a:ext uri="{FF2B5EF4-FFF2-40B4-BE49-F238E27FC236}">
                <a16:creationId xmlns:a16="http://schemas.microsoft.com/office/drawing/2014/main" id="{1E22557D-57BA-9C93-D1C1-325F5EE6ACA6}"/>
              </a:ext>
            </a:extLst>
          </p:cNvPr>
          <p:cNvSpPr txBox="1"/>
          <p:nvPr/>
        </p:nvSpPr>
        <p:spPr>
          <a:xfrm>
            <a:off x="5630982" y="4682623"/>
            <a:ext cx="2725361" cy="276999"/>
          </a:xfrm>
          <a:prstGeom prst="rect">
            <a:avLst/>
          </a:prstGeom>
          <a:noFill/>
        </p:spPr>
        <p:txBody>
          <a:bodyPr wrap="square">
            <a:spAutoFit/>
          </a:bodyPr>
          <a:lstStyle/>
          <a:p>
            <a:pPr algn="ctr">
              <a:spcAft>
                <a:spcPts val="300"/>
              </a:spcAft>
            </a:pPr>
            <a:r>
              <a:rPr lang="en-US" sz="1200" b="1">
                <a:solidFill>
                  <a:schemeClr val="accent2"/>
                </a:solidFill>
              </a:rPr>
              <a:t>Case Studies – Wema Bank and Itaú</a:t>
            </a:r>
            <a:endParaRPr lang="en-US" sz="1000">
              <a:solidFill>
                <a:schemeClr val="accent2"/>
              </a:solidFill>
            </a:endParaRPr>
          </a:p>
        </p:txBody>
      </p:sp>
      <p:pic>
        <p:nvPicPr>
          <p:cNvPr id="2" name="Imagen 148">
            <a:extLst>
              <a:ext uri="{FF2B5EF4-FFF2-40B4-BE49-F238E27FC236}">
                <a16:creationId xmlns:a16="http://schemas.microsoft.com/office/drawing/2014/main" id="{9DEA337E-AC1D-82EA-0C86-F57418D99CEE}"/>
              </a:ext>
            </a:extLst>
          </p:cNvPr>
          <p:cNvPicPr>
            <a:picLocks noChangeAspect="1"/>
          </p:cNvPicPr>
          <p:nvPr/>
        </p:nvPicPr>
        <p:blipFill>
          <a:blip r:embed="rId6"/>
          <a:srcRect r="66185" b="5269"/>
          <a:stretch>
            <a:fillRect/>
          </a:stretch>
        </p:blipFill>
        <p:spPr>
          <a:xfrm>
            <a:off x="8601679" y="4778619"/>
            <a:ext cx="255761" cy="263364"/>
          </a:xfrm>
          <a:prstGeom prst="rect">
            <a:avLst/>
          </a:prstGeom>
        </p:spPr>
      </p:pic>
      <p:sp>
        <p:nvSpPr>
          <p:cNvPr id="10" name="TextBox 9">
            <a:extLst>
              <a:ext uri="{FF2B5EF4-FFF2-40B4-BE49-F238E27FC236}">
                <a16:creationId xmlns:a16="http://schemas.microsoft.com/office/drawing/2014/main" id="{78C8CAF8-C416-E994-FE5E-0C649A636A6A}"/>
              </a:ext>
            </a:extLst>
          </p:cNvPr>
          <p:cNvSpPr txBox="1"/>
          <p:nvPr/>
        </p:nvSpPr>
        <p:spPr>
          <a:xfrm>
            <a:off x="1435862" y="4682623"/>
            <a:ext cx="2156038" cy="276999"/>
          </a:xfrm>
          <a:prstGeom prst="rect">
            <a:avLst/>
          </a:prstGeom>
          <a:noFill/>
        </p:spPr>
        <p:txBody>
          <a:bodyPr wrap="square">
            <a:spAutoFit/>
          </a:bodyPr>
          <a:lstStyle/>
          <a:p>
            <a:pPr algn="ctr">
              <a:spcAft>
                <a:spcPts val="300"/>
              </a:spcAft>
            </a:pPr>
            <a:r>
              <a:rPr lang="en-US" sz="1200" b="1">
                <a:solidFill>
                  <a:schemeClr val="accent2"/>
                </a:solidFill>
              </a:rPr>
              <a:t>We-Fi Online Database</a:t>
            </a:r>
            <a:endParaRPr lang="en-US" sz="1000">
              <a:solidFill>
                <a:schemeClr val="accent2"/>
              </a:solidFill>
            </a:endParaRPr>
          </a:p>
        </p:txBody>
      </p:sp>
      <p:pic>
        <p:nvPicPr>
          <p:cNvPr id="15" name="Picture 14">
            <a:extLst>
              <a:ext uri="{FF2B5EF4-FFF2-40B4-BE49-F238E27FC236}">
                <a16:creationId xmlns:a16="http://schemas.microsoft.com/office/drawing/2014/main" id="{F6ACD159-CAAB-5CC4-468A-D8798558A6C5}"/>
              </a:ext>
            </a:extLst>
          </p:cNvPr>
          <p:cNvPicPr>
            <a:picLocks noChangeAspect="1"/>
          </p:cNvPicPr>
          <p:nvPr/>
        </p:nvPicPr>
        <p:blipFill>
          <a:blip r:embed="rId7"/>
          <a:stretch>
            <a:fillRect/>
          </a:stretch>
        </p:blipFill>
        <p:spPr>
          <a:xfrm>
            <a:off x="6779433" y="840904"/>
            <a:ext cx="1721525" cy="3069252"/>
          </a:xfrm>
          <a:prstGeom prst="rect">
            <a:avLst/>
          </a:prstGeom>
          <a:effectLst>
            <a:outerShdw blurRad="50800" dist="38100" dir="5400000" algn="t" rotWithShape="0">
              <a:prstClr val="black">
                <a:alpha val="40000"/>
              </a:prstClr>
            </a:outerShdw>
          </a:effectLst>
        </p:spPr>
      </p:pic>
      <p:pic>
        <p:nvPicPr>
          <p:cNvPr id="17" name="Picture 16">
            <a:extLst>
              <a:ext uri="{FF2B5EF4-FFF2-40B4-BE49-F238E27FC236}">
                <a16:creationId xmlns:a16="http://schemas.microsoft.com/office/drawing/2014/main" id="{3619487E-DF47-578D-ECA7-1E043C80773E}"/>
              </a:ext>
            </a:extLst>
          </p:cNvPr>
          <p:cNvPicPr>
            <a:picLocks noChangeAspect="1"/>
          </p:cNvPicPr>
          <p:nvPr/>
        </p:nvPicPr>
        <p:blipFill>
          <a:blip r:embed="rId8"/>
          <a:stretch>
            <a:fillRect/>
          </a:stretch>
        </p:blipFill>
        <p:spPr>
          <a:xfrm>
            <a:off x="5630982" y="1503187"/>
            <a:ext cx="1739011" cy="3069252"/>
          </a:xfrm>
          <a:prstGeom prst="rect">
            <a:avLst/>
          </a:prstGeom>
          <a:effectLst>
            <a:outerShdw blurRad="50800" dist="38100" dir="5400000" algn="t" rotWithShape="0">
              <a:prstClr val="black">
                <a:alpha val="40000"/>
              </a:prstClr>
            </a:outerShdw>
          </a:effectLst>
        </p:spPr>
      </p:pic>
      <p:pic>
        <p:nvPicPr>
          <p:cNvPr id="24" name="Picture 23">
            <a:extLst>
              <a:ext uri="{FF2B5EF4-FFF2-40B4-BE49-F238E27FC236}">
                <a16:creationId xmlns:a16="http://schemas.microsoft.com/office/drawing/2014/main" id="{5EDDFABC-545E-2F28-98FD-0CC81FD680E6}"/>
              </a:ext>
            </a:extLst>
          </p:cNvPr>
          <p:cNvPicPr>
            <a:picLocks noChangeAspect="1"/>
          </p:cNvPicPr>
          <p:nvPr/>
        </p:nvPicPr>
        <p:blipFill>
          <a:blip r:embed="rId9"/>
          <a:stretch>
            <a:fillRect/>
          </a:stretch>
        </p:blipFill>
        <p:spPr>
          <a:xfrm>
            <a:off x="206574" y="661144"/>
            <a:ext cx="4850582" cy="3944751"/>
          </a:xfrm>
          <a:prstGeom prst="rect">
            <a:avLst/>
          </a:prstGeom>
        </p:spPr>
      </p:pic>
    </p:spTree>
    <p:extLst>
      <p:ext uri="{BB962C8B-B14F-4D97-AF65-F5344CB8AC3E}">
        <p14:creationId xmlns:p14="http://schemas.microsoft.com/office/powerpoint/2010/main" val="16995975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DBDDAE-0113-722C-254A-A99609968938}"/>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6240C2-3CA7-CB64-E410-3FB49DC530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2" name="think-cell data - do not delete" hidden="1">
                        <a:extLst>
                          <a:ext uri="{FF2B5EF4-FFF2-40B4-BE49-F238E27FC236}">
                            <a16:creationId xmlns:a16="http://schemas.microsoft.com/office/drawing/2014/main" id="{396240C2-3CA7-CB64-E410-3FB49DC530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EFB566E8-939B-AC95-B7BE-32759094476F}"/>
              </a:ext>
            </a:extLst>
          </p:cNvPr>
          <p:cNvSpPr>
            <a:spLocks noGrp="1"/>
          </p:cNvSpPr>
          <p:nvPr>
            <p:ph type="body" sz="quarter" idx="27"/>
          </p:nvPr>
        </p:nvSpPr>
        <p:spPr>
          <a:xfrm>
            <a:off x="206574" y="58653"/>
            <a:ext cx="8071518" cy="429768"/>
          </a:xfrm>
        </p:spPr>
        <p:txBody>
          <a:bodyPr>
            <a:noAutofit/>
          </a:bodyPr>
          <a:lstStyle/>
          <a:p>
            <a:r>
              <a:rPr lang="en-US"/>
              <a:t>WSME products vary by lifecycle stage, but consistently aim to address a core set of recurring challenges</a:t>
            </a:r>
            <a:endParaRPr lang="en-US" noProof="0"/>
          </a:p>
        </p:txBody>
      </p:sp>
      <p:sp>
        <p:nvSpPr>
          <p:cNvPr id="4" name="Slide Number Placeholder 3">
            <a:extLst>
              <a:ext uri="{FF2B5EF4-FFF2-40B4-BE49-F238E27FC236}">
                <a16:creationId xmlns:a16="http://schemas.microsoft.com/office/drawing/2014/main" id="{1E56779F-83B5-C11A-22DF-84FF4676FE17}"/>
              </a:ext>
            </a:extLst>
          </p:cNvPr>
          <p:cNvSpPr>
            <a:spLocks noGrp="1"/>
          </p:cNvSpPr>
          <p:nvPr>
            <p:ph type="sldNum" sz="quarter" idx="4294967295"/>
          </p:nvPr>
        </p:nvSpPr>
        <p:spPr>
          <a:xfrm>
            <a:off x="8729560" y="4911474"/>
            <a:ext cx="342581" cy="96296"/>
          </a:xfrm>
        </p:spPr>
        <p:txBody>
          <a:bodyPr/>
          <a:lstStyle/>
          <a:p>
            <a:fld id="{A90607E6-BCED-4FC1-A345-AB2A307AB80F}" type="slidenum">
              <a:rPr lang="en-US" sz="700" b="1" noProof="0" smtClean="0"/>
              <a:pPr/>
              <a:t>8</a:t>
            </a:fld>
            <a:endParaRPr lang="en-US" b="1" noProof="0"/>
          </a:p>
        </p:txBody>
      </p:sp>
      <p:graphicFrame>
        <p:nvGraphicFramePr>
          <p:cNvPr id="5" name="Table 4">
            <a:extLst>
              <a:ext uri="{FF2B5EF4-FFF2-40B4-BE49-F238E27FC236}">
                <a16:creationId xmlns:a16="http://schemas.microsoft.com/office/drawing/2014/main" id="{4368074D-B52F-1372-CF69-D771975619B8}"/>
              </a:ext>
            </a:extLst>
          </p:cNvPr>
          <p:cNvGraphicFramePr>
            <a:graphicFrameLocks noGrp="1"/>
          </p:cNvGraphicFramePr>
          <p:nvPr>
            <p:extLst>
              <p:ext uri="{D42A27DB-BD31-4B8C-83A1-F6EECF244321}">
                <p14:modId xmlns:p14="http://schemas.microsoft.com/office/powerpoint/2010/main" val="2435439947"/>
              </p:ext>
            </p:extLst>
          </p:nvPr>
        </p:nvGraphicFramePr>
        <p:xfrm>
          <a:off x="311727" y="747577"/>
          <a:ext cx="8183949" cy="3932658"/>
        </p:xfrm>
        <a:graphic>
          <a:graphicData uri="http://schemas.openxmlformats.org/drawingml/2006/table">
            <a:tbl>
              <a:tblPr firstRow="1" bandRow="1">
                <a:tableStyleId>{5940675A-B579-460E-94D1-54222C63F5DA}</a:tableStyleId>
              </a:tblPr>
              <a:tblGrid>
                <a:gridCol w="1572491">
                  <a:extLst>
                    <a:ext uri="{9D8B030D-6E8A-4147-A177-3AD203B41FA5}">
                      <a16:colId xmlns:a16="http://schemas.microsoft.com/office/drawing/2014/main" val="3088811464"/>
                    </a:ext>
                  </a:extLst>
                </a:gridCol>
                <a:gridCol w="3250311">
                  <a:extLst>
                    <a:ext uri="{9D8B030D-6E8A-4147-A177-3AD203B41FA5}">
                      <a16:colId xmlns:a16="http://schemas.microsoft.com/office/drawing/2014/main" val="3408642707"/>
                    </a:ext>
                  </a:extLst>
                </a:gridCol>
                <a:gridCol w="3361147">
                  <a:extLst>
                    <a:ext uri="{9D8B030D-6E8A-4147-A177-3AD203B41FA5}">
                      <a16:colId xmlns:a16="http://schemas.microsoft.com/office/drawing/2014/main" val="3429650956"/>
                    </a:ext>
                  </a:extLst>
                </a:gridCol>
              </a:tblGrid>
              <a:tr h="286826">
                <a:tc>
                  <a:txBody>
                    <a:bodyPr/>
                    <a:lstStyle/>
                    <a:p>
                      <a:pPr algn="ctr" rtl="0"/>
                      <a:r>
                        <a:rPr lang="en-US" sz="1000" b="1" noProof="0">
                          <a:solidFill>
                            <a:schemeClr val="tx1"/>
                          </a:solidFill>
                        </a:rPr>
                        <a:t>Lifecycle stage</a:t>
                      </a:r>
                    </a:p>
                  </a:txBody>
                  <a:tcPr anchor="ctr">
                    <a:lnL w="12700" cap="flat" cmpd="sng" algn="ctr">
                      <a:solidFill>
                        <a:schemeClr val="bg1">
                          <a:lumMod val="50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rtl="0"/>
                      <a:r>
                        <a:rPr lang="en-US" sz="1000" b="1" noProof="0">
                          <a:solidFill>
                            <a:schemeClr val="tx1"/>
                          </a:solidFill>
                        </a:rPr>
                        <a:t>Product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rtl="0"/>
                      <a:r>
                        <a:rPr lang="en-US" sz="1000" b="1" noProof="0">
                          <a:solidFill>
                            <a:schemeClr val="tx1"/>
                          </a:solidFill>
                        </a:rPr>
                        <a:t>Main WSME challenge they respond to</a:t>
                      </a:r>
                    </a:p>
                  </a:txBody>
                  <a:tcPr anchor="ctr">
                    <a:lnL w="6350" cap="flat" cmpd="sng" algn="ctr">
                      <a:solidFill>
                        <a:schemeClr val="bg1">
                          <a:lumMod val="8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78980806"/>
                  </a:ext>
                </a:extLst>
              </a:tr>
              <a:tr h="179265">
                <a:tc rowSpan="3">
                  <a:txBody>
                    <a:bodyPr/>
                    <a:lstStyle/>
                    <a:p>
                      <a:pPr marL="45720" algn="l" rtl="0"/>
                      <a:r>
                        <a:rPr lang="en-US" sz="1100" b="1" i="0" noProof="0">
                          <a:solidFill>
                            <a:schemeClr val="tx1"/>
                          </a:solidFill>
                        </a:rPr>
                        <a:t>Pre-entrepreneurship</a:t>
                      </a:r>
                    </a:p>
                    <a:p>
                      <a:pPr marL="45720" algn="l" rtl="0"/>
                      <a:endParaRPr lang="en-US" sz="1100" b="1" i="0" noProof="0">
                        <a:solidFill>
                          <a:schemeClr val="tx1"/>
                        </a:solidFill>
                      </a:endParaRPr>
                    </a:p>
                    <a:p>
                      <a:pPr marL="45720" algn="l" rtl="0"/>
                      <a:endParaRPr lang="en-US" sz="1100" b="1" i="0" noProof="0">
                        <a:solidFill>
                          <a:schemeClr val="tx1"/>
                        </a:solidFill>
                      </a:endParaRPr>
                    </a:p>
                    <a:p>
                      <a:pPr marL="45720" algn="l" rtl="0"/>
                      <a:endParaRPr lang="en-US" sz="1100" b="1" i="0" noProof="0">
                        <a:solidFill>
                          <a:schemeClr val="tx1"/>
                        </a:solidFill>
                      </a:endParaRPr>
                    </a:p>
                  </a:txBody>
                  <a:tcPr marL="45720" marR="0" marT="0" marB="0" anchor="ctr">
                    <a:lnL w="12700" cap="flat" cmpd="sng" algn="ctr">
                      <a:solidFill>
                        <a:schemeClr val="bg1">
                          <a:lumMod val="50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lumMod val="20000"/>
                        <a:lumOff val="80000"/>
                      </a:schemeClr>
                    </a:solidFill>
                  </a:tcPr>
                </a:tc>
                <a:tc>
                  <a:txBody>
                    <a:bodyPr/>
                    <a:lstStyle/>
                    <a:p>
                      <a:pPr marL="91440" algn="l" rtl="0" fontAlgn="ctr">
                        <a:buNone/>
                      </a:pPr>
                      <a:r>
                        <a:rPr lang="en-US" sz="1000" b="0" i="0" u="none" strike="noStrike" noProof="0">
                          <a:solidFill>
                            <a:srgbClr val="000000"/>
                          </a:solidFill>
                          <a:effectLst/>
                          <a:latin typeface="+mj-lt"/>
                        </a:rPr>
                        <a:t>WSME marketing campaigns </a:t>
                      </a:r>
                    </a:p>
                  </a:txBody>
                  <a:tcPr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rowSpan="2">
                  <a:txBody>
                    <a:bodyPr/>
                    <a:lstStyle/>
                    <a:p>
                      <a:pPr algn="l" rtl="0" fontAlgn="ctr">
                        <a:buNone/>
                      </a:pPr>
                      <a:r>
                        <a:rPr lang="en-US" sz="1000" b="0" i="1" u="none" strike="noStrike" noProof="0">
                          <a:solidFill>
                            <a:srgbClr val="000000"/>
                          </a:solidFill>
                          <a:effectLst/>
                          <a:latin typeface="+mj-lt"/>
                        </a:rPr>
                        <a:t>Limited awareness and financial literacy</a:t>
                      </a:r>
                    </a:p>
                  </a:txBody>
                  <a:tcPr marR="0" marT="0" marB="0" anchor="ctr">
                    <a:lnL w="6350" cap="flat" cmpd="sng" algn="ctr">
                      <a:solidFill>
                        <a:schemeClr val="bg1">
                          <a:lumMod val="8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90652155"/>
                  </a:ext>
                </a:extLst>
              </a:tr>
              <a:tr h="179265">
                <a:tc vMerge="1">
                  <a:txBody>
                    <a:bodyPr/>
                    <a:lstStyle/>
                    <a:p>
                      <a:pPr algn="ctr" rtl="0"/>
                      <a:endParaRPr lang="en-US" sz="1000" noProof="0">
                        <a:solidFill>
                          <a:schemeClr val="tx1"/>
                        </a:solidFill>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algn="l" rtl="0" fontAlgn="ctr">
                        <a:buNone/>
                      </a:pPr>
                      <a:r>
                        <a:rPr lang="en-US" sz="1000" b="0" i="0" u="none" strike="noStrike" noProof="0">
                          <a:solidFill>
                            <a:srgbClr val="000000"/>
                          </a:solidFill>
                          <a:effectLst/>
                          <a:latin typeface="+mj-lt"/>
                        </a:rPr>
                        <a:t>Early engagement and knowledge services</a:t>
                      </a:r>
                    </a:p>
                  </a:txBody>
                  <a:tcPr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vMerge="1">
                  <a:txBody>
                    <a:bodyPr/>
                    <a:lstStyle/>
                    <a:p>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063566223"/>
                  </a:ext>
                </a:extLst>
              </a:tr>
              <a:tr h="286297">
                <a:tc vMerge="1">
                  <a:txBody>
                    <a:bodyPr/>
                    <a:lstStyle/>
                    <a:p>
                      <a:pPr algn="ctr" rtl="0"/>
                      <a:endParaRPr lang="en-US" sz="1000" noProof="0">
                        <a:solidFill>
                          <a:schemeClr val="tx1"/>
                        </a:solidFill>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algn="l" rtl="0" fontAlgn="ctr">
                        <a:buNone/>
                      </a:pPr>
                      <a:r>
                        <a:rPr lang="en-US" sz="1000" b="0" i="0" u="none" strike="noStrike" noProof="0">
                          <a:solidFill>
                            <a:srgbClr val="000000"/>
                          </a:solidFill>
                          <a:effectLst/>
                          <a:latin typeface="+mj-lt"/>
                        </a:rPr>
                        <a:t>Gender-smart savings accounts</a:t>
                      </a:r>
                    </a:p>
                  </a:txBody>
                  <a:tcPr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rtl="0" fontAlgn="ctr">
                        <a:buNone/>
                      </a:pPr>
                      <a:r>
                        <a:rPr lang="en-US" sz="1000" b="0" i="1" u="none" strike="noStrike" noProof="0">
                          <a:solidFill>
                            <a:srgbClr val="000000"/>
                          </a:solidFill>
                          <a:effectLst/>
                          <a:latin typeface="+mj-lt"/>
                        </a:rPr>
                        <a:t>Product and service mismatch</a:t>
                      </a:r>
                    </a:p>
                  </a:txBody>
                  <a:tcPr marR="0" marT="0" marB="0" anchor="ctr">
                    <a:lnL w="6350" cap="flat" cmpd="sng" algn="ctr">
                      <a:solidFill>
                        <a:schemeClr val="bg1">
                          <a:lumMod val="8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21467257"/>
                  </a:ext>
                </a:extLst>
              </a:tr>
              <a:tr h="179265">
                <a:tc rowSpan="3">
                  <a:txBody>
                    <a:bodyPr/>
                    <a:lstStyle/>
                    <a:p>
                      <a:pPr marL="45720" algn="l" rtl="0"/>
                      <a:r>
                        <a:rPr lang="en-US" sz="1100" b="1" i="0" noProof="0">
                          <a:solidFill>
                            <a:schemeClr val="tx1"/>
                          </a:solidFill>
                        </a:rPr>
                        <a:t>Start-up</a:t>
                      </a:r>
                    </a:p>
                  </a:txBody>
                  <a:tcPr marL="45720" marR="0" marT="0" marB="0" anchor="ctr">
                    <a:lnL w="12700" cap="flat" cmpd="sng" algn="ctr">
                      <a:solidFill>
                        <a:schemeClr val="bg1">
                          <a:lumMod val="50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marL="91440" algn="l" rtl="0" fontAlgn="ctr">
                        <a:buNone/>
                      </a:pPr>
                      <a:r>
                        <a:rPr lang="en-US" sz="1000" b="0" i="0" u="none" strike="noStrike" noProof="0">
                          <a:solidFill>
                            <a:srgbClr val="000000"/>
                          </a:solidFill>
                          <a:effectLst/>
                          <a:latin typeface="+mj-lt"/>
                        </a:rPr>
                        <a:t>Preferential credit terms</a:t>
                      </a:r>
                    </a:p>
                  </a:txBody>
                  <a:tcPr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buNone/>
                      </a:pPr>
                      <a:r>
                        <a:rPr lang="en-US" sz="1000" b="0" i="1" u="none" strike="noStrike" noProof="0">
                          <a:solidFill>
                            <a:srgbClr val="000000"/>
                          </a:solidFill>
                          <a:effectLst/>
                          <a:latin typeface="+mj-lt"/>
                        </a:rPr>
                        <a:t>Gender bias in risk assessment</a:t>
                      </a:r>
                    </a:p>
                  </a:txBody>
                  <a:tcPr marR="0" marT="0" marB="0" anchor="ctr">
                    <a:lnL w="6350" cap="flat" cmpd="sng" algn="ctr">
                      <a:solidFill>
                        <a:schemeClr val="bg1">
                          <a:lumMod val="8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7935033"/>
                  </a:ext>
                </a:extLst>
              </a:tr>
              <a:tr h="179265">
                <a:tc vMerge="1">
                  <a:txBody>
                    <a:bodyPr/>
                    <a:lstStyle/>
                    <a:p>
                      <a:endParaRPr lang="en-US"/>
                    </a:p>
                  </a:txBody>
                  <a:tcPr/>
                </a:tc>
                <a:tc>
                  <a:txBody>
                    <a:bodyPr/>
                    <a:lstStyle/>
                    <a:p>
                      <a:pPr marL="91440" algn="l" rtl="0" fontAlgn="ctr">
                        <a:buNone/>
                      </a:pPr>
                      <a:r>
                        <a:rPr lang="en-US" sz="1000" b="0" i="0" u="none" strike="noStrike" noProof="0">
                          <a:solidFill>
                            <a:srgbClr val="000000"/>
                          </a:solidFill>
                          <a:effectLst/>
                          <a:latin typeface="+mj-lt"/>
                        </a:rPr>
                        <a:t>Credit solutions without traditional collateral</a:t>
                      </a:r>
                    </a:p>
                  </a:txBody>
                  <a:tcPr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buNone/>
                      </a:pPr>
                      <a:r>
                        <a:rPr lang="en-US" sz="1000" b="0" i="1" u="none" strike="noStrike" noProof="0">
                          <a:solidFill>
                            <a:srgbClr val="000000"/>
                          </a:solidFill>
                          <a:effectLst/>
                          <a:latin typeface="+mj-lt"/>
                        </a:rPr>
                        <a:t>Collateral and credit history constraints</a:t>
                      </a:r>
                    </a:p>
                  </a:txBody>
                  <a:tcPr marR="0" marT="0" marB="0" anchor="ctr">
                    <a:lnL w="6350" cap="flat" cmpd="sng" algn="ctr">
                      <a:solidFill>
                        <a:schemeClr val="bg1">
                          <a:lumMod val="8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06799003"/>
                  </a:ext>
                </a:extLst>
              </a:tr>
              <a:tr h="286297">
                <a:tc vMerge="1">
                  <a:txBody>
                    <a:bodyPr/>
                    <a:lstStyle/>
                    <a:p>
                      <a:pPr algn="ctr" rtl="0"/>
                      <a:endParaRPr lang="en-US" sz="1000" noProof="0">
                        <a:solidFill>
                          <a:schemeClr val="tx1"/>
                        </a:solidFill>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algn="l" rtl="0" fontAlgn="ctr">
                        <a:buNone/>
                      </a:pPr>
                      <a:r>
                        <a:rPr lang="en-US" sz="1000" b="0" i="0" u="none" strike="noStrike" noProof="0">
                          <a:solidFill>
                            <a:srgbClr val="000000"/>
                          </a:solidFill>
                          <a:effectLst/>
                          <a:latin typeface="+mj-lt"/>
                        </a:rPr>
                        <a:t>Education and training for WSMEs</a:t>
                      </a:r>
                    </a:p>
                  </a:txBody>
                  <a:tcPr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rtl="0" fontAlgn="ctr">
                        <a:buNone/>
                      </a:pPr>
                      <a:r>
                        <a:rPr lang="en-US" sz="1000" b="0" i="1" u="none" strike="noStrike" noProof="0">
                          <a:solidFill>
                            <a:srgbClr val="000000"/>
                          </a:solidFill>
                          <a:effectLst/>
                          <a:latin typeface="+mj-lt"/>
                        </a:rPr>
                        <a:t>Relationship and support deficit</a:t>
                      </a:r>
                    </a:p>
                  </a:txBody>
                  <a:tcPr marR="0" marT="0" marB="0" anchor="ctr">
                    <a:lnL w="6350" cap="flat" cmpd="sng" algn="ctr">
                      <a:solidFill>
                        <a:schemeClr val="bg1">
                          <a:lumMod val="8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66821671"/>
                  </a:ext>
                </a:extLst>
              </a:tr>
              <a:tr h="179265">
                <a:tc rowSpan="7">
                  <a:txBody>
                    <a:bodyPr/>
                    <a:lstStyle/>
                    <a:p>
                      <a:pPr marL="45720" algn="l" rtl="0"/>
                      <a:r>
                        <a:rPr lang="en-US" sz="1100" b="1" i="0" noProof="0">
                          <a:solidFill>
                            <a:schemeClr val="tx1"/>
                          </a:solidFill>
                        </a:rPr>
                        <a:t>Early growth</a:t>
                      </a:r>
                    </a:p>
                  </a:txBody>
                  <a:tcPr marL="45720" marR="0" marT="0" marB="0" anchor="ctr">
                    <a:lnL w="12700" cap="flat" cmpd="sng" algn="ctr">
                      <a:solidFill>
                        <a:schemeClr val="bg1">
                          <a:lumMod val="50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tx2">
                        <a:lumMod val="40000"/>
                        <a:lumOff val="60000"/>
                      </a:schemeClr>
                    </a:solidFill>
                  </a:tcPr>
                </a:tc>
                <a:tc>
                  <a:txBody>
                    <a:bodyPr/>
                    <a:lstStyle/>
                    <a:p>
                      <a:pPr marL="91440" algn="l" rtl="0" fontAlgn="ctr">
                        <a:buNone/>
                      </a:pPr>
                      <a:r>
                        <a:rPr lang="en-US" sz="1000" b="0" i="0" u="none" strike="noStrike" noProof="0">
                          <a:solidFill>
                            <a:srgbClr val="000000"/>
                          </a:solidFill>
                          <a:effectLst/>
                          <a:latin typeface="+mj-lt"/>
                        </a:rPr>
                        <a:t>Working capital loans</a:t>
                      </a:r>
                    </a:p>
                  </a:txBody>
                  <a:tcPr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l" rtl="0" fontAlgn="ctr">
                        <a:buNone/>
                      </a:pPr>
                      <a:r>
                        <a:rPr lang="en-US" sz="1000" b="0" i="1" u="none" strike="noStrike" noProof="0">
                          <a:solidFill>
                            <a:srgbClr val="000000"/>
                          </a:solidFill>
                          <a:effectLst/>
                          <a:latin typeface="+mj-lt"/>
                        </a:rPr>
                        <a:t>Product and service mismatch</a:t>
                      </a:r>
                    </a:p>
                  </a:txBody>
                  <a:tcPr marR="0" marT="0" marB="0" anchor="ctr">
                    <a:lnL w="6350" cap="flat" cmpd="sng" algn="ctr">
                      <a:solidFill>
                        <a:schemeClr val="bg1">
                          <a:lumMod val="8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68569220"/>
                  </a:ext>
                </a:extLst>
              </a:tr>
              <a:tr h="179265">
                <a:tc vMerge="1">
                  <a:txBody>
                    <a:bodyPr/>
                    <a:lstStyle/>
                    <a:p>
                      <a:pPr algn="ctr" rtl="0"/>
                      <a:endParaRPr lang="en-US" sz="1000" noProof="0">
                        <a:solidFill>
                          <a:schemeClr val="tx1"/>
                        </a:solidFill>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algn="l" rtl="0" fontAlgn="ctr">
                        <a:buNone/>
                      </a:pPr>
                      <a:r>
                        <a:rPr lang="en-US" sz="1000" b="0" i="0" u="none" strike="noStrike" noProof="0">
                          <a:solidFill>
                            <a:srgbClr val="000000"/>
                          </a:solidFill>
                          <a:effectLst/>
                          <a:latin typeface="+mj-lt"/>
                        </a:rPr>
                        <a:t>Asset finance and movable collateral loans</a:t>
                      </a:r>
                    </a:p>
                  </a:txBody>
                  <a:tcPr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l" rtl="0" fontAlgn="ctr">
                        <a:buNone/>
                      </a:pPr>
                      <a:r>
                        <a:rPr lang="en-US" sz="1000" b="0" i="1" u="none" strike="noStrike" noProof="0">
                          <a:solidFill>
                            <a:srgbClr val="000000"/>
                          </a:solidFill>
                          <a:effectLst/>
                          <a:latin typeface="+mj-lt"/>
                        </a:rPr>
                        <a:t>Collateral and credit history constraints</a:t>
                      </a:r>
                    </a:p>
                  </a:txBody>
                  <a:tcPr marR="0" marT="0" marB="0" anchor="ctr">
                    <a:lnL w="6350" cap="flat" cmpd="sng" algn="ctr">
                      <a:solidFill>
                        <a:schemeClr val="bg1">
                          <a:lumMod val="8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786825203"/>
                  </a:ext>
                </a:extLst>
              </a:tr>
              <a:tr h="179265">
                <a:tc vMerge="1">
                  <a:txBody>
                    <a:bodyPr/>
                    <a:lstStyle/>
                    <a:p>
                      <a:endParaRPr lang="en-US"/>
                    </a:p>
                  </a:txBody>
                  <a:tcPr/>
                </a:tc>
                <a:tc>
                  <a:txBody>
                    <a:bodyPr/>
                    <a:lstStyle/>
                    <a:p>
                      <a:pPr marL="91440" algn="l" rtl="0" fontAlgn="ctr">
                        <a:buNone/>
                      </a:pPr>
                      <a:r>
                        <a:rPr lang="en-US" sz="1000" b="0" i="0" u="none" strike="noStrike" noProof="0">
                          <a:solidFill>
                            <a:srgbClr val="000000"/>
                          </a:solidFill>
                          <a:effectLst/>
                          <a:latin typeface="+mj-lt"/>
                        </a:rPr>
                        <a:t>Networking support</a:t>
                      </a:r>
                    </a:p>
                  </a:txBody>
                  <a:tcPr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rowSpan="2">
                  <a:txBody>
                    <a:bodyPr/>
                    <a:lstStyle/>
                    <a:p>
                      <a:pPr algn="l" rtl="0" fontAlgn="ctr">
                        <a:buNone/>
                      </a:pPr>
                      <a:r>
                        <a:rPr lang="en-US" sz="1000" b="0" i="1" u="none" strike="noStrike" noProof="0">
                          <a:solidFill>
                            <a:srgbClr val="000000"/>
                          </a:solidFill>
                          <a:effectLst/>
                          <a:latin typeface="+mj-lt"/>
                        </a:rPr>
                        <a:t>Relationship and support deficit</a:t>
                      </a:r>
                    </a:p>
                  </a:txBody>
                  <a:tcPr marR="0" marT="0" marB="0" anchor="ctr">
                    <a:lnL w="6350" cap="flat" cmpd="sng" algn="ctr">
                      <a:solidFill>
                        <a:schemeClr val="bg1">
                          <a:lumMod val="8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96768302"/>
                  </a:ext>
                </a:extLst>
              </a:tr>
              <a:tr h="179265">
                <a:tc vMerge="1">
                  <a:txBody>
                    <a:bodyPr/>
                    <a:lstStyle/>
                    <a:p>
                      <a:endParaRPr lang="en-US"/>
                    </a:p>
                  </a:txBody>
                  <a:tcPr/>
                </a:tc>
                <a:tc>
                  <a:txBody>
                    <a:bodyPr/>
                    <a:lstStyle/>
                    <a:p>
                      <a:pPr marL="91440" algn="l" rtl="0" fontAlgn="ctr">
                        <a:buNone/>
                      </a:pPr>
                      <a:r>
                        <a:rPr lang="en-US" sz="1000" b="0" i="0" u="none" strike="noStrike" noProof="0">
                          <a:solidFill>
                            <a:srgbClr val="000000"/>
                          </a:solidFill>
                          <a:effectLst/>
                          <a:latin typeface="+mj-lt"/>
                        </a:rPr>
                        <a:t>Recognition and visibility opportunities</a:t>
                      </a:r>
                    </a:p>
                  </a:txBody>
                  <a:tcPr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vMerge="1">
                  <a:txBody>
                    <a:bodyPr/>
                    <a:lstStyle/>
                    <a:p>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08919656"/>
                  </a:ext>
                </a:extLst>
              </a:tr>
              <a:tr h="179265">
                <a:tc vMerge="1">
                  <a:txBody>
                    <a:bodyPr/>
                    <a:lstStyle/>
                    <a:p>
                      <a:pPr algn="ctr" rtl="0"/>
                      <a:endParaRPr lang="en-US" sz="1000" noProof="0">
                        <a:solidFill>
                          <a:schemeClr val="tx1"/>
                        </a:solidFill>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algn="l" rtl="0" fontAlgn="ctr">
                        <a:buNone/>
                      </a:pPr>
                      <a:r>
                        <a:rPr lang="en-US" sz="1000" b="0" i="0" u="none" strike="noStrike" noProof="0">
                          <a:solidFill>
                            <a:srgbClr val="000000"/>
                          </a:solidFill>
                          <a:effectLst/>
                          <a:latin typeface="+mj-lt"/>
                        </a:rPr>
                        <a:t>Insurance-bundled loans</a:t>
                      </a:r>
                    </a:p>
                  </a:txBody>
                  <a:tcPr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rowSpan="3">
                  <a:txBody>
                    <a:bodyPr/>
                    <a:lstStyle/>
                    <a:p>
                      <a:pPr algn="l" rtl="0" fontAlgn="ctr">
                        <a:buNone/>
                      </a:pPr>
                      <a:r>
                        <a:rPr lang="en-US" sz="1000" b="0" i="1" u="none" strike="noStrike" noProof="0">
                          <a:solidFill>
                            <a:srgbClr val="000000"/>
                          </a:solidFill>
                          <a:effectLst/>
                          <a:latin typeface="+mj-lt"/>
                        </a:rPr>
                        <a:t>Product and service mismatch</a:t>
                      </a:r>
                    </a:p>
                  </a:txBody>
                  <a:tcPr marR="0" marT="0" marB="0" anchor="ctr">
                    <a:lnL w="6350" cap="flat" cmpd="sng" algn="ctr">
                      <a:solidFill>
                        <a:schemeClr val="bg1">
                          <a:lumMod val="8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90578594"/>
                  </a:ext>
                </a:extLst>
              </a:tr>
              <a:tr h="179265">
                <a:tc vMerge="1">
                  <a:txBody>
                    <a:bodyPr/>
                    <a:lstStyle/>
                    <a:p>
                      <a:pPr algn="ctr" rtl="0"/>
                      <a:endParaRPr lang="en-US" sz="1000" noProof="0">
                        <a:solidFill>
                          <a:schemeClr val="tx1"/>
                        </a:solidFill>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algn="l" rtl="0" fontAlgn="ctr">
                        <a:buNone/>
                      </a:pPr>
                      <a:r>
                        <a:rPr lang="en-US" sz="1000" b="0" i="0" u="none" strike="noStrike" noProof="0">
                          <a:solidFill>
                            <a:srgbClr val="000000"/>
                          </a:solidFill>
                          <a:effectLst/>
                          <a:latin typeface="+mj-lt"/>
                        </a:rPr>
                        <a:t>Emergency loans</a:t>
                      </a:r>
                    </a:p>
                  </a:txBody>
                  <a:tcPr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vMerge="1">
                  <a:txBody>
                    <a:bodyPr/>
                    <a:lstStyle/>
                    <a:p>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699198712"/>
                  </a:ext>
                </a:extLst>
              </a:tr>
              <a:tr h="179265">
                <a:tc vMerge="1">
                  <a:txBody>
                    <a:bodyPr/>
                    <a:lstStyle/>
                    <a:p>
                      <a:pPr algn="ctr" rtl="0"/>
                      <a:endParaRPr lang="en-US" sz="1000" noProof="0">
                        <a:solidFill>
                          <a:schemeClr val="tx1"/>
                        </a:solidFill>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algn="l" rtl="0" fontAlgn="ctr">
                        <a:buNone/>
                      </a:pPr>
                      <a:r>
                        <a:rPr lang="en-US" sz="1000" b="0" i="0" u="none" strike="noStrike" noProof="0">
                          <a:solidFill>
                            <a:srgbClr val="000000"/>
                          </a:solidFill>
                          <a:effectLst/>
                          <a:latin typeface="+mj-lt"/>
                        </a:rPr>
                        <a:t>Supply chain and contract financing</a:t>
                      </a:r>
                    </a:p>
                  </a:txBody>
                  <a:tcPr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vMerge="1">
                  <a:txBody>
                    <a:bodyPr/>
                    <a:lstStyle/>
                    <a:p>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14179905"/>
                  </a:ext>
                </a:extLst>
              </a:tr>
              <a:tr h="179265">
                <a:tc rowSpan="3">
                  <a:txBody>
                    <a:bodyPr/>
                    <a:lstStyle/>
                    <a:p>
                      <a:pPr marL="45720" algn="l" rtl="0"/>
                      <a:r>
                        <a:rPr lang="en-US" sz="1100" b="1" i="0" noProof="0">
                          <a:solidFill>
                            <a:schemeClr val="tx1"/>
                          </a:solidFill>
                        </a:rPr>
                        <a:t>Scaling</a:t>
                      </a:r>
                    </a:p>
                  </a:txBody>
                  <a:tcPr marL="45720" marR="0" marT="0" marB="0" anchor="ctr">
                    <a:lnL w="12700" cap="flat" cmpd="sng" algn="ctr">
                      <a:solidFill>
                        <a:schemeClr val="bg1">
                          <a:lumMod val="50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chemeClr val="accent6">
                        <a:lumMod val="40000"/>
                        <a:lumOff val="60000"/>
                      </a:schemeClr>
                    </a:solidFill>
                  </a:tcPr>
                </a:tc>
                <a:tc>
                  <a:txBody>
                    <a:bodyPr/>
                    <a:lstStyle/>
                    <a:p>
                      <a:pPr marL="91440" algn="l" rtl="0" fontAlgn="ctr">
                        <a:buNone/>
                      </a:pPr>
                      <a:r>
                        <a:rPr lang="en-US" sz="1000" b="0" i="0" u="none" strike="noStrike" noProof="0">
                          <a:solidFill>
                            <a:srgbClr val="000000"/>
                          </a:solidFill>
                          <a:effectLst/>
                          <a:latin typeface="+mj-lt"/>
                        </a:rPr>
                        <a:t>Dedicated relationship management</a:t>
                      </a:r>
                    </a:p>
                  </a:txBody>
                  <a:tcPr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l" rtl="0" fontAlgn="ctr">
                        <a:buNone/>
                      </a:pPr>
                      <a:r>
                        <a:rPr lang="en-US" sz="1000" b="0" i="1" u="none" strike="noStrike" noProof="0">
                          <a:solidFill>
                            <a:srgbClr val="000000"/>
                          </a:solidFill>
                          <a:effectLst/>
                          <a:latin typeface="+mj-lt"/>
                        </a:rPr>
                        <a:t>Relationship and support deficit</a:t>
                      </a:r>
                    </a:p>
                  </a:txBody>
                  <a:tcPr marR="0" marT="0" marB="0" anchor="ctr">
                    <a:lnL w="6350" cap="flat" cmpd="sng" algn="ctr">
                      <a:solidFill>
                        <a:schemeClr val="bg1">
                          <a:lumMod val="8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53094921"/>
                  </a:ext>
                </a:extLst>
              </a:tr>
              <a:tr h="179265">
                <a:tc vMerge="1">
                  <a:txBody>
                    <a:bodyPr/>
                    <a:lstStyle/>
                    <a:p>
                      <a:pPr algn="ctr" rtl="0"/>
                      <a:endParaRPr lang="en-US" sz="1000" noProof="0">
                        <a:solidFill>
                          <a:schemeClr val="tx1"/>
                        </a:solidFill>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algn="l" rtl="0" fontAlgn="ctr">
                        <a:buNone/>
                      </a:pPr>
                      <a:r>
                        <a:rPr lang="en-US" sz="1000" b="0" i="0" u="none" strike="noStrike" noProof="0">
                          <a:solidFill>
                            <a:srgbClr val="000000"/>
                          </a:solidFill>
                          <a:effectLst/>
                          <a:latin typeface="+mj-lt"/>
                        </a:rPr>
                        <a:t>Trade finance</a:t>
                      </a:r>
                    </a:p>
                  </a:txBody>
                  <a:tcPr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l" rtl="0" fontAlgn="ctr">
                        <a:buNone/>
                      </a:pPr>
                      <a:r>
                        <a:rPr lang="en-US" sz="1000" b="0" i="1" u="none" strike="noStrike" noProof="0">
                          <a:solidFill>
                            <a:srgbClr val="000000"/>
                          </a:solidFill>
                          <a:effectLst/>
                          <a:latin typeface="+mj-lt"/>
                        </a:rPr>
                        <a:t>Product and service mismatch</a:t>
                      </a:r>
                    </a:p>
                  </a:txBody>
                  <a:tcPr marR="0" marT="0" marB="0" anchor="ctr">
                    <a:lnL w="6350" cap="flat" cmpd="sng" algn="ctr">
                      <a:solidFill>
                        <a:schemeClr val="bg1">
                          <a:lumMod val="8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65172783"/>
                  </a:ext>
                </a:extLst>
              </a:tr>
              <a:tr h="179265">
                <a:tc vMerge="1">
                  <a:txBody>
                    <a:bodyPr/>
                    <a:lstStyle/>
                    <a:p>
                      <a:pPr algn="ctr" rtl="0"/>
                      <a:endParaRPr lang="en-US" sz="1000" noProof="0">
                        <a:solidFill>
                          <a:schemeClr val="tx1"/>
                        </a:solidFill>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algn="l" rtl="0" fontAlgn="ctr">
                        <a:buNone/>
                      </a:pPr>
                      <a:r>
                        <a:rPr lang="en-US" sz="1000" b="0" i="0" u="none" strike="noStrike" noProof="0">
                          <a:solidFill>
                            <a:srgbClr val="000000"/>
                          </a:solidFill>
                          <a:effectLst/>
                          <a:latin typeface="+mj-lt"/>
                        </a:rPr>
                        <a:t>Women-focused growth funds</a:t>
                      </a:r>
                    </a:p>
                  </a:txBody>
                  <a:tcPr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l" rtl="0" fontAlgn="ctr">
                        <a:buNone/>
                      </a:pPr>
                      <a:r>
                        <a:rPr lang="en-US" sz="1000" b="0" i="1" u="none" strike="noStrike" noProof="0">
                          <a:solidFill>
                            <a:srgbClr val="000000"/>
                          </a:solidFill>
                          <a:effectLst/>
                          <a:latin typeface="+mj-lt"/>
                        </a:rPr>
                        <a:t>Gender bias in risk assessment</a:t>
                      </a:r>
                    </a:p>
                  </a:txBody>
                  <a:tcPr marR="0" marT="0" marB="0" anchor="ctr">
                    <a:lnL w="6350" cap="flat" cmpd="sng" algn="ctr">
                      <a:solidFill>
                        <a:schemeClr val="bg1">
                          <a:lumMod val="8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extLst>
                  <a:ext uri="{0D108BD9-81ED-4DB2-BD59-A6C34878D82A}">
                    <a16:rowId xmlns:a16="http://schemas.microsoft.com/office/drawing/2014/main" val="2714978066"/>
                  </a:ext>
                </a:extLst>
              </a:tr>
              <a:tr h="179265">
                <a:tc rowSpan="3">
                  <a:txBody>
                    <a:bodyPr/>
                    <a:lstStyle/>
                    <a:p>
                      <a:pPr marL="45720" algn="l" rtl="0"/>
                      <a:r>
                        <a:rPr lang="en-US" sz="1100" b="1" i="0" noProof="0">
                          <a:solidFill>
                            <a:schemeClr val="tx1"/>
                          </a:solidFill>
                        </a:rPr>
                        <a:t>Cross-stage</a:t>
                      </a:r>
                    </a:p>
                  </a:txBody>
                  <a:tcPr marL="45720" marR="0" marT="0" marB="0" anchor="ctr">
                    <a:lnL w="12700" cap="flat" cmpd="sng" algn="ctr">
                      <a:solidFill>
                        <a:schemeClr val="bg2">
                          <a:lumMod val="50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EBE3E6"/>
                    </a:solidFill>
                  </a:tcPr>
                </a:tc>
                <a:tc>
                  <a:txBody>
                    <a:bodyPr/>
                    <a:lstStyle/>
                    <a:p>
                      <a:pPr marL="91440" algn="l" rtl="0" fontAlgn="ctr">
                        <a:buNone/>
                      </a:pPr>
                      <a:r>
                        <a:rPr lang="en-US" sz="1000" b="0" i="0" u="none" strike="noStrike" noProof="0">
                          <a:solidFill>
                            <a:srgbClr val="000000"/>
                          </a:solidFill>
                          <a:effectLst/>
                          <a:latin typeface="+mj-lt"/>
                        </a:rPr>
                        <a:t>WSME accelerators</a:t>
                      </a:r>
                    </a:p>
                  </a:txBody>
                  <a:tcPr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l" rtl="0" fontAlgn="ctr">
                        <a:buNone/>
                      </a:pPr>
                      <a:r>
                        <a:rPr lang="en-US" sz="1000" b="0" i="1" u="none" strike="noStrike" noProof="0">
                          <a:solidFill>
                            <a:srgbClr val="000000"/>
                          </a:solidFill>
                          <a:effectLst/>
                          <a:latin typeface="+mj-lt"/>
                        </a:rPr>
                        <a:t>Relationship and support deficit</a:t>
                      </a:r>
                    </a:p>
                  </a:txBody>
                  <a:tcPr marR="0" marT="0" marB="0" anchor="ctr">
                    <a:lnL w="635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346458660"/>
                  </a:ext>
                </a:extLst>
              </a:tr>
              <a:tr h="179265">
                <a:tc vMerge="1">
                  <a:txBody>
                    <a:bodyPr/>
                    <a:lstStyle/>
                    <a:p>
                      <a:pPr marL="45720" algn="l" rtl="0"/>
                      <a:endParaRPr lang="en-US" sz="1100" b="1" i="0" noProof="0">
                        <a:solidFill>
                          <a:schemeClr val="tx1"/>
                        </a:solidFill>
                      </a:endParaRPr>
                    </a:p>
                  </a:txBody>
                  <a:tcPr marL="45720" marR="0" marT="0" marB="0" anchor="ctr">
                    <a:lnL w="12700" cap="flat" cmpd="sng" algn="ctr">
                      <a:solidFill>
                        <a:schemeClr val="bg1">
                          <a:lumMod val="50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EBE3E6"/>
                    </a:solidFill>
                  </a:tcPr>
                </a:tc>
                <a:tc>
                  <a:txBody>
                    <a:bodyPr/>
                    <a:lstStyle/>
                    <a:p>
                      <a:pPr marL="91440" algn="l" rtl="0" fontAlgn="ctr">
                        <a:buNone/>
                      </a:pPr>
                      <a:r>
                        <a:rPr lang="en-US" sz="1000" b="0" i="0" u="none" strike="noStrike" noProof="0">
                          <a:solidFill>
                            <a:srgbClr val="000000"/>
                          </a:solidFill>
                          <a:effectLst/>
                          <a:latin typeface="+mj-lt"/>
                        </a:rPr>
                        <a:t>Bundled Packages (Financial + NFS)</a:t>
                      </a:r>
                    </a:p>
                  </a:txBody>
                  <a:tcPr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rowSpan="2">
                  <a:txBody>
                    <a:bodyPr/>
                    <a:lstStyle/>
                    <a:p>
                      <a:pPr algn="l" rtl="0" fontAlgn="ctr">
                        <a:buNone/>
                      </a:pPr>
                      <a:r>
                        <a:rPr lang="en-US" sz="1000" b="0" i="1" u="none" strike="noStrike" noProof="0">
                          <a:solidFill>
                            <a:srgbClr val="000000"/>
                          </a:solidFill>
                          <a:effectLst/>
                          <a:latin typeface="+mj-lt"/>
                        </a:rPr>
                        <a:t>Product and service mismatch</a:t>
                      </a:r>
                    </a:p>
                  </a:txBody>
                  <a:tcPr marR="0" marT="0" marB="0" anchor="ctr">
                    <a:lnL w="635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extLst>
                  <a:ext uri="{0D108BD9-81ED-4DB2-BD59-A6C34878D82A}">
                    <a16:rowId xmlns:a16="http://schemas.microsoft.com/office/drawing/2014/main" val="2752667479"/>
                  </a:ext>
                </a:extLst>
              </a:tr>
              <a:tr h="179265">
                <a:tc vMerge="1">
                  <a:txBody>
                    <a:bodyPr/>
                    <a:lstStyle/>
                    <a:p>
                      <a:pPr marL="45720" algn="l" rtl="0"/>
                      <a:endParaRPr lang="en-US" sz="1100" b="1" i="0" noProof="0">
                        <a:solidFill>
                          <a:schemeClr val="tx1"/>
                        </a:solidFill>
                      </a:endParaRPr>
                    </a:p>
                  </a:txBody>
                  <a:tcPr marL="45720" marR="0" marT="0" marB="0" anchor="ctr">
                    <a:lnL w="12700" cap="flat" cmpd="sng" algn="ctr">
                      <a:solidFill>
                        <a:schemeClr val="bg1">
                          <a:lumMod val="50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EBE3E6"/>
                    </a:solidFill>
                  </a:tcPr>
                </a:tc>
                <a:tc>
                  <a:txBody>
                    <a:bodyPr/>
                    <a:lstStyle/>
                    <a:p>
                      <a:pPr marL="91440" algn="l" rtl="0" fontAlgn="ctr">
                        <a:buNone/>
                      </a:pPr>
                      <a:r>
                        <a:rPr lang="en-US" sz="1000" b="0" i="0" u="none" strike="noStrike" noProof="0">
                          <a:solidFill>
                            <a:srgbClr val="000000"/>
                          </a:solidFill>
                          <a:effectLst/>
                          <a:latin typeface="+mj-lt"/>
                        </a:rPr>
                        <a:t>Life-event responsive lending</a:t>
                      </a:r>
                    </a:p>
                  </a:txBody>
                  <a:tcPr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vMerge="1">
                  <a:txBody>
                    <a:bodyPr/>
                    <a:lstStyle/>
                    <a:p>
                      <a:endParaRPr/>
                    </a:p>
                  </a:txBody>
                  <a:tcPr marL="0" marR="0" marT="0" marB="0" anchor="ctr">
                    <a:lnL w="6350" cap="flat" cmpd="sng" algn="ctr">
                      <a:solidFill>
                        <a:schemeClr val="bg1">
                          <a:lumMod val="8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250123481"/>
                  </a:ext>
                </a:extLst>
              </a:tr>
            </a:tbl>
          </a:graphicData>
        </a:graphic>
      </p:graphicFrame>
      <p:pic>
        <p:nvPicPr>
          <p:cNvPr id="7" name="Graphic 6">
            <a:extLst>
              <a:ext uri="{FF2B5EF4-FFF2-40B4-BE49-F238E27FC236}">
                <a16:creationId xmlns:a16="http://schemas.microsoft.com/office/drawing/2014/main" id="{4E38A3C8-EBE3-8A2C-3A96-F26A297061A5}"/>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420138" y="1248459"/>
            <a:ext cx="342900" cy="447675"/>
          </a:xfrm>
          <a:prstGeom prst="rect">
            <a:avLst/>
          </a:prstGeom>
        </p:spPr>
      </p:pic>
      <p:pic>
        <p:nvPicPr>
          <p:cNvPr id="9" name="Graphic 8">
            <a:extLst>
              <a:ext uri="{FF2B5EF4-FFF2-40B4-BE49-F238E27FC236}">
                <a16:creationId xmlns:a16="http://schemas.microsoft.com/office/drawing/2014/main" id="{DF9189AA-36E8-5672-C93A-1F76CCC9BCA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376066" y="1928469"/>
            <a:ext cx="431045" cy="418367"/>
          </a:xfrm>
          <a:prstGeom prst="rect">
            <a:avLst/>
          </a:prstGeom>
        </p:spPr>
      </p:pic>
      <p:pic>
        <p:nvPicPr>
          <p:cNvPr id="11" name="Graphic 10">
            <a:extLst>
              <a:ext uri="{FF2B5EF4-FFF2-40B4-BE49-F238E27FC236}">
                <a16:creationId xmlns:a16="http://schemas.microsoft.com/office/drawing/2014/main" id="{6C22FD69-0488-8631-7736-8D983540031D}"/>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1382038" y="3698903"/>
            <a:ext cx="419100" cy="438150"/>
          </a:xfrm>
          <a:prstGeom prst="rect">
            <a:avLst/>
          </a:prstGeom>
        </p:spPr>
      </p:pic>
      <p:pic>
        <p:nvPicPr>
          <p:cNvPr id="13" name="Graphic 12">
            <a:extLst>
              <a:ext uri="{FF2B5EF4-FFF2-40B4-BE49-F238E27FC236}">
                <a16:creationId xmlns:a16="http://schemas.microsoft.com/office/drawing/2014/main" id="{CFFA8643-0490-AA0D-69CE-486E242BFCD6}"/>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1367751" y="3177614"/>
            <a:ext cx="447675" cy="390525"/>
          </a:xfrm>
          <a:prstGeom prst="rect">
            <a:avLst/>
          </a:prstGeom>
        </p:spPr>
      </p:pic>
      <p:pic>
        <p:nvPicPr>
          <p:cNvPr id="10" name="Graphic 9">
            <a:extLst>
              <a:ext uri="{FF2B5EF4-FFF2-40B4-BE49-F238E27FC236}">
                <a16:creationId xmlns:a16="http://schemas.microsoft.com/office/drawing/2014/main" id="{A2E46A95-4D55-A8FB-35CC-9D574E3C7A01}"/>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1362988" y="4245381"/>
            <a:ext cx="438150" cy="428625"/>
          </a:xfrm>
          <a:prstGeom prst="rect">
            <a:avLst/>
          </a:prstGeom>
        </p:spPr>
      </p:pic>
      <p:pic>
        <p:nvPicPr>
          <p:cNvPr id="6" name="Imagen 148">
            <a:extLst>
              <a:ext uri="{FF2B5EF4-FFF2-40B4-BE49-F238E27FC236}">
                <a16:creationId xmlns:a16="http://schemas.microsoft.com/office/drawing/2014/main" id="{83B66339-0952-F4FA-B610-2608D509CB56}"/>
              </a:ext>
            </a:extLst>
          </p:cNvPr>
          <p:cNvPicPr>
            <a:picLocks noChangeAspect="1"/>
          </p:cNvPicPr>
          <p:nvPr/>
        </p:nvPicPr>
        <p:blipFill>
          <a:blip r:embed="rId11"/>
          <a:srcRect r="66185" b="5269"/>
          <a:stretch>
            <a:fillRect/>
          </a:stretch>
        </p:blipFill>
        <p:spPr>
          <a:xfrm>
            <a:off x="8601679" y="4778619"/>
            <a:ext cx="255761" cy="263364"/>
          </a:xfrm>
          <a:prstGeom prst="rect">
            <a:avLst/>
          </a:prstGeom>
        </p:spPr>
      </p:pic>
    </p:spTree>
    <p:extLst>
      <p:ext uri="{BB962C8B-B14F-4D97-AF65-F5344CB8AC3E}">
        <p14:creationId xmlns:p14="http://schemas.microsoft.com/office/powerpoint/2010/main" val="7792307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72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8&quot;&gt;&lt;elem m_fUsage=&quot;3.09509999999999996234E+00&quot;&gt;&lt;m_msothmcolidx val=&quot;0&quot;/&gt;&lt;m_rgb r=&quot;FE&quot; g=&quot;F2&quot; b=&quot;CB&quot;/&gt;&lt;/elem&gt;&lt;elem m_fUsage=&quot;1.29618459900000027041E+00&quot;&gt;&lt;m_msothmcolidx val=&quot;0&quot;/&gt;&lt;m_rgb r=&quot;FE&quot; g=&quot;F2&quot; b=&quot;72&quot;/&gt;&lt;/elem&gt;&lt;elem m_fUsage=&quot;1.00000000000000000000E+00&quot;&gt;&lt;m_msothmcolidx val=&quot;0&quot;/&gt;&lt;m_rgb r=&quot;7C&quot; g=&quot;B1&quot; b=&quot;A9&quot;/&gt;&lt;/elem&gt;&lt;elem m_fUsage=&quot;5.90490000000000181402E-01&quot;&gt;&lt;m_msothmcolidx val=&quot;0&quot;/&gt;&lt;m_rgb r=&quot;D3&quot; g=&quot;E5&quot; b=&quot;E2&quot;/&gt;&lt;/elem&gt;&lt;elem m_fUsage=&quot;5.31441000000000163261E-01&quot;&gt;&lt;m_msothmcolidx val=&quot;0&quot;/&gt;&lt;m_rgb r=&quot;D8&quot; g=&quot;E0&quot; b=&quot;DF&quot;/&gt;&lt;/elem&gt;&lt;elem m_fUsage=&quot;3.48678440100000153201E-01&quot;&gt;&lt;m_msothmcolidx val=&quot;0&quot;/&gt;&lt;m_rgb r=&quot;FD&quot; g=&quot;DC&quot; b=&quot;AC&quot;/&gt;&lt;/elem&gt;&lt;elem m_fUsage=&quot;3.13810596090000171188E-01&quot;&gt;&lt;m_msothmcolidx val=&quot;0&quot;/&gt;&lt;m_rgb r=&quot;DC&quot; g=&quot;D9&quot; b=&quot;3D&quot;/&gt;&lt;/elem&gt;&lt;elem m_fUsage=&quot;2.82429536481000165171E-01&quot;&gt;&lt;m_msothmcolidx val=&quot;0&quot;/&gt;&lt;m_rgb r=&quot;FF&quot; g=&quot;AC&quot; b=&quot;00&quot;/&gt;&lt;/elem&gt;&lt;/m_vecMRU&gt;&lt;/m_mruColor&gt;&lt;m_eweekdayFirstOfWeek val=&quot;1&quot;/&gt;&lt;m_eweekdayFirstOfWorkweek val=&quot;2&quot;/&gt;&lt;m_eweekdayFirstOfWeekend val=&quot;7&quot;/&gt;&lt;/CPresentation&gt;&lt;/root&gt;"/>
  <p:tag name="FILLLINECOLOR1" val="6968388"/>
  <p:tag name="FILLLINECOLOR2" val="15064278"/>
  <p:tag name="FILLLINECOLOR3" val="13285805"/>
  <p:tag name="FILLLINECOLOR4" val="11573124"/>
  <p:tag name="FILLLINECOLOR5" val="5259059"/>
  <p:tag name="FILLLINECOLOR6" val="3484194"/>
  <p:tag name="FILLLINECOLOR7" val="375021"/>
  <p:tag name="FILLLINECOLOR8" val="13366014"/>
  <p:tag name="FILLLINECOLOR9" val="9889277"/>
  <p:tag name="FILLLINECOLOR10" val="6478076"/>
  <p:tag name="FILLLINECOLOR11" val="297650"/>
  <p:tag name="FILLLINECOLOR12" val="220278"/>
  <p:tag name="FILLLINECOLOR13" val="16380913"/>
  <p:tag name="FILLLINECOLOR14" val="14671068"/>
  <p:tag name="FILLLINECOLOR15" val="11907761"/>
  <p:tag name="FILLLINECOLOR16" val="8748155"/>
  <p:tag name="FILLLINECOLOR17" val="5854034"/>
  <p:tag name="FILLLINECOLOR18" val="4473409"/>
  <p:tag name="FILLLINECOLOR19" val="0"/>
  <p:tag name="FILLLINECOLOR20" val="16777215"/>
  <p:tag name="FILLLINECOLOR22" val="1880563"/>
  <p:tag name="FILLLINECOLOR23" val="11176465"/>
  <p:tag name="FILLLINECOLOR24" val="4594056"/>
  <p:tag name="FONTCOLORNUMBER1" val="1"/>
  <p:tag name="FONTCOLORNUMBER2" val="7"/>
  <p:tag name="FONTCOLORNUMBER3" val="24"/>
  <p:tag name="FONTCOLORNUMBER4" val="23"/>
  <p:tag name="FONTCOLORNUMBER5" val="17"/>
  <p:tag name="FONTCOLORNUMBER6" val="20"/>
  <p:tag name="FONTCOLOR1" val="6968388"/>
  <p:tag name="FONTCOLOR2" val="375021"/>
  <p:tag name="FONTCOLOR3" val="4594056"/>
  <p:tag name="FONTCOLOR4" val="11176465"/>
  <p:tag name="FONTCOLOR5" val="5854034"/>
  <p:tag name="FONTCOLOR6" val="1677721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hkVX3YCuE8GT6erBF3K0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s_1c01C.MA_T6k1RfPJvi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JNWDty60hC64pOW97B01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vR9NL5wdlcs_Vmbb_Boz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YquyL6qj1knDSzmrex11i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BQDNDnTtg2dw.pyHW8Keb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BYDXKcgqom3mobP.33yN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ZwzPgJHWqJXrxaLwkhKt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otu4_TELYiYvJqqiOLFr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8aM9YnoBU1OnkioAb21.d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0Xk4FudP7eXXeTl3IEK9_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Argidius">
      <a:dk1>
        <a:sysClr val="windowText" lastClr="000000"/>
      </a:dk1>
      <a:lt1>
        <a:sysClr val="window" lastClr="FFFFFF"/>
      </a:lt1>
      <a:dk2>
        <a:srgbClr val="44546A"/>
      </a:dk2>
      <a:lt2>
        <a:srgbClr val="E7E6E6"/>
      </a:lt2>
      <a:accent1>
        <a:srgbClr val="3C655F"/>
      </a:accent1>
      <a:accent2>
        <a:srgbClr val="EDB805"/>
      </a:accent2>
      <a:accent3>
        <a:srgbClr val="FEE914"/>
      </a:accent3>
      <a:accent4>
        <a:srgbClr val="A5A5A5"/>
      </a:accent4>
      <a:accent5>
        <a:srgbClr val="AEA23B"/>
      </a:accent5>
      <a:accent6>
        <a:srgbClr val="70AD47"/>
      </a:accent6>
      <a:hlink>
        <a:srgbClr val="0563C1"/>
      </a:hlink>
      <a:folHlink>
        <a:srgbClr val="954F72"/>
      </a:folHlink>
    </a:clrScheme>
    <a:fontScheme name="Argidius">
      <a:majorFont>
        <a:latin typeface="Lato Light"/>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F4578C4F266F345BC9CA4E571ADCDC3" ma:contentTypeVersion="21" ma:contentTypeDescription="Create a new document." ma:contentTypeScope="" ma:versionID="62a9fa4d4d26a560c3f6c749db3c75d9">
  <xsd:schema xmlns:xsd="http://www.w3.org/2001/XMLSchema" xmlns:xs="http://www.w3.org/2001/XMLSchema" xmlns:p="http://schemas.microsoft.com/office/2006/metadata/properties" xmlns:ns1="http://schemas.microsoft.com/sharepoint/v3" xmlns:ns2="fc5acc4e-0c25-495a-afe8-cebdbe1b35e5" xmlns:ns3="8c652d72-a731-4ede-abc3-d9bc4a2de092" xmlns:ns4="3e02667f-0271-471b-bd6e-11a2e16def1d" targetNamespace="http://schemas.microsoft.com/office/2006/metadata/properties" ma:root="true" ma:fieldsID="aa710c483c6a741fe2005a2f7c72f435" ns1:_="" ns2:_="" ns3:_="" ns4:_="">
    <xsd:import namespace="http://schemas.microsoft.com/sharepoint/v3"/>
    <xsd:import namespace="fc5acc4e-0c25-495a-afe8-cebdbe1b35e5"/>
    <xsd:import namespace="8c652d72-a731-4ede-abc3-d9bc4a2de092"/>
    <xsd:import namespace="3e02667f-0271-471b-bd6e-11a2e16def1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OCR" minOccurs="0"/>
                <xsd:element ref="ns2:MediaServiceLocation" minOccurs="0"/>
                <xsd:element ref="ns2:MediaLengthInSeconds" minOccurs="0"/>
                <xsd:element ref="ns2:lcf76f155ced4ddcb4097134ff3c332f" minOccurs="0"/>
                <xsd:element ref="ns4:TaxCatchAll" minOccurs="0"/>
                <xsd:element ref="ns2:MediaServiceObjectDetectorVersions" minOccurs="0"/>
                <xsd:element ref="ns2:MediaServiceSearchProperties" minOccurs="0"/>
                <xsd:element ref="ns2:MediaServiceBillingMetadata"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7" nillable="true" ma:displayName="Unified Compliance Policy Properties" ma:hidden="true" ma:internalName="_ip_UnifiedCompliancePolicyProperties">
      <xsd:simpleType>
        <xsd:restriction base="dms:Note"/>
      </xsd:simpleType>
    </xsd:element>
    <xsd:element name="_ip_UnifiedCompliancePolicyUIAction" ma:index="2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c5acc4e-0c25-495a-afe8-cebdbe1b35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a6c10d7-b926-4fc0-945e-3cbf5049f6b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c652d72-a731-4ede-abc3-d9bc4a2de092"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e02667f-0271-471b-bd6e-11a2e16def1d"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4926b564-27c1-41a1-8131-4b8895b467a0}" ma:internalName="TaxCatchAll" ma:showField="CatchAllData" ma:web="8c652d72-a731-4ede-abc3-d9bc4a2de09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fc5acc4e-0c25-495a-afe8-cebdbe1b35e5">
      <Terms xmlns="http://schemas.microsoft.com/office/infopath/2007/PartnerControls"/>
    </lcf76f155ced4ddcb4097134ff3c332f>
    <TaxCatchAll xmlns="3e02667f-0271-471b-bd6e-11a2e16def1d" xsi:nil="true"/>
  </documentManagement>
</p:properties>
</file>

<file path=customXml/itemProps1.xml><?xml version="1.0" encoding="utf-8"?>
<ds:datastoreItem xmlns:ds="http://schemas.openxmlformats.org/officeDocument/2006/customXml" ds:itemID="{A2F3518E-BB7C-4F15-B503-85AE92A00325}"/>
</file>

<file path=customXml/itemProps2.xml><?xml version="1.0" encoding="utf-8"?>
<ds:datastoreItem xmlns:ds="http://schemas.openxmlformats.org/officeDocument/2006/customXml" ds:itemID="{7478DF6A-0473-492E-BE0B-0897A6CB37CD}">
  <ds:schemaRefs>
    <ds:schemaRef ds:uri="http://schemas.microsoft.com/sharepoint/v3/contenttype/forms"/>
  </ds:schemaRefs>
</ds:datastoreItem>
</file>

<file path=customXml/itemProps3.xml><?xml version="1.0" encoding="utf-8"?>
<ds:datastoreItem xmlns:ds="http://schemas.openxmlformats.org/officeDocument/2006/customXml" ds:itemID="{BFDB619F-6640-4FD2-BDD0-27E2647CE598}">
  <ds:schemaRefs>
    <ds:schemaRef ds:uri="http://schemas.microsoft.com/office/2006/documentManagement/types"/>
    <ds:schemaRef ds:uri="http://purl.org/dc/dcmitype/"/>
    <ds:schemaRef ds:uri="http://purl.org/dc/elements/1.1/"/>
    <ds:schemaRef ds:uri="http://schemas.openxmlformats.org/package/2006/metadata/core-properties"/>
    <ds:schemaRef ds:uri="d85fc0d2-af43-48ac-8e26-67158b9bf5df"/>
    <ds:schemaRef ds:uri="http://schemas.microsoft.com/office/infopath/2007/PartnerControls"/>
    <ds:schemaRef ds:uri="http://schemas.microsoft.com/office/2006/metadata/properties"/>
    <ds:schemaRef ds:uri="http://www.w3.org/XML/1998/namespace"/>
    <ds:schemaRef ds:uri="http://purl.org/dc/terms/"/>
  </ds:schemaRefs>
</ds:datastoreItem>
</file>

<file path=docMetadata/LabelInfo.xml><?xml version="1.0" encoding="utf-8"?>
<clbl:labelList xmlns:clbl="http://schemas.microsoft.com/office/2020/mipLabelMetadata">
  <clbl:label id="{b4db6a6d-cf3b-450d-9483-e5c853d931d2}" enabled="1" method="Standard" siteId="{ecabf4f5-0dbc-4f2c-b80e-99d3aa5f44b6}" removed="0"/>
</clbl:labelList>
</file>

<file path=docProps/app.xml><?xml version="1.0" encoding="utf-8"?>
<Properties xmlns="http://schemas.openxmlformats.org/officeDocument/2006/extended-properties" xmlns:vt="http://schemas.openxmlformats.org/officeDocument/2006/docPropsVTypes">
  <Template>SME Banking ToolKit Overview and Invitation_vSHARE</Template>
  <TotalTime>4</TotalTime>
  <Words>1482</Words>
  <Application>Microsoft Office PowerPoint</Application>
  <PresentationFormat>On-screen Show (16:9)</PresentationFormat>
  <Paragraphs>221</Paragraphs>
  <Slides>10</Slides>
  <Notes>5</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2" baseType="lpstr">
      <vt:lpstr>Aptos</vt:lpstr>
      <vt:lpstr>Aptos Display</vt:lpstr>
      <vt:lpstr>Arial</vt:lpstr>
      <vt:lpstr>Calibri</vt:lpstr>
      <vt:lpstr>Lato</vt:lpstr>
      <vt:lpstr>Lato Black</vt:lpstr>
      <vt:lpstr>Lato Light</vt:lpstr>
      <vt:lpstr>Lato Medium</vt:lpstr>
      <vt:lpstr>Open Sans</vt:lpstr>
      <vt:lpstr>Tw Cen MT</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arita Garapati</dc:creator>
  <cp:lastModifiedBy>Adriana Rueda</cp:lastModifiedBy>
  <cp:revision>2</cp:revision>
  <dcterms:created xsi:type="dcterms:W3CDTF">2025-04-29T15:21:51Z</dcterms:created>
  <dcterms:modified xsi:type="dcterms:W3CDTF">2026-03-30T15:36: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AF4578C4F266F345BC9CA4E571ADCDC3</vt:lpwstr>
  </property>
</Properties>
</file>